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b" ContentType="application/vnd.ms-excel.sheet.binary.macroEnabled.12"/>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4.xml" ContentType="application/vnd.openxmlformats-officedocument.drawingml.chartshapes+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5.xml" ContentType="application/vnd.openxmlformats-officedocument.drawingml.chartshapes+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50"/>
  </p:notesMasterIdLst>
  <p:sldIdLst>
    <p:sldId id="256" r:id="rId5"/>
    <p:sldId id="314" r:id="rId6"/>
    <p:sldId id="313" r:id="rId7"/>
    <p:sldId id="345" r:id="rId8"/>
    <p:sldId id="346" r:id="rId9"/>
    <p:sldId id="377" r:id="rId10"/>
    <p:sldId id="378" r:id="rId11"/>
    <p:sldId id="379" r:id="rId12"/>
    <p:sldId id="347" r:id="rId13"/>
    <p:sldId id="312" r:id="rId14"/>
    <p:sldId id="350" r:id="rId15"/>
    <p:sldId id="383" r:id="rId16"/>
    <p:sldId id="348" r:id="rId17"/>
    <p:sldId id="380" r:id="rId18"/>
    <p:sldId id="372" r:id="rId19"/>
    <p:sldId id="318" r:id="rId20"/>
    <p:sldId id="373" r:id="rId21"/>
    <p:sldId id="352" r:id="rId22"/>
    <p:sldId id="319" r:id="rId23"/>
    <p:sldId id="357" r:id="rId24"/>
    <p:sldId id="374" r:id="rId25"/>
    <p:sldId id="328" r:id="rId26"/>
    <p:sldId id="329" r:id="rId27"/>
    <p:sldId id="384" r:id="rId28"/>
    <p:sldId id="368" r:id="rId29"/>
    <p:sldId id="375" r:id="rId30"/>
    <p:sldId id="366" r:id="rId31"/>
    <p:sldId id="363" r:id="rId32"/>
    <p:sldId id="365" r:id="rId33"/>
    <p:sldId id="341" r:id="rId34"/>
    <p:sldId id="342" r:id="rId35"/>
    <p:sldId id="340" r:id="rId36"/>
    <p:sldId id="362" r:id="rId37"/>
    <p:sldId id="343" r:id="rId38"/>
    <p:sldId id="330" r:id="rId39"/>
    <p:sldId id="331" r:id="rId40"/>
    <p:sldId id="332" r:id="rId41"/>
    <p:sldId id="334" r:id="rId42"/>
    <p:sldId id="335" r:id="rId43"/>
    <p:sldId id="320" r:id="rId44"/>
    <p:sldId id="385" r:id="rId45"/>
    <p:sldId id="316" r:id="rId46"/>
    <p:sldId id="386" r:id="rId47"/>
    <p:sldId id="387" r:id="rId48"/>
    <p:sldId id="304" r:id="rId49"/>
  </p:sldIdLst>
  <p:sldSz cx="12192000" cy="6858000"/>
  <p:notesSz cx="9872663" cy="6742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DF4"/>
    <a:srgbClr val="FFFFFF"/>
    <a:srgbClr val="1F497D"/>
    <a:srgbClr val="000000"/>
    <a:srgbClr val="EAEAEA"/>
    <a:srgbClr val="141462"/>
    <a:srgbClr val="B4C9E3"/>
    <a:srgbClr val="A9AEC9"/>
    <a:srgbClr val="CCECFF"/>
    <a:srgbClr val="EC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88" autoAdjust="0"/>
    <p:restoredTop sz="94660"/>
  </p:normalViewPr>
  <p:slideViewPr>
    <p:cSldViewPr>
      <p:cViewPr varScale="1">
        <p:scale>
          <a:sx n="77" d="100"/>
          <a:sy n="77" d="100"/>
        </p:scale>
        <p:origin x="67" y="307"/>
      </p:cViewPr>
      <p:guideLst>
        <p:guide orient="horz" pos="2880"/>
        <p:guide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D:\JSW%20Roadmap_Green%20Steel\Hydrogen%20Cost.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4.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20.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5.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0.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bhuvaneswara.sip2024\Downloads\Final%20Graph%202.xlsx" TargetMode="External"/><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37.xml"/><Relationship Id="rId1" Type="http://schemas.microsoft.com/office/2011/relationships/chartStyle" Target="style37.xml"/></Relationships>
</file>

<file path=ppt/charts/_rels/chart4.xml.rels><?xml version="1.0" encoding="UTF-8" standalone="yes"?>
<Relationships xmlns="http://schemas.openxmlformats.org/package/2006/relationships"><Relationship Id="rId3" Type="http://schemas.openxmlformats.org/officeDocument/2006/relationships/oleObject" Target="file:///D:\JSW\SEED\CAC\STEEL\SMS%20Emission%20Report%20FY25_v2.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bhuvaneswara.sip2024\Downloads\Final%20ACT.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bhuvaneswara.sip2024\Downloads\Output-Done-by%20keshav.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0070C0"/>
            </a:solidFill>
            <a:ln w="19050">
              <a:solidFill>
                <a:sysClr val="window" lastClr="FFFFFF"/>
              </a:solidFill>
            </a:ln>
            <a:effectLst/>
          </c:spPr>
          <c:invertIfNegative val="0"/>
          <c:dPt>
            <c:idx val="2"/>
            <c:invertIfNegative val="0"/>
            <c:bubble3D val="0"/>
            <c:spPr>
              <a:solidFill>
                <a:srgbClr val="005696"/>
              </a:solidFill>
              <a:ln w="19050">
                <a:solidFill>
                  <a:sysClr val="window" lastClr="FFFFFF"/>
                </a:solidFill>
              </a:ln>
              <a:effectLst/>
            </c:spPr>
            <c:extLst>
              <c:ext xmlns:c16="http://schemas.microsoft.com/office/drawing/2014/chart" uri="{C3380CC4-5D6E-409C-BE32-E72D297353CC}">
                <c16:uniqueId val="{00000001-A07B-491F-A12B-497A832E434C}"/>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tat Co2'!$O$28:$O$43</c:f>
              <c:strCache>
                <c:ptCount val="16"/>
                <c:pt idx="0">
                  <c:v>Ukraine</c:v>
                </c:pt>
                <c:pt idx="1">
                  <c:v>China</c:v>
                </c:pt>
                <c:pt idx="2">
                  <c:v>India</c:v>
                </c:pt>
                <c:pt idx="3">
                  <c:v>Brazil</c:v>
                </c:pt>
                <c:pt idx="4">
                  <c:v>Japan</c:v>
                </c:pt>
                <c:pt idx="5">
                  <c:v>Russia</c:v>
                </c:pt>
                <c:pt idx="6">
                  <c:v>France</c:v>
                </c:pt>
                <c:pt idx="7">
                  <c:v>Vietnam</c:v>
                </c:pt>
                <c:pt idx="8">
                  <c:v>South Korea</c:v>
                </c:pt>
                <c:pt idx="9">
                  <c:v>Germany</c:v>
                </c:pt>
                <c:pt idx="10">
                  <c:v>Canada</c:v>
                </c:pt>
                <c:pt idx="11">
                  <c:v>EU-27</c:v>
                </c:pt>
                <c:pt idx="12">
                  <c:v>USA</c:v>
                </c:pt>
                <c:pt idx="13">
                  <c:v>Mexico</c:v>
                </c:pt>
                <c:pt idx="14">
                  <c:v>Turkey</c:v>
                </c:pt>
                <c:pt idx="15">
                  <c:v>Italy</c:v>
                </c:pt>
              </c:strCache>
            </c:strRef>
          </c:cat>
          <c:val>
            <c:numRef>
              <c:f>'Totat Co2'!$P$28:$P$43</c:f>
              <c:numCache>
                <c:formatCode>General</c:formatCode>
                <c:ptCount val="16"/>
                <c:pt idx="0">
                  <c:v>6.2141491395793498</c:v>
                </c:pt>
                <c:pt idx="1">
                  <c:v>4.8996175908221797</c:v>
                </c:pt>
                <c:pt idx="2">
                  <c:v>4.7801147227533463</c:v>
                </c:pt>
                <c:pt idx="3">
                  <c:v>4.7323135755258123</c:v>
                </c:pt>
                <c:pt idx="4">
                  <c:v>4.6606118546845119</c:v>
                </c:pt>
                <c:pt idx="5">
                  <c:v>4.5411089866156784</c:v>
                </c:pt>
                <c:pt idx="6">
                  <c:v>4.4216061185468449</c:v>
                </c:pt>
                <c:pt idx="7">
                  <c:v>4.3021032504780115</c:v>
                </c:pt>
                <c:pt idx="8">
                  <c:v>4.0630975143403436</c:v>
                </c:pt>
                <c:pt idx="9">
                  <c:v>3.8718929254302101</c:v>
                </c:pt>
                <c:pt idx="10">
                  <c:v>3.8240917782026767</c:v>
                </c:pt>
                <c:pt idx="11">
                  <c:v>3.6089866156787762</c:v>
                </c:pt>
                <c:pt idx="12">
                  <c:v>3.1070745697896749</c:v>
                </c:pt>
                <c:pt idx="13">
                  <c:v>2.987571701720841</c:v>
                </c:pt>
                <c:pt idx="14">
                  <c:v>2.6290630975143401</c:v>
                </c:pt>
                <c:pt idx="15">
                  <c:v>2.3900573613766731</c:v>
                </c:pt>
              </c:numCache>
            </c:numRef>
          </c:val>
          <c:extLst>
            <c:ext xmlns:c16="http://schemas.microsoft.com/office/drawing/2014/chart" uri="{C3380CC4-5D6E-409C-BE32-E72D297353CC}">
              <c16:uniqueId val="{00000002-A07B-491F-A12B-497A832E434C}"/>
            </c:ext>
          </c:extLst>
        </c:ser>
        <c:dLbls>
          <c:showLegendKey val="0"/>
          <c:showVal val="0"/>
          <c:showCatName val="0"/>
          <c:showSerName val="0"/>
          <c:showPercent val="0"/>
          <c:showBubbleSize val="0"/>
        </c:dLbls>
        <c:gapWidth val="0"/>
        <c:axId val="580602016"/>
        <c:axId val="580612832"/>
      </c:barChart>
      <c:catAx>
        <c:axId val="580602016"/>
        <c:scaling>
          <c:orientation val="minMax"/>
        </c:scaling>
        <c:delete val="0"/>
        <c:axPos val="l"/>
        <c:numFmt formatCode="General" sourceLinked="1"/>
        <c:majorTickMark val="none"/>
        <c:minorTickMark val="none"/>
        <c:tickLblPos val="nextTo"/>
        <c:spPr>
          <a:noFill/>
          <a:ln w="9525" cap="flat" cmpd="sng" algn="ctr">
            <a:solidFill>
              <a:sysClr val="window" lastClr="FFFFFF">
                <a:lumMod val="50000"/>
              </a:sysClr>
            </a:solidFill>
            <a:round/>
          </a:ln>
          <a:effectLst/>
        </c:spPr>
        <c:txPr>
          <a:bodyPr rot="0" spcFirstLastPara="1" vertOverflow="ellipsis" wrap="square" anchor="ctr" anchorCtr="1"/>
          <a:lstStyle/>
          <a:p>
            <a:pPr>
              <a:defRPr sz="12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mn-cs"/>
              </a:defRPr>
            </a:pPr>
            <a:endParaRPr lang="en-US"/>
          </a:p>
        </c:txPr>
        <c:crossAx val="580612832"/>
        <c:crosses val="autoZero"/>
        <c:auto val="1"/>
        <c:lblAlgn val="ctr"/>
        <c:lblOffset val="100"/>
        <c:noMultiLvlLbl val="0"/>
      </c:catAx>
      <c:valAx>
        <c:axId val="580612832"/>
        <c:scaling>
          <c:orientation val="minMax"/>
          <c:min val="1"/>
        </c:scaling>
        <c:delete val="0"/>
        <c:axPos val="b"/>
        <c:numFmt formatCode="General" sourceLinked="1"/>
        <c:majorTickMark val="none"/>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mn-cs"/>
              </a:defRPr>
            </a:pPr>
            <a:endParaRPr lang="en-US"/>
          </a:p>
        </c:txPr>
        <c:crossAx val="58060201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oke </a:t>
            </a:r>
            <a:r>
              <a:rPr lang="en-US" dirty="0" smtClean="0"/>
              <a:t>(kg) v/s </a:t>
            </a:r>
            <a:r>
              <a:rPr lang="en-US" dirty="0"/>
              <a:t>input </a:t>
            </a:r>
            <a:r>
              <a:rPr lang="en-US" dirty="0" smtClean="0"/>
              <a:t>energy(in Kcal)</a:t>
            </a:r>
            <a:endParaRPr lang="en-US" dirty="0"/>
          </a:p>
        </c:rich>
      </c:tx>
      <c:layout>
        <c:manualLayout>
          <c:xMode val="edge"/>
          <c:yMode val="edge"/>
          <c:x val="0.19177625863435888"/>
          <c:y val="9.733223423529302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349473377074898"/>
          <c:y val="0.36393581809305026"/>
          <c:w val="0.65553838997973357"/>
          <c:h val="0.46031576918282135"/>
        </c:manualLayout>
      </c:layout>
      <c:scatterChart>
        <c:scatterStyle val="lineMarker"/>
        <c:varyColors val="0"/>
        <c:ser>
          <c:idx val="0"/>
          <c:order val="0"/>
          <c:tx>
            <c:strRef>
              <c:f>'Parameters ranges for ANN step1'!$AJ$1:$AJ$2</c:f>
              <c:strCache>
                <c:ptCount val="2"/>
                <c:pt idx="0">
                  <c:v>Total Coke+Nut Coke</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F$3:$AF$1137</c:f>
              <c:numCache>
                <c:formatCode>0.00</c:formatCode>
                <c:ptCount val="1135"/>
                <c:pt idx="0">
                  <c:v>3636725.2757284632</c:v>
                </c:pt>
                <c:pt idx="1">
                  <c:v>3599554.9799319329</c:v>
                </c:pt>
                <c:pt idx="2">
                  <c:v>3609808.3459291705</c:v>
                </c:pt>
                <c:pt idx="3">
                  <c:v>3572360.5549783679</c:v>
                </c:pt>
                <c:pt idx="4">
                  <c:v>3607894.8230633144</c:v>
                </c:pt>
                <c:pt idx="5">
                  <c:v>3631294.8665722902</c:v>
                </c:pt>
                <c:pt idx="6">
                  <c:v>3739678.0390270962</c:v>
                </c:pt>
                <c:pt idx="7">
                  <c:v>3632784.0637022671</c:v>
                </c:pt>
                <c:pt idx="8">
                  <c:v>3629483.9254891337</c:v>
                </c:pt>
                <c:pt idx="9">
                  <c:v>3642200.5912040924</c:v>
                </c:pt>
                <c:pt idx="10">
                  <c:v>3608023.7351989979</c:v>
                </c:pt>
                <c:pt idx="11">
                  <c:v>3628947.982823391</c:v>
                </c:pt>
                <c:pt idx="12">
                  <c:v>3651156.1117609339</c:v>
                </c:pt>
                <c:pt idx="13">
                  <c:v>3731198.7660904517</c:v>
                </c:pt>
                <c:pt idx="14">
                  <c:v>3668005.1057057073</c:v>
                </c:pt>
                <c:pt idx="15">
                  <c:v>3615147.7832901292</c:v>
                </c:pt>
                <c:pt idx="16">
                  <c:v>3614153.1898455266</c:v>
                </c:pt>
                <c:pt idx="17">
                  <c:v>3686126.3295556107</c:v>
                </c:pt>
                <c:pt idx="18">
                  <c:v>3700858.2046743003</c:v>
                </c:pt>
                <c:pt idx="19">
                  <c:v>3655977.3044621851</c:v>
                </c:pt>
                <c:pt idx="20">
                  <c:v>3640996.8800112549</c:v>
                </c:pt>
                <c:pt idx="21">
                  <c:v>3614227.2552205171</c:v>
                </c:pt>
                <c:pt idx="22">
                  <c:v>3618793.6185410097</c:v>
                </c:pt>
                <c:pt idx="23">
                  <c:v>3657911.5781089212</c:v>
                </c:pt>
                <c:pt idx="24">
                  <c:v>2067115.5445801036</c:v>
                </c:pt>
                <c:pt idx="25">
                  <c:v>2104954.2204692462</c:v>
                </c:pt>
                <c:pt idx="26">
                  <c:v>3730395.3996310416</c:v>
                </c:pt>
                <c:pt idx="27">
                  <c:v>3724426.4708718224</c:v>
                </c:pt>
                <c:pt idx="28">
                  <c:v>3664540.9017959628</c:v>
                </c:pt>
                <c:pt idx="29">
                  <c:v>3708425.514343671</c:v>
                </c:pt>
                <c:pt idx="30">
                  <c:v>3699632.0017941617</c:v>
                </c:pt>
                <c:pt idx="31">
                  <c:v>3634956.3075154615</c:v>
                </c:pt>
                <c:pt idx="32">
                  <c:v>3666547.7633475489</c:v>
                </c:pt>
                <c:pt idx="33">
                  <c:v>3667470.1227976852</c:v>
                </c:pt>
                <c:pt idx="34">
                  <c:v>3728347.5408095159</c:v>
                </c:pt>
                <c:pt idx="35">
                  <c:v>1971566.1121476039</c:v>
                </c:pt>
                <c:pt idx="36">
                  <c:v>2011153.4021329361</c:v>
                </c:pt>
                <c:pt idx="37">
                  <c:v>3696983.6360937878</c:v>
                </c:pt>
                <c:pt idx="38">
                  <c:v>3663536.3503362406</c:v>
                </c:pt>
                <c:pt idx="39">
                  <c:v>3676599.2978546266</c:v>
                </c:pt>
                <c:pt idx="40">
                  <c:v>3655525.3015373917</c:v>
                </c:pt>
                <c:pt idx="41">
                  <c:v>3709708.4756910126</c:v>
                </c:pt>
                <c:pt idx="42">
                  <c:v>3763070.5293486952</c:v>
                </c:pt>
                <c:pt idx="43">
                  <c:v>3817618.5428384836</c:v>
                </c:pt>
                <c:pt idx="44">
                  <c:v>3831417.5072102337</c:v>
                </c:pt>
                <c:pt idx="45">
                  <c:v>4766912.1219277252</c:v>
                </c:pt>
                <c:pt idx="46">
                  <c:v>4398069.9828176191</c:v>
                </c:pt>
                <c:pt idx="47">
                  <c:v>3782653.0755211646</c:v>
                </c:pt>
                <c:pt idx="48">
                  <c:v>3723489.0856501549</c:v>
                </c:pt>
                <c:pt idx="49">
                  <c:v>3711459.0600004941</c:v>
                </c:pt>
                <c:pt idx="50">
                  <c:v>3737754.4592644833</c:v>
                </c:pt>
                <c:pt idx="51">
                  <c:v>3732002.5293831024</c:v>
                </c:pt>
                <c:pt idx="52">
                  <c:v>3718384.8066014205</c:v>
                </c:pt>
                <c:pt idx="53">
                  <c:v>3661072.3587299935</c:v>
                </c:pt>
                <c:pt idx="54">
                  <c:v>3661628.4411358815</c:v>
                </c:pt>
                <c:pt idx="55">
                  <c:v>3659070.0137464642</c:v>
                </c:pt>
                <c:pt idx="56">
                  <c:v>3650612.1582813361</c:v>
                </c:pt>
                <c:pt idx="57">
                  <c:v>3734074.8030980215</c:v>
                </c:pt>
                <c:pt idx="58">
                  <c:v>3706243.1065658219</c:v>
                </c:pt>
                <c:pt idx="59">
                  <c:v>3716571.5204224302</c:v>
                </c:pt>
                <c:pt idx="60">
                  <c:v>3633669.5626494614</c:v>
                </c:pt>
                <c:pt idx="61">
                  <c:v>3653873.5911605889</c:v>
                </c:pt>
                <c:pt idx="62">
                  <c:v>3638118.9616075978</c:v>
                </c:pt>
                <c:pt idx="63">
                  <c:v>3637074.4066561386</c:v>
                </c:pt>
                <c:pt idx="64">
                  <c:v>3672912.8248326103</c:v>
                </c:pt>
                <c:pt idx="65">
                  <c:v>3650980.9015184711</c:v>
                </c:pt>
                <c:pt idx="66">
                  <c:v>3658136.1498483303</c:v>
                </c:pt>
                <c:pt idx="67">
                  <c:v>3689569.3040010771</c:v>
                </c:pt>
                <c:pt idx="68">
                  <c:v>3742871.3103459394</c:v>
                </c:pt>
                <c:pt idx="69">
                  <c:v>3779953.5952627645</c:v>
                </c:pt>
                <c:pt idx="70">
                  <c:v>3699046.8494161796</c:v>
                </c:pt>
                <c:pt idx="71">
                  <c:v>3724418.8214752376</c:v>
                </c:pt>
                <c:pt idx="72">
                  <c:v>3694732.1851235051</c:v>
                </c:pt>
                <c:pt idx="73">
                  <c:v>3642520.8305090512</c:v>
                </c:pt>
                <c:pt idx="74">
                  <c:v>3675551.442976844</c:v>
                </c:pt>
                <c:pt idx="75">
                  <c:v>3658364.8784052231</c:v>
                </c:pt>
                <c:pt idx="76">
                  <c:v>3633247.3003638159</c:v>
                </c:pt>
                <c:pt idx="77">
                  <c:v>3621774.389869872</c:v>
                </c:pt>
                <c:pt idx="78">
                  <c:v>3636894.9299929021</c:v>
                </c:pt>
                <c:pt idx="79">
                  <c:v>3638636.9833716066</c:v>
                </c:pt>
                <c:pt idx="80">
                  <c:v>3625281.9145060657</c:v>
                </c:pt>
                <c:pt idx="81">
                  <c:v>3671913.86306663</c:v>
                </c:pt>
                <c:pt idx="82">
                  <c:v>3652550.3242538101</c:v>
                </c:pt>
                <c:pt idx="83">
                  <c:v>3671228.9705203655</c:v>
                </c:pt>
                <c:pt idx="84">
                  <c:v>3741563.5259570447</c:v>
                </c:pt>
                <c:pt idx="85">
                  <c:v>3718969.0228939303</c:v>
                </c:pt>
                <c:pt idx="86">
                  <c:v>3695943.3136921288</c:v>
                </c:pt>
                <c:pt idx="87">
                  <c:v>3668945.8497910914</c:v>
                </c:pt>
                <c:pt idx="88">
                  <c:v>3659784.7781994231</c:v>
                </c:pt>
                <c:pt idx="89">
                  <c:v>3663501.822771227</c:v>
                </c:pt>
                <c:pt idx="90">
                  <c:v>3662326.1323074368</c:v>
                </c:pt>
                <c:pt idx="91">
                  <c:v>3671968.9706553263</c:v>
                </c:pt>
                <c:pt idx="92">
                  <c:v>3662841.4806098449</c:v>
                </c:pt>
                <c:pt idx="93">
                  <c:v>3602338.165188645</c:v>
                </c:pt>
                <c:pt idx="94">
                  <c:v>3658206.4339472251</c:v>
                </c:pt>
                <c:pt idx="95">
                  <c:v>3666016.5607227753</c:v>
                </c:pt>
                <c:pt idx="96">
                  <c:v>3652381.3162052343</c:v>
                </c:pt>
                <c:pt idx="97">
                  <c:v>3692220.8624967672</c:v>
                </c:pt>
                <c:pt idx="98">
                  <c:v>3659516.5391145428</c:v>
                </c:pt>
                <c:pt idx="99">
                  <c:v>3715317.5701302122</c:v>
                </c:pt>
                <c:pt idx="100">
                  <c:v>3688610.0193220093</c:v>
                </c:pt>
                <c:pt idx="101">
                  <c:v>3655394.5727618202</c:v>
                </c:pt>
                <c:pt idx="102">
                  <c:v>3658043.5272280029</c:v>
                </c:pt>
                <c:pt idx="103">
                  <c:v>3661054.2088660044</c:v>
                </c:pt>
                <c:pt idx="104">
                  <c:v>3710501.6164808851</c:v>
                </c:pt>
                <c:pt idx="105">
                  <c:v>3741788.6065936033</c:v>
                </c:pt>
                <c:pt idx="106">
                  <c:v>3696415.5349200452</c:v>
                </c:pt>
                <c:pt idx="107">
                  <c:v>3660611.5576120899</c:v>
                </c:pt>
                <c:pt idx="108">
                  <c:v>3672086.0232971478</c:v>
                </c:pt>
                <c:pt idx="109">
                  <c:v>3691158.9899610025</c:v>
                </c:pt>
                <c:pt idx="110">
                  <c:v>3641332.5140728797</c:v>
                </c:pt>
                <c:pt idx="111">
                  <c:v>3672675.3506024573</c:v>
                </c:pt>
                <c:pt idx="112">
                  <c:v>3697834.9903338463</c:v>
                </c:pt>
                <c:pt idx="113">
                  <c:v>3742394.8376688915</c:v>
                </c:pt>
                <c:pt idx="114">
                  <c:v>3688444.064316263</c:v>
                </c:pt>
                <c:pt idx="115">
                  <c:v>3708067.4196261321</c:v>
                </c:pt>
                <c:pt idx="116">
                  <c:v>3667288.5402063034</c:v>
                </c:pt>
                <c:pt idx="117">
                  <c:v>3697720.44036204</c:v>
                </c:pt>
                <c:pt idx="118">
                  <c:v>3671128.6331191212</c:v>
                </c:pt>
                <c:pt idx="119">
                  <c:v>3726047.9222088717</c:v>
                </c:pt>
                <c:pt idx="120">
                  <c:v>3677741.3213894633</c:v>
                </c:pt>
                <c:pt idx="121">
                  <c:v>3736855.9217521888</c:v>
                </c:pt>
                <c:pt idx="122">
                  <c:v>3730909.1368409409</c:v>
                </c:pt>
                <c:pt idx="123">
                  <c:v>3706576.1701108688</c:v>
                </c:pt>
                <c:pt idx="124">
                  <c:v>3702341.238797198</c:v>
                </c:pt>
                <c:pt idx="125">
                  <c:v>3699785.0516473888</c:v>
                </c:pt>
                <c:pt idx="126">
                  <c:v>3652185.3826875016</c:v>
                </c:pt>
                <c:pt idx="127">
                  <c:v>3628744.819542313</c:v>
                </c:pt>
                <c:pt idx="128">
                  <c:v>3692888.1130849286</c:v>
                </c:pt>
                <c:pt idx="129">
                  <c:v>3646966.392910263</c:v>
                </c:pt>
                <c:pt idx="130">
                  <c:v>3638788.3158924533</c:v>
                </c:pt>
                <c:pt idx="131">
                  <c:v>3721601.4956998886</c:v>
                </c:pt>
                <c:pt idx="132">
                  <c:v>3693408.3198319995</c:v>
                </c:pt>
                <c:pt idx="133">
                  <c:v>3696552.383513567</c:v>
                </c:pt>
                <c:pt idx="134">
                  <c:v>3733638.3820162015</c:v>
                </c:pt>
                <c:pt idx="135">
                  <c:v>3704615.3290334647</c:v>
                </c:pt>
                <c:pt idx="136">
                  <c:v>3634863.7577509475</c:v>
                </c:pt>
                <c:pt idx="137">
                  <c:v>3702807.8384281695</c:v>
                </c:pt>
                <c:pt idx="138">
                  <c:v>3709652.1775636706</c:v>
                </c:pt>
                <c:pt idx="139">
                  <c:v>3692684.2984749009</c:v>
                </c:pt>
                <c:pt idx="140">
                  <c:v>3770277.1727890298</c:v>
                </c:pt>
                <c:pt idx="141">
                  <c:v>3938967.0457082535</c:v>
                </c:pt>
                <c:pt idx="142">
                  <c:v>4102785.6661544088</c:v>
                </c:pt>
                <c:pt idx="143">
                  <c:v>4142154.7922206162</c:v>
                </c:pt>
                <c:pt idx="144">
                  <c:v>5747129.4791646376</c:v>
                </c:pt>
                <c:pt idx="145">
                  <c:v>0</c:v>
                </c:pt>
                <c:pt idx="146">
                  <c:v>0</c:v>
                </c:pt>
                <c:pt idx="147">
                  <c:v>0</c:v>
                </c:pt>
                <c:pt idx="148">
                  <c:v>0</c:v>
                </c:pt>
                <c:pt idx="149">
                  <c:v>0</c:v>
                </c:pt>
                <c:pt idx="150">
                  <c:v>4167294.3332040203</c:v>
                </c:pt>
                <c:pt idx="151">
                  <c:v>3716449.3523203256</c:v>
                </c:pt>
                <c:pt idx="152">
                  <c:v>3629393.7869651434</c:v>
                </c:pt>
                <c:pt idx="153">
                  <c:v>3640764.8191606831</c:v>
                </c:pt>
                <c:pt idx="154">
                  <c:v>2061144.5371636748</c:v>
                </c:pt>
                <c:pt idx="155">
                  <c:v>3678633.9659623951</c:v>
                </c:pt>
                <c:pt idx="156">
                  <c:v>3669018.546475023</c:v>
                </c:pt>
                <c:pt idx="157">
                  <c:v>3669555.5372643913</c:v>
                </c:pt>
                <c:pt idx="158">
                  <c:v>3702001.4951343806</c:v>
                </c:pt>
                <c:pt idx="159">
                  <c:v>3714913.8022081279</c:v>
                </c:pt>
                <c:pt idx="160">
                  <c:v>3723786.7010964141</c:v>
                </c:pt>
                <c:pt idx="161">
                  <c:v>3769431.4268661458</c:v>
                </c:pt>
                <c:pt idx="162">
                  <c:v>3766308.6494619241</c:v>
                </c:pt>
                <c:pt idx="163">
                  <c:v>3709442.4138614866</c:v>
                </c:pt>
                <c:pt idx="164">
                  <c:v>3644106.9598706351</c:v>
                </c:pt>
                <c:pt idx="165">
                  <c:v>3644509.2044297834</c:v>
                </c:pt>
                <c:pt idx="166">
                  <c:v>3693774.2881647763</c:v>
                </c:pt>
                <c:pt idx="167">
                  <c:v>3689438.4555126685</c:v>
                </c:pt>
                <c:pt idx="168">
                  <c:v>3703498.5298011703</c:v>
                </c:pt>
                <c:pt idx="169">
                  <c:v>3675112.0159442625</c:v>
                </c:pt>
                <c:pt idx="170">
                  <c:v>3758562.2158194091</c:v>
                </c:pt>
                <c:pt idx="171">
                  <c:v>3786971.2699658391</c:v>
                </c:pt>
                <c:pt idx="172">
                  <c:v>3758724.3091260022</c:v>
                </c:pt>
                <c:pt idx="173">
                  <c:v>3768268.2416939391</c:v>
                </c:pt>
                <c:pt idx="174">
                  <c:v>3762814.6993430876</c:v>
                </c:pt>
                <c:pt idx="175">
                  <c:v>3800361.6710024192</c:v>
                </c:pt>
                <c:pt idx="176">
                  <c:v>3859480.9931617328</c:v>
                </c:pt>
                <c:pt idx="177">
                  <c:v>3871045.5903360192</c:v>
                </c:pt>
                <c:pt idx="178">
                  <c:v>3754128.7550232434</c:v>
                </c:pt>
                <c:pt idx="179">
                  <c:v>3791698.1228064895</c:v>
                </c:pt>
                <c:pt idx="180">
                  <c:v>3721497.9210363138</c:v>
                </c:pt>
                <c:pt idx="181">
                  <c:v>3698189.2533857063</c:v>
                </c:pt>
                <c:pt idx="182">
                  <c:v>3691084.0470527764</c:v>
                </c:pt>
                <c:pt idx="183">
                  <c:v>3696726.0298118521</c:v>
                </c:pt>
                <c:pt idx="184">
                  <c:v>3729636.0766733508</c:v>
                </c:pt>
                <c:pt idx="185">
                  <c:v>3733006.8746337695</c:v>
                </c:pt>
                <c:pt idx="186">
                  <c:v>3735669.988498576</c:v>
                </c:pt>
                <c:pt idx="187">
                  <c:v>3740910.3762075203</c:v>
                </c:pt>
                <c:pt idx="188">
                  <c:v>3716130.5434619058</c:v>
                </c:pt>
                <c:pt idx="189">
                  <c:v>3707286.9232113524</c:v>
                </c:pt>
                <c:pt idx="190">
                  <c:v>3729966.0945485346</c:v>
                </c:pt>
                <c:pt idx="191">
                  <c:v>3736315.9036329403</c:v>
                </c:pt>
                <c:pt idx="192">
                  <c:v>3687333.9632061655</c:v>
                </c:pt>
                <c:pt idx="193">
                  <c:v>3703374.1284489939</c:v>
                </c:pt>
                <c:pt idx="194">
                  <c:v>3720946.494933316</c:v>
                </c:pt>
                <c:pt idx="195">
                  <c:v>3729422.0923228357</c:v>
                </c:pt>
                <c:pt idx="196">
                  <c:v>3719113.5650787279</c:v>
                </c:pt>
                <c:pt idx="197">
                  <c:v>3705789.587576746</c:v>
                </c:pt>
                <c:pt idx="198">
                  <c:v>3707743.6707377704</c:v>
                </c:pt>
                <c:pt idx="199">
                  <c:v>3685870.0503740995</c:v>
                </c:pt>
                <c:pt idx="200">
                  <c:v>3756800.6604999644</c:v>
                </c:pt>
                <c:pt idx="201">
                  <c:v>3768648.7891474529</c:v>
                </c:pt>
                <c:pt idx="202">
                  <c:v>3759583.6874081902</c:v>
                </c:pt>
                <c:pt idx="203">
                  <c:v>3741459.00726688</c:v>
                </c:pt>
                <c:pt idx="204">
                  <c:v>3694993.6504276358</c:v>
                </c:pt>
                <c:pt idx="205">
                  <c:v>3721759.3402429842</c:v>
                </c:pt>
                <c:pt idx="206">
                  <c:v>3773209.4865708719</c:v>
                </c:pt>
                <c:pt idx="207">
                  <c:v>3760246.1823556679</c:v>
                </c:pt>
                <c:pt idx="208">
                  <c:v>3691879.4947398058</c:v>
                </c:pt>
                <c:pt idx="209">
                  <c:v>3698722.3140867674</c:v>
                </c:pt>
                <c:pt idx="210">
                  <c:v>3685768.9078071811</c:v>
                </c:pt>
                <c:pt idx="211">
                  <c:v>3748923.1580553418</c:v>
                </c:pt>
                <c:pt idx="212">
                  <c:v>3755958.0733039551</c:v>
                </c:pt>
                <c:pt idx="213">
                  <c:v>3746103.6309745843</c:v>
                </c:pt>
                <c:pt idx="214">
                  <c:v>3817097.0892792898</c:v>
                </c:pt>
                <c:pt idx="215">
                  <c:v>3723295.5996033084</c:v>
                </c:pt>
                <c:pt idx="216">
                  <c:v>3682509.1627454371</c:v>
                </c:pt>
                <c:pt idx="217">
                  <c:v>3762143.6063095434</c:v>
                </c:pt>
                <c:pt idx="218">
                  <c:v>3707676.6149299266</c:v>
                </c:pt>
                <c:pt idx="219">
                  <c:v>3920264.177571109</c:v>
                </c:pt>
                <c:pt idx="220">
                  <c:v>3649315.3106658524</c:v>
                </c:pt>
                <c:pt idx="221">
                  <c:v>3704865.497024578</c:v>
                </c:pt>
                <c:pt idx="222">
                  <c:v>3686856.5203808215</c:v>
                </c:pt>
                <c:pt idx="223">
                  <c:v>3679534.1368863997</c:v>
                </c:pt>
                <c:pt idx="224">
                  <c:v>3649334.9687494626</c:v>
                </c:pt>
                <c:pt idx="225">
                  <c:v>3643437.2015950712</c:v>
                </c:pt>
                <c:pt idx="226">
                  <c:v>3690416.6935861153</c:v>
                </c:pt>
                <c:pt idx="227">
                  <c:v>3644749.8507941798</c:v>
                </c:pt>
                <c:pt idx="228">
                  <c:v>3687455.9099363135</c:v>
                </c:pt>
                <c:pt idx="229">
                  <c:v>3650770.0271825194</c:v>
                </c:pt>
                <c:pt idx="230">
                  <c:v>3721607.3025792367</c:v>
                </c:pt>
                <c:pt idx="231">
                  <c:v>3705676.4040733106</c:v>
                </c:pt>
                <c:pt idx="232">
                  <c:v>3757062.5169323245</c:v>
                </c:pt>
                <c:pt idx="233">
                  <c:v>3703509.2070043148</c:v>
                </c:pt>
                <c:pt idx="234">
                  <c:v>3705596.0566618401</c:v>
                </c:pt>
                <c:pt idx="235">
                  <c:v>3771943.2208844493</c:v>
                </c:pt>
                <c:pt idx="236">
                  <c:v>3744716.7240195214</c:v>
                </c:pt>
                <c:pt idx="237">
                  <c:v>3715696.3914244641</c:v>
                </c:pt>
                <c:pt idx="238">
                  <c:v>3753631.698519737</c:v>
                </c:pt>
                <c:pt idx="239">
                  <c:v>3727391.2507520607</c:v>
                </c:pt>
                <c:pt idx="240">
                  <c:v>3865590.3652158324</c:v>
                </c:pt>
                <c:pt idx="241">
                  <c:v>3903220.0098123299</c:v>
                </c:pt>
                <c:pt idx="242">
                  <c:v>3872417.4789317017</c:v>
                </c:pt>
                <c:pt idx="243">
                  <c:v>3861639.8248256748</c:v>
                </c:pt>
                <c:pt idx="244">
                  <c:v>3845251.0409187214</c:v>
                </c:pt>
                <c:pt idx="245">
                  <c:v>3948463.1037023501</c:v>
                </c:pt>
                <c:pt idx="246">
                  <c:v>4105791.7185303001</c:v>
                </c:pt>
                <c:pt idx="247">
                  <c:v>4143424.1988708377</c:v>
                </c:pt>
                <c:pt idx="248">
                  <c:v>3901973.7734034783</c:v>
                </c:pt>
                <c:pt idx="249">
                  <c:v>3898191.7790111681</c:v>
                </c:pt>
                <c:pt idx="250">
                  <c:v>3869709.2853047326</c:v>
                </c:pt>
                <c:pt idx="251">
                  <c:v>3962326.5466504879</c:v>
                </c:pt>
                <c:pt idx="252">
                  <c:v>3790035.2551633446</c:v>
                </c:pt>
                <c:pt idx="253">
                  <c:v>3814184.0971022774</c:v>
                </c:pt>
                <c:pt idx="254">
                  <c:v>3763950.401129507</c:v>
                </c:pt>
                <c:pt idx="255">
                  <c:v>3824299.606065982</c:v>
                </c:pt>
                <c:pt idx="256">
                  <c:v>3661608.2685144963</c:v>
                </c:pt>
                <c:pt idx="257">
                  <c:v>3667546.5077548227</c:v>
                </c:pt>
                <c:pt idx="258">
                  <c:v>3818706.9477761118</c:v>
                </c:pt>
                <c:pt idx="259">
                  <c:v>4204905.6071573971</c:v>
                </c:pt>
                <c:pt idx="260">
                  <c:v>4081387.9237215933</c:v>
                </c:pt>
                <c:pt idx="261">
                  <c:v>3867257.9562039562</c:v>
                </c:pt>
                <c:pt idx="262">
                  <c:v>3798485.1100451718</c:v>
                </c:pt>
                <c:pt idx="263">
                  <c:v>3815795.3870961405</c:v>
                </c:pt>
                <c:pt idx="264">
                  <c:v>3775326.3174497639</c:v>
                </c:pt>
                <c:pt idx="265">
                  <c:v>3764667.8261745851</c:v>
                </c:pt>
                <c:pt idx="266">
                  <c:v>3791165.2281378414</c:v>
                </c:pt>
                <c:pt idx="267">
                  <c:v>3924292.1689248369</c:v>
                </c:pt>
                <c:pt idx="268">
                  <c:v>3684841.3644898566</c:v>
                </c:pt>
                <c:pt idx="269">
                  <c:v>3684968.8197544408</c:v>
                </c:pt>
                <c:pt idx="270">
                  <c:v>3720522.530591168</c:v>
                </c:pt>
                <c:pt idx="271">
                  <c:v>3702392.6078846101</c:v>
                </c:pt>
                <c:pt idx="272">
                  <c:v>3675581.5493206545</c:v>
                </c:pt>
                <c:pt idx="273">
                  <c:v>3685831.592385924</c:v>
                </c:pt>
                <c:pt idx="274">
                  <c:v>3704622.4946993706</c:v>
                </c:pt>
                <c:pt idx="275">
                  <c:v>3731221.6866677571</c:v>
                </c:pt>
                <c:pt idx="276">
                  <c:v>3763709.8492120123</c:v>
                </c:pt>
                <c:pt idx="277">
                  <c:v>3772162.0011707107</c:v>
                </c:pt>
                <c:pt idx="278">
                  <c:v>3801849.8357984577</c:v>
                </c:pt>
                <c:pt idx="279">
                  <c:v>3711084.9501617914</c:v>
                </c:pt>
                <c:pt idx="280">
                  <c:v>3655901.0119506735</c:v>
                </c:pt>
                <c:pt idx="281">
                  <c:v>3656455.4581023459</c:v>
                </c:pt>
                <c:pt idx="282">
                  <c:v>3644035.2463784008</c:v>
                </c:pt>
                <c:pt idx="283">
                  <c:v>3667199.3912167046</c:v>
                </c:pt>
                <c:pt idx="284">
                  <c:v>3676724.4887682111</c:v>
                </c:pt>
                <c:pt idx="285">
                  <c:v>3718290.4355708444</c:v>
                </c:pt>
                <c:pt idx="286">
                  <c:v>3714443.8648923039</c:v>
                </c:pt>
                <c:pt idx="287">
                  <c:v>3732371.3691629856</c:v>
                </c:pt>
                <c:pt idx="288">
                  <c:v>3726182.4661783688</c:v>
                </c:pt>
                <c:pt idx="289">
                  <c:v>3789501.3246811186</c:v>
                </c:pt>
                <c:pt idx="290">
                  <c:v>3733885.4920488056</c:v>
                </c:pt>
                <c:pt idx="291">
                  <c:v>3822365.4319939176</c:v>
                </c:pt>
                <c:pt idx="292">
                  <c:v>3780428.1301562828</c:v>
                </c:pt>
                <c:pt idx="293">
                  <c:v>3809680.9757660627</c:v>
                </c:pt>
                <c:pt idx="294">
                  <c:v>3737369.9724313794</c:v>
                </c:pt>
                <c:pt idx="295">
                  <c:v>3704395.3039466352</c:v>
                </c:pt>
                <c:pt idx="296">
                  <c:v>3719525.4871688983</c:v>
                </c:pt>
                <c:pt idx="297">
                  <c:v>3723177.1232115421</c:v>
                </c:pt>
                <c:pt idx="298">
                  <c:v>3734501.7641911712</c:v>
                </c:pt>
                <c:pt idx="299">
                  <c:v>3777186.3165651788</c:v>
                </c:pt>
                <c:pt idx="300">
                  <c:v>3817047.0000808779</c:v>
                </c:pt>
                <c:pt idx="301">
                  <c:v>3750386.2894230718</c:v>
                </c:pt>
                <c:pt idx="302">
                  <c:v>3696375.8629378416</c:v>
                </c:pt>
                <c:pt idx="303">
                  <c:v>3707233.3383737267</c:v>
                </c:pt>
                <c:pt idx="304">
                  <c:v>3711823.1842924794</c:v>
                </c:pt>
                <c:pt idx="305">
                  <c:v>3651292.160003528</c:v>
                </c:pt>
                <c:pt idx="306">
                  <c:v>3693993.345481223</c:v>
                </c:pt>
                <c:pt idx="307">
                  <c:v>3720917.0257890676</c:v>
                </c:pt>
                <c:pt idx="308">
                  <c:v>3697268.9972696234</c:v>
                </c:pt>
                <c:pt idx="309">
                  <c:v>3704535.5667748856</c:v>
                </c:pt>
                <c:pt idx="310">
                  <c:v>3729044.5643403176</c:v>
                </c:pt>
                <c:pt idx="311">
                  <c:v>3693922.7696115319</c:v>
                </c:pt>
                <c:pt idx="312">
                  <c:v>3723437.9286002466</c:v>
                </c:pt>
                <c:pt idx="313">
                  <c:v>3727084.0648371959</c:v>
                </c:pt>
                <c:pt idx="314">
                  <c:v>3695351.8645677748</c:v>
                </c:pt>
                <c:pt idx="315">
                  <c:v>3702608.7918420411</c:v>
                </c:pt>
                <c:pt idx="316">
                  <c:v>3734377.5123805818</c:v>
                </c:pt>
                <c:pt idx="317">
                  <c:v>3744922.2107153302</c:v>
                </c:pt>
                <c:pt idx="318">
                  <c:v>3704791.8045828999</c:v>
                </c:pt>
                <c:pt idx="319">
                  <c:v>3685190.1744057187</c:v>
                </c:pt>
                <c:pt idx="320">
                  <c:v>3711161.0875091525</c:v>
                </c:pt>
                <c:pt idx="321">
                  <c:v>3678160.6665367484</c:v>
                </c:pt>
                <c:pt idx="322">
                  <c:v>3677061.8030221816</c:v>
                </c:pt>
                <c:pt idx="323">
                  <c:v>3686472.7405427988</c:v>
                </c:pt>
                <c:pt idx="324">
                  <c:v>3701081.8259653375</c:v>
                </c:pt>
                <c:pt idx="325">
                  <c:v>3657648.9326240332</c:v>
                </c:pt>
                <c:pt idx="326">
                  <c:v>3633947.6603104435</c:v>
                </c:pt>
                <c:pt idx="327">
                  <c:v>3615897.3878599135</c:v>
                </c:pt>
                <c:pt idx="328">
                  <c:v>3642460.1792038986</c:v>
                </c:pt>
                <c:pt idx="329">
                  <c:v>3655009.3633453092</c:v>
                </c:pt>
                <c:pt idx="330">
                  <c:v>3657588.18482946</c:v>
                </c:pt>
                <c:pt idx="331">
                  <c:v>3683913.8865420441</c:v>
                </c:pt>
                <c:pt idx="332">
                  <c:v>3678423.5963021531</c:v>
                </c:pt>
                <c:pt idx="333">
                  <c:v>3704605.0122211296</c:v>
                </c:pt>
                <c:pt idx="334">
                  <c:v>3948191.4938426269</c:v>
                </c:pt>
                <c:pt idx="335">
                  <c:v>3955327.9698025719</c:v>
                </c:pt>
                <c:pt idx="336">
                  <c:v>3698556.6276805112</c:v>
                </c:pt>
                <c:pt idx="337">
                  <c:v>3676058.4480851446</c:v>
                </c:pt>
                <c:pt idx="338">
                  <c:v>3643393.6039735656</c:v>
                </c:pt>
                <c:pt idx="339">
                  <c:v>3644250.1515839528</c:v>
                </c:pt>
                <c:pt idx="340">
                  <c:v>3642103.539085804</c:v>
                </c:pt>
                <c:pt idx="341">
                  <c:v>3608849.227214518</c:v>
                </c:pt>
                <c:pt idx="342">
                  <c:v>3672319.5272597992</c:v>
                </c:pt>
                <c:pt idx="343">
                  <c:v>3625928.5804126505</c:v>
                </c:pt>
                <c:pt idx="344">
                  <c:v>3632609.8503650771</c:v>
                </c:pt>
                <c:pt idx="345">
                  <c:v>3659201.4222905627</c:v>
                </c:pt>
                <c:pt idx="346">
                  <c:v>3652526.962174247</c:v>
                </c:pt>
                <c:pt idx="347">
                  <c:v>3628875.8466845029</c:v>
                </c:pt>
                <c:pt idx="348">
                  <c:v>3640695.0222209892</c:v>
                </c:pt>
                <c:pt idx="349">
                  <c:v>3633746.7557035936</c:v>
                </c:pt>
                <c:pt idx="350">
                  <c:v>3636899.9431807194</c:v>
                </c:pt>
                <c:pt idx="351">
                  <c:v>3594652.6336951652</c:v>
                </c:pt>
                <c:pt idx="352">
                  <c:v>3686041.3390832921</c:v>
                </c:pt>
                <c:pt idx="353">
                  <c:v>3686885.8182151685</c:v>
                </c:pt>
                <c:pt idx="354">
                  <c:v>3688878.7107534674</c:v>
                </c:pt>
                <c:pt idx="355">
                  <c:v>3709278.6678328933</c:v>
                </c:pt>
                <c:pt idx="356">
                  <c:v>3750650.9221443334</c:v>
                </c:pt>
                <c:pt idx="357">
                  <c:v>3699081.5642934102</c:v>
                </c:pt>
                <c:pt idx="358">
                  <c:v>3660487.4838165324</c:v>
                </c:pt>
                <c:pt idx="359">
                  <c:v>3664851.1088759312</c:v>
                </c:pt>
                <c:pt idx="360">
                  <c:v>3625748.2166036959</c:v>
                </c:pt>
                <c:pt idx="361">
                  <c:v>3621836.0278160996</c:v>
                </c:pt>
                <c:pt idx="362">
                  <c:v>3670232.9047827497</c:v>
                </c:pt>
                <c:pt idx="363">
                  <c:v>3753354.055068803</c:v>
                </c:pt>
                <c:pt idx="364">
                  <c:v>4134413.8008570843</c:v>
                </c:pt>
                <c:pt idx="365">
                  <c:v>3988123.189050925</c:v>
                </c:pt>
                <c:pt idx="366">
                  <c:v>3743431.9691233067</c:v>
                </c:pt>
                <c:pt idx="367">
                  <c:v>3633422.7316317395</c:v>
                </c:pt>
                <c:pt idx="368">
                  <c:v>3654284.4071141123</c:v>
                </c:pt>
                <c:pt idx="369">
                  <c:v>3607594.7946793297</c:v>
                </c:pt>
                <c:pt idx="370">
                  <c:v>3583042.8566776002</c:v>
                </c:pt>
                <c:pt idx="371">
                  <c:v>3581993.9759687386</c:v>
                </c:pt>
                <c:pt idx="372">
                  <c:v>3557823.5671005915</c:v>
                </c:pt>
                <c:pt idx="373">
                  <c:v>3595029.7896923572</c:v>
                </c:pt>
                <c:pt idx="374">
                  <c:v>3642799.9883324504</c:v>
                </c:pt>
                <c:pt idx="375">
                  <c:v>3650829.905768048</c:v>
                </c:pt>
                <c:pt idx="376">
                  <c:v>3666798.1982251615</c:v>
                </c:pt>
                <c:pt idx="377">
                  <c:v>3679868.576276599</c:v>
                </c:pt>
                <c:pt idx="378">
                  <c:v>3662094.727597273</c:v>
                </c:pt>
                <c:pt idx="379">
                  <c:v>3664554.1396126081</c:v>
                </c:pt>
                <c:pt idx="380">
                  <c:v>3585423.3394696452</c:v>
                </c:pt>
                <c:pt idx="381">
                  <c:v>3554495.3400537949</c:v>
                </c:pt>
                <c:pt idx="382">
                  <c:v>3601522.9988637357</c:v>
                </c:pt>
                <c:pt idx="383">
                  <c:v>3615864.0856795022</c:v>
                </c:pt>
                <c:pt idx="384">
                  <c:v>3586995.5852566515</c:v>
                </c:pt>
                <c:pt idx="385">
                  <c:v>3555291.029168406</c:v>
                </c:pt>
                <c:pt idx="386">
                  <c:v>3586014.848778402</c:v>
                </c:pt>
                <c:pt idx="387">
                  <c:v>3653887.9700747924</c:v>
                </c:pt>
                <c:pt idx="388">
                  <c:v>3600577.9923743638</c:v>
                </c:pt>
                <c:pt idx="389">
                  <c:v>3628883.3648341754</c:v>
                </c:pt>
                <c:pt idx="390">
                  <c:v>3628654.9477779646</c:v>
                </c:pt>
                <c:pt idx="391">
                  <c:v>3607247.6073492495</c:v>
                </c:pt>
                <c:pt idx="392">
                  <c:v>3612252.8374453555</c:v>
                </c:pt>
                <c:pt idx="393">
                  <c:v>3658321.3051502225</c:v>
                </c:pt>
                <c:pt idx="394">
                  <c:v>3608914.1191104641</c:v>
                </c:pt>
                <c:pt idx="395">
                  <c:v>3644441.8853893545</c:v>
                </c:pt>
                <c:pt idx="396">
                  <c:v>3634927.7563199606</c:v>
                </c:pt>
                <c:pt idx="397">
                  <c:v>3639972.7066302844</c:v>
                </c:pt>
                <c:pt idx="398">
                  <c:v>3660828.2592340694</c:v>
                </c:pt>
                <c:pt idx="399">
                  <c:v>3669979.7847752683</c:v>
                </c:pt>
                <c:pt idx="400">
                  <c:v>3659123.014905863</c:v>
                </c:pt>
                <c:pt idx="401">
                  <c:v>3633842.8887970494</c:v>
                </c:pt>
                <c:pt idx="402">
                  <c:v>3659028.8608642672</c:v>
                </c:pt>
                <c:pt idx="403">
                  <c:v>3690526.8057534806</c:v>
                </c:pt>
                <c:pt idx="404">
                  <c:v>3706697.9330843999</c:v>
                </c:pt>
                <c:pt idx="405">
                  <c:v>3719077.8544107671</c:v>
                </c:pt>
                <c:pt idx="406">
                  <c:v>3681375.404209069</c:v>
                </c:pt>
                <c:pt idx="407">
                  <c:v>3654667.8598599164</c:v>
                </c:pt>
                <c:pt idx="408">
                  <c:v>3698796.2474135263</c:v>
                </c:pt>
                <c:pt idx="409">
                  <c:v>3655150.8608984132</c:v>
                </c:pt>
                <c:pt idx="410">
                  <c:v>3671842.8781750104</c:v>
                </c:pt>
                <c:pt idx="411">
                  <c:v>3616759.4406998493</c:v>
                </c:pt>
                <c:pt idx="412">
                  <c:v>3688018.3810129059</c:v>
                </c:pt>
                <c:pt idx="413">
                  <c:v>3700136.8340838058</c:v>
                </c:pt>
                <c:pt idx="414">
                  <c:v>3664989.3738982552</c:v>
                </c:pt>
                <c:pt idx="415">
                  <c:v>3722642.3826119169</c:v>
                </c:pt>
                <c:pt idx="416">
                  <c:v>3790666.7622880135</c:v>
                </c:pt>
                <c:pt idx="417">
                  <c:v>3689051.2451085998</c:v>
                </c:pt>
                <c:pt idx="418">
                  <c:v>3669920.1164108329</c:v>
                </c:pt>
                <c:pt idx="419">
                  <c:v>3703064.3826568411</c:v>
                </c:pt>
                <c:pt idx="420">
                  <c:v>3698919.4570424738</c:v>
                </c:pt>
                <c:pt idx="421">
                  <c:v>3714816.3239380275</c:v>
                </c:pt>
                <c:pt idx="422">
                  <c:v>3716650.4363285024</c:v>
                </c:pt>
                <c:pt idx="423">
                  <c:v>3692659.9518451928</c:v>
                </c:pt>
                <c:pt idx="424">
                  <c:v>3708476.9252023986</c:v>
                </c:pt>
                <c:pt idx="425">
                  <c:v>3700607.3174472624</c:v>
                </c:pt>
                <c:pt idx="426">
                  <c:v>3650787.5358751444</c:v>
                </c:pt>
                <c:pt idx="427">
                  <c:v>3611731.9511851394</c:v>
                </c:pt>
                <c:pt idx="428">
                  <c:v>3635747.7853839495</c:v>
                </c:pt>
                <c:pt idx="429">
                  <c:v>3644553.0513900607</c:v>
                </c:pt>
                <c:pt idx="430">
                  <c:v>3686395.1874423157</c:v>
                </c:pt>
                <c:pt idx="431">
                  <c:v>3674301.6141573167</c:v>
                </c:pt>
                <c:pt idx="432">
                  <c:v>3669684.7293889667</c:v>
                </c:pt>
                <c:pt idx="433">
                  <c:v>3691793.7637911825</c:v>
                </c:pt>
                <c:pt idx="434">
                  <c:v>3712162.5497196256</c:v>
                </c:pt>
                <c:pt idx="435">
                  <c:v>3705142.6387856877</c:v>
                </c:pt>
                <c:pt idx="436">
                  <c:v>3686170.171614293</c:v>
                </c:pt>
                <c:pt idx="437">
                  <c:v>3676549.083186748</c:v>
                </c:pt>
                <c:pt idx="438">
                  <c:v>3669480.1729459474</c:v>
                </c:pt>
                <c:pt idx="439">
                  <c:v>3668559.1263510007</c:v>
                </c:pt>
                <c:pt idx="440">
                  <c:v>3718954.7337733763</c:v>
                </c:pt>
                <c:pt idx="441">
                  <c:v>3735514.663099735</c:v>
                </c:pt>
                <c:pt idx="442">
                  <c:v>3705071.1401171004</c:v>
                </c:pt>
                <c:pt idx="443">
                  <c:v>3656317.1425593831</c:v>
                </c:pt>
                <c:pt idx="444">
                  <c:v>3632969.3618134474</c:v>
                </c:pt>
                <c:pt idx="445">
                  <c:v>3597130.8608157686</c:v>
                </c:pt>
                <c:pt idx="446">
                  <c:v>3661508.9468650185</c:v>
                </c:pt>
                <c:pt idx="447">
                  <c:v>3682604.9325159988</c:v>
                </c:pt>
                <c:pt idx="448">
                  <c:v>3696444.2417502953</c:v>
                </c:pt>
                <c:pt idx="449">
                  <c:v>3701243.8306324212</c:v>
                </c:pt>
                <c:pt idx="450">
                  <c:v>3664440.5103301425</c:v>
                </c:pt>
                <c:pt idx="451">
                  <c:v>3654707.2161941691</c:v>
                </c:pt>
                <c:pt idx="452">
                  <c:v>3622596.0992038636</c:v>
                </c:pt>
                <c:pt idx="453">
                  <c:v>3689292.3271366674</c:v>
                </c:pt>
                <c:pt idx="454">
                  <c:v>3635444.1138908109</c:v>
                </c:pt>
                <c:pt idx="455">
                  <c:v>3595092.1144610494</c:v>
                </c:pt>
                <c:pt idx="456">
                  <c:v>3656060.5658649611</c:v>
                </c:pt>
                <c:pt idx="457">
                  <c:v>3693438.5213370067</c:v>
                </c:pt>
                <c:pt idx="458">
                  <c:v>3648973.3328490551</c:v>
                </c:pt>
                <c:pt idx="459">
                  <c:v>3653622.5612404635</c:v>
                </c:pt>
                <c:pt idx="460">
                  <c:v>3665961.4106624578</c:v>
                </c:pt>
                <c:pt idx="461">
                  <c:v>3659491.0607427857</c:v>
                </c:pt>
                <c:pt idx="462">
                  <c:v>3340668.1526251789</c:v>
                </c:pt>
                <c:pt idx="463">
                  <c:v>3351765.2636037883</c:v>
                </c:pt>
                <c:pt idx="464">
                  <c:v>3650121.4869452044</c:v>
                </c:pt>
                <c:pt idx="465">
                  <c:v>3684695.3083238164</c:v>
                </c:pt>
                <c:pt idx="466">
                  <c:v>3688119.1175969434</c:v>
                </c:pt>
                <c:pt idx="467">
                  <c:v>3936751.7128517688</c:v>
                </c:pt>
                <c:pt idx="468">
                  <c:v>5206522.2524066102</c:v>
                </c:pt>
                <c:pt idx="469">
                  <c:v>3838149.8800654882</c:v>
                </c:pt>
                <c:pt idx="470">
                  <c:v>3688691.9102313463</c:v>
                </c:pt>
                <c:pt idx="471">
                  <c:v>3654363.8626488564</c:v>
                </c:pt>
                <c:pt idx="472">
                  <c:v>3695193.5581568168</c:v>
                </c:pt>
                <c:pt idx="473">
                  <c:v>3690825.6777496589</c:v>
                </c:pt>
                <c:pt idx="474">
                  <c:v>3696027.4593807873</c:v>
                </c:pt>
                <c:pt idx="475">
                  <c:v>3702756.4350137832</c:v>
                </c:pt>
                <c:pt idx="476">
                  <c:v>3709784.9294887148</c:v>
                </c:pt>
                <c:pt idx="477">
                  <c:v>3682050.4938918343</c:v>
                </c:pt>
                <c:pt idx="478">
                  <c:v>3625813.4604493221</c:v>
                </c:pt>
                <c:pt idx="479">
                  <c:v>3680293.0521925976</c:v>
                </c:pt>
                <c:pt idx="480">
                  <c:v>3664707.4721694877</c:v>
                </c:pt>
                <c:pt idx="481">
                  <c:v>3684179.8035747712</c:v>
                </c:pt>
                <c:pt idx="482">
                  <c:v>3724492.4000904351</c:v>
                </c:pt>
                <c:pt idx="483">
                  <c:v>3743280.6519854683</c:v>
                </c:pt>
                <c:pt idx="484">
                  <c:v>3725447.0558664831</c:v>
                </c:pt>
                <c:pt idx="485">
                  <c:v>3689889.5792254671</c:v>
                </c:pt>
                <c:pt idx="486">
                  <c:v>3652206.7336364719</c:v>
                </c:pt>
                <c:pt idx="487">
                  <c:v>2086425.0997618143</c:v>
                </c:pt>
                <c:pt idx="488">
                  <c:v>3661950.8262995216</c:v>
                </c:pt>
                <c:pt idx="489">
                  <c:v>3692083.5533377118</c:v>
                </c:pt>
                <c:pt idx="490">
                  <c:v>3706940.3892593007</c:v>
                </c:pt>
                <c:pt idx="491">
                  <c:v>3729447.8960556188</c:v>
                </c:pt>
                <c:pt idx="492">
                  <c:v>3876630.669076493</c:v>
                </c:pt>
                <c:pt idx="493">
                  <c:v>4142158.1892598378</c:v>
                </c:pt>
                <c:pt idx="494">
                  <c:v>4094978.4704505433</c:v>
                </c:pt>
                <c:pt idx="495">
                  <c:v>0</c:v>
                </c:pt>
                <c:pt idx="496">
                  <c:v>0</c:v>
                </c:pt>
                <c:pt idx="497">
                  <c:v>0</c:v>
                </c:pt>
                <c:pt idx="498">
                  <c:v>0</c:v>
                </c:pt>
                <c:pt idx="499">
                  <c:v>3700446.1131983148</c:v>
                </c:pt>
                <c:pt idx="500">
                  <c:v>3659486.1478092554</c:v>
                </c:pt>
                <c:pt idx="501">
                  <c:v>3693223.3216828094</c:v>
                </c:pt>
                <c:pt idx="502">
                  <c:v>3688508.6664255382</c:v>
                </c:pt>
                <c:pt idx="503">
                  <c:v>3673614.0625678105</c:v>
                </c:pt>
                <c:pt idx="504">
                  <c:v>3693636.7564973184</c:v>
                </c:pt>
                <c:pt idx="505">
                  <c:v>3676266.1782992417</c:v>
                </c:pt>
                <c:pt idx="506">
                  <c:v>4248876.683102645</c:v>
                </c:pt>
                <c:pt idx="507">
                  <c:v>3724718.8120445791</c:v>
                </c:pt>
                <c:pt idx="508">
                  <c:v>3720443.4550039372</c:v>
                </c:pt>
                <c:pt idx="509">
                  <c:v>-4961637.790944987</c:v>
                </c:pt>
                <c:pt idx="510">
                  <c:v>3677493.0328095243</c:v>
                </c:pt>
                <c:pt idx="511">
                  <c:v>3661165.8507190696</c:v>
                </c:pt>
                <c:pt idx="512">
                  <c:v>3640230.1834119768</c:v>
                </c:pt>
                <c:pt idx="513">
                  <c:v>3645430.7235766049</c:v>
                </c:pt>
                <c:pt idx="514">
                  <c:v>3669629.3192763887</c:v>
                </c:pt>
                <c:pt idx="515">
                  <c:v>3677231.1307232277</c:v>
                </c:pt>
                <c:pt idx="516">
                  <c:v>3658200.6343605001</c:v>
                </c:pt>
                <c:pt idx="517">
                  <c:v>3689915.3580221967</c:v>
                </c:pt>
                <c:pt idx="518">
                  <c:v>3736401.19560656</c:v>
                </c:pt>
                <c:pt idx="519">
                  <c:v>3642466.6123736924</c:v>
                </c:pt>
                <c:pt idx="520">
                  <c:v>3646782.2345295683</c:v>
                </c:pt>
                <c:pt idx="521">
                  <c:v>3635233.005845421</c:v>
                </c:pt>
                <c:pt idx="522">
                  <c:v>3654666.2712653521</c:v>
                </c:pt>
                <c:pt idx="523">
                  <c:v>3689290.1546467943</c:v>
                </c:pt>
                <c:pt idx="524">
                  <c:v>3601599.5011667097</c:v>
                </c:pt>
                <c:pt idx="525">
                  <c:v>3659628.1067988081</c:v>
                </c:pt>
                <c:pt idx="526">
                  <c:v>3710842.6475754869</c:v>
                </c:pt>
                <c:pt idx="527">
                  <c:v>3732218.1433916474</c:v>
                </c:pt>
                <c:pt idx="528">
                  <c:v>3614365.5836847471</c:v>
                </c:pt>
                <c:pt idx="529">
                  <c:v>3718992.2243309049</c:v>
                </c:pt>
                <c:pt idx="530">
                  <c:v>3707930.734290007</c:v>
                </c:pt>
                <c:pt idx="531">
                  <c:v>3739210.6293844287</c:v>
                </c:pt>
                <c:pt idx="532">
                  <c:v>3702036.8766566366</c:v>
                </c:pt>
                <c:pt idx="533">
                  <c:v>3714869.8359335195</c:v>
                </c:pt>
                <c:pt idx="534">
                  <c:v>3646806.366507228</c:v>
                </c:pt>
                <c:pt idx="535">
                  <c:v>3622200.8655438367</c:v>
                </c:pt>
                <c:pt idx="536">
                  <c:v>3625631.6779499887</c:v>
                </c:pt>
                <c:pt idx="537">
                  <c:v>3680019.2169000292</c:v>
                </c:pt>
                <c:pt idx="538">
                  <c:v>3641643.7774745701</c:v>
                </c:pt>
                <c:pt idx="539">
                  <c:v>3683623.2987995949</c:v>
                </c:pt>
                <c:pt idx="540">
                  <c:v>3736576.0005041347</c:v>
                </c:pt>
                <c:pt idx="541">
                  <c:v>3842612.0710050701</c:v>
                </c:pt>
                <c:pt idx="542">
                  <c:v>3818667.005405759</c:v>
                </c:pt>
                <c:pt idx="543">
                  <c:v>3768280.862548708</c:v>
                </c:pt>
                <c:pt idx="544">
                  <c:v>-6172531.9290571921</c:v>
                </c:pt>
                <c:pt idx="545">
                  <c:v>3682456.6080840947</c:v>
                </c:pt>
                <c:pt idx="546">
                  <c:v>2068810.3438764871</c:v>
                </c:pt>
                <c:pt idx="547">
                  <c:v>3682135.678760855</c:v>
                </c:pt>
                <c:pt idx="548">
                  <c:v>3615805.2647941024</c:v>
                </c:pt>
                <c:pt idx="549">
                  <c:v>3735542.7410755977</c:v>
                </c:pt>
                <c:pt idx="550">
                  <c:v>3628963.9510026276</c:v>
                </c:pt>
                <c:pt idx="551">
                  <c:v>3598523.3958037649</c:v>
                </c:pt>
                <c:pt idx="552">
                  <c:v>3607465.8250857661</c:v>
                </c:pt>
                <c:pt idx="553">
                  <c:v>3622834.6219607731</c:v>
                </c:pt>
                <c:pt idx="554">
                  <c:v>3603109.3081439296</c:v>
                </c:pt>
                <c:pt idx="555">
                  <c:v>3638576.8946834411</c:v>
                </c:pt>
                <c:pt idx="556">
                  <c:v>3623633.0275033456</c:v>
                </c:pt>
                <c:pt idx="557">
                  <c:v>3630076.4723848258</c:v>
                </c:pt>
                <c:pt idx="558">
                  <c:v>3628249.9477520497</c:v>
                </c:pt>
                <c:pt idx="559">
                  <c:v>3602264.5621348815</c:v>
                </c:pt>
                <c:pt idx="560">
                  <c:v>3595817.2565001459</c:v>
                </c:pt>
                <c:pt idx="561">
                  <c:v>3565169.8270278405</c:v>
                </c:pt>
                <c:pt idx="562">
                  <c:v>3674946.1132218922</c:v>
                </c:pt>
                <c:pt idx="563">
                  <c:v>3640334.1801313674</c:v>
                </c:pt>
                <c:pt idx="564">
                  <c:v>3691345.4998305012</c:v>
                </c:pt>
                <c:pt idx="565">
                  <c:v>3718926.8995448644</c:v>
                </c:pt>
                <c:pt idx="566">
                  <c:v>3685163.6941819089</c:v>
                </c:pt>
                <c:pt idx="567">
                  <c:v>3679480.364919581</c:v>
                </c:pt>
                <c:pt idx="568">
                  <c:v>3772873.277752927</c:v>
                </c:pt>
                <c:pt idx="569">
                  <c:v>3718305.2088421006</c:v>
                </c:pt>
                <c:pt idx="570">
                  <c:v>3818916.9796670824</c:v>
                </c:pt>
                <c:pt idx="571">
                  <c:v>3715527.5684714569</c:v>
                </c:pt>
                <c:pt idx="572">
                  <c:v>3681120.9373589191</c:v>
                </c:pt>
                <c:pt idx="573">
                  <c:v>3705188.1047710995</c:v>
                </c:pt>
                <c:pt idx="574">
                  <c:v>3684104.5379978349</c:v>
                </c:pt>
                <c:pt idx="575">
                  <c:v>3659187.7156986175</c:v>
                </c:pt>
                <c:pt idx="576">
                  <c:v>3666075.3329896503</c:v>
                </c:pt>
                <c:pt idx="577">
                  <c:v>3634208.7142972858</c:v>
                </c:pt>
                <c:pt idx="578">
                  <c:v>3663605.4850922115</c:v>
                </c:pt>
                <c:pt idx="579">
                  <c:v>3698807.7023041458</c:v>
                </c:pt>
                <c:pt idx="580">
                  <c:v>3756926.6221079677</c:v>
                </c:pt>
                <c:pt idx="581">
                  <c:v>3760015.1702037146</c:v>
                </c:pt>
                <c:pt idx="582">
                  <c:v>3647591.7315788744</c:v>
                </c:pt>
                <c:pt idx="583">
                  <c:v>3654839.5759690362</c:v>
                </c:pt>
                <c:pt idx="584">
                  <c:v>3694076.4052876998</c:v>
                </c:pt>
                <c:pt idx="585">
                  <c:v>3666314.4351101462</c:v>
                </c:pt>
                <c:pt idx="586">
                  <c:v>3713612.8328369739</c:v>
                </c:pt>
                <c:pt idx="587">
                  <c:v>3688328.3994842255</c:v>
                </c:pt>
                <c:pt idx="588">
                  <c:v>3652196.3725284571</c:v>
                </c:pt>
                <c:pt idx="589">
                  <c:v>3654186.8910241141</c:v>
                </c:pt>
                <c:pt idx="590">
                  <c:v>3717581.771662679</c:v>
                </c:pt>
                <c:pt idx="591">
                  <c:v>3661284.0319679971</c:v>
                </c:pt>
                <c:pt idx="592">
                  <c:v>3647655.1932711639</c:v>
                </c:pt>
                <c:pt idx="593">
                  <c:v>3623003.1940825302</c:v>
                </c:pt>
                <c:pt idx="594">
                  <c:v>3595391.6272807722</c:v>
                </c:pt>
                <c:pt idx="595">
                  <c:v>3607818.9212504458</c:v>
                </c:pt>
                <c:pt idx="596">
                  <c:v>3627167.9326615119</c:v>
                </c:pt>
                <c:pt idx="597">
                  <c:v>3606749.6035337015</c:v>
                </c:pt>
                <c:pt idx="598">
                  <c:v>3617731.169807863</c:v>
                </c:pt>
                <c:pt idx="599">
                  <c:v>3662150.9647308351</c:v>
                </c:pt>
                <c:pt idx="600">
                  <c:v>3724199.0175945899</c:v>
                </c:pt>
                <c:pt idx="601">
                  <c:v>3769206.579839664</c:v>
                </c:pt>
                <c:pt idx="602">
                  <c:v>3699495.382167378</c:v>
                </c:pt>
                <c:pt idx="603">
                  <c:v>3694377.8550601457</c:v>
                </c:pt>
                <c:pt idx="604">
                  <c:v>3652947.7834223378</c:v>
                </c:pt>
                <c:pt idx="605">
                  <c:v>3600511.6849533557</c:v>
                </c:pt>
                <c:pt idx="606">
                  <c:v>3610141.2577171139</c:v>
                </c:pt>
                <c:pt idx="607">
                  <c:v>3842614.9000693331</c:v>
                </c:pt>
                <c:pt idx="608">
                  <c:v>3648582.4017058173</c:v>
                </c:pt>
                <c:pt idx="609">
                  <c:v>3653652.9589765929</c:v>
                </c:pt>
                <c:pt idx="610">
                  <c:v>3709635.4827888245</c:v>
                </c:pt>
                <c:pt idx="611">
                  <c:v>3724221.2568875318</c:v>
                </c:pt>
                <c:pt idx="612">
                  <c:v>3737809.419317327</c:v>
                </c:pt>
                <c:pt idx="613">
                  <c:v>3628466.8587987898</c:v>
                </c:pt>
                <c:pt idx="614">
                  <c:v>3648019.7705774591</c:v>
                </c:pt>
                <c:pt idx="615">
                  <c:v>3676798.1416418827</c:v>
                </c:pt>
                <c:pt idx="616">
                  <c:v>3727785.8184262607</c:v>
                </c:pt>
                <c:pt idx="617">
                  <c:v>3686462.7674146136</c:v>
                </c:pt>
                <c:pt idx="618">
                  <c:v>3632717.5918277921</c:v>
                </c:pt>
                <c:pt idx="619">
                  <c:v>3613530.0332793933</c:v>
                </c:pt>
                <c:pt idx="620">
                  <c:v>3605241.9976825765</c:v>
                </c:pt>
                <c:pt idx="621">
                  <c:v>3679816.4234414413</c:v>
                </c:pt>
                <c:pt idx="622">
                  <c:v>3678191.7787003927</c:v>
                </c:pt>
                <c:pt idx="623">
                  <c:v>3777853.2117816317</c:v>
                </c:pt>
                <c:pt idx="624">
                  <c:v>3785651.9911466017</c:v>
                </c:pt>
                <c:pt idx="625">
                  <c:v>3874295.6208527749</c:v>
                </c:pt>
                <c:pt idx="626">
                  <c:v>3906666.3843235914</c:v>
                </c:pt>
                <c:pt idx="627">
                  <c:v>3976349.876177351</c:v>
                </c:pt>
                <c:pt idx="628">
                  <c:v>4024383.7344670901</c:v>
                </c:pt>
                <c:pt idx="629">
                  <c:v>3803675.1744933478</c:v>
                </c:pt>
                <c:pt idx="630">
                  <c:v>3736114.8868515054</c:v>
                </c:pt>
                <c:pt idx="631">
                  <c:v>3685787.562964458</c:v>
                </c:pt>
                <c:pt idx="632">
                  <c:v>3630217.5566190253</c:v>
                </c:pt>
                <c:pt idx="633">
                  <c:v>3629790.8241286529</c:v>
                </c:pt>
                <c:pt idx="634">
                  <c:v>3583231.500593516</c:v>
                </c:pt>
                <c:pt idx="635">
                  <c:v>3602817.3708087532</c:v>
                </c:pt>
                <c:pt idx="636">
                  <c:v>3625896.2085811161</c:v>
                </c:pt>
                <c:pt idx="637">
                  <c:v>3628924.5405856776</c:v>
                </c:pt>
                <c:pt idx="638">
                  <c:v>3713394.2608207925</c:v>
                </c:pt>
                <c:pt idx="639">
                  <c:v>3923334.1805568156</c:v>
                </c:pt>
                <c:pt idx="640">
                  <c:v>4062606.076578171</c:v>
                </c:pt>
                <c:pt idx="641">
                  <c:v>4851752.1996231508</c:v>
                </c:pt>
                <c:pt idx="642">
                  <c:v>0</c:v>
                </c:pt>
                <c:pt idx="643">
                  <c:v>4071427.0864306646</c:v>
                </c:pt>
                <c:pt idx="644">
                  <c:v>3876786.392423457</c:v>
                </c:pt>
                <c:pt idx="645">
                  <c:v>3771290.0006539086</c:v>
                </c:pt>
                <c:pt idx="646">
                  <c:v>3824610.0311394553</c:v>
                </c:pt>
                <c:pt idx="647">
                  <c:v>3871823.8931887681</c:v>
                </c:pt>
                <c:pt idx="648">
                  <c:v>3836075.4335187371</c:v>
                </c:pt>
                <c:pt idx="649">
                  <c:v>3741321.6431415505</c:v>
                </c:pt>
                <c:pt idx="650">
                  <c:v>3709316.4682983859</c:v>
                </c:pt>
                <c:pt idx="651">
                  <c:v>1470218.1531592936</c:v>
                </c:pt>
                <c:pt idx="652">
                  <c:v>3678681.5681159468</c:v>
                </c:pt>
                <c:pt idx="653">
                  <c:v>3640983.136561058</c:v>
                </c:pt>
                <c:pt idx="654">
                  <c:v>3661759.7338164118</c:v>
                </c:pt>
                <c:pt idx="655">
                  <c:v>3953289.3594493363</c:v>
                </c:pt>
                <c:pt idx="656">
                  <c:v>3691055.6229645787</c:v>
                </c:pt>
                <c:pt idx="657">
                  <c:v>3700254.249769649</c:v>
                </c:pt>
                <c:pt idx="658">
                  <c:v>3678674.3233136386</c:v>
                </c:pt>
                <c:pt idx="659">
                  <c:v>3794847.6502025537</c:v>
                </c:pt>
                <c:pt idx="660">
                  <c:v>3635534.8913542372</c:v>
                </c:pt>
                <c:pt idx="661">
                  <c:v>3669356.5812452594</c:v>
                </c:pt>
                <c:pt idx="662">
                  <c:v>3609945.2533591921</c:v>
                </c:pt>
                <c:pt idx="663">
                  <c:v>3618292.5435141306</c:v>
                </c:pt>
                <c:pt idx="664">
                  <c:v>3591704.6661603721</c:v>
                </c:pt>
                <c:pt idx="665">
                  <c:v>3614727.9336109734</c:v>
                </c:pt>
                <c:pt idx="666">
                  <c:v>3684860.1525410851</c:v>
                </c:pt>
                <c:pt idx="667">
                  <c:v>3666434.6279493328</c:v>
                </c:pt>
                <c:pt idx="668">
                  <c:v>3671720.7251799842</c:v>
                </c:pt>
                <c:pt idx="669">
                  <c:v>3874005.3523075967</c:v>
                </c:pt>
                <c:pt idx="670">
                  <c:v>3623264.5314965495</c:v>
                </c:pt>
                <c:pt idx="671">
                  <c:v>3646508.7111337106</c:v>
                </c:pt>
                <c:pt idx="672">
                  <c:v>3637917.4136453513</c:v>
                </c:pt>
                <c:pt idx="673">
                  <c:v>3621040.4902793751</c:v>
                </c:pt>
                <c:pt idx="674">
                  <c:v>3646437.9814882553</c:v>
                </c:pt>
                <c:pt idx="675">
                  <c:v>3605093.0172629058</c:v>
                </c:pt>
                <c:pt idx="676">
                  <c:v>3637495.0748960306</c:v>
                </c:pt>
                <c:pt idx="677">
                  <c:v>3687030.6232301327</c:v>
                </c:pt>
                <c:pt idx="678">
                  <c:v>3633236.0740191704</c:v>
                </c:pt>
                <c:pt idx="679">
                  <c:v>3718546.7436960489</c:v>
                </c:pt>
                <c:pt idx="680">
                  <c:v>3675044.5498466669</c:v>
                </c:pt>
                <c:pt idx="681">
                  <c:v>3765417.2600946939</c:v>
                </c:pt>
                <c:pt idx="682">
                  <c:v>3732188.7205449794</c:v>
                </c:pt>
                <c:pt idx="683">
                  <c:v>3594329.9688735586</c:v>
                </c:pt>
                <c:pt idx="684">
                  <c:v>3689943.4454148542</c:v>
                </c:pt>
                <c:pt idx="685">
                  <c:v>3575315.5550178336</c:v>
                </c:pt>
                <c:pt idx="686">
                  <c:v>3607417.5282478337</c:v>
                </c:pt>
                <c:pt idx="687">
                  <c:v>3610903.1030927766</c:v>
                </c:pt>
                <c:pt idx="688">
                  <c:v>3591622.6869104193</c:v>
                </c:pt>
                <c:pt idx="689">
                  <c:v>3616109.761091698</c:v>
                </c:pt>
                <c:pt idx="690">
                  <c:v>3622118.7415608126</c:v>
                </c:pt>
                <c:pt idx="691">
                  <c:v>3643964.6980587007</c:v>
                </c:pt>
                <c:pt idx="692">
                  <c:v>3662259.9941988075</c:v>
                </c:pt>
                <c:pt idx="693">
                  <c:v>3631989.8856723844</c:v>
                </c:pt>
                <c:pt idx="694">
                  <c:v>3630564.6670911233</c:v>
                </c:pt>
                <c:pt idx="695">
                  <c:v>3614056.1045126542</c:v>
                </c:pt>
                <c:pt idx="696">
                  <c:v>3637397.9856939325</c:v>
                </c:pt>
                <c:pt idx="697">
                  <c:v>3645852.0043525388</c:v>
                </c:pt>
                <c:pt idx="698">
                  <c:v>3609581.4436051901</c:v>
                </c:pt>
                <c:pt idx="699">
                  <c:v>3612956.8749102145</c:v>
                </c:pt>
                <c:pt idx="700">
                  <c:v>3622245.8526733569</c:v>
                </c:pt>
                <c:pt idx="701">
                  <c:v>3731188.0381086352</c:v>
                </c:pt>
                <c:pt idx="702">
                  <c:v>3677210.3762309728</c:v>
                </c:pt>
                <c:pt idx="703">
                  <c:v>3615938.8661044752</c:v>
                </c:pt>
                <c:pt idx="704">
                  <c:v>3611108.3742654352</c:v>
                </c:pt>
                <c:pt idx="705">
                  <c:v>3628113.0971612842</c:v>
                </c:pt>
                <c:pt idx="706">
                  <c:v>3650147.2449585726</c:v>
                </c:pt>
                <c:pt idx="707">
                  <c:v>3623959.5020079562</c:v>
                </c:pt>
                <c:pt idx="708">
                  <c:v>3766578.8159533581</c:v>
                </c:pt>
                <c:pt idx="709">
                  <c:v>3676914.0745962816</c:v>
                </c:pt>
                <c:pt idx="710">
                  <c:v>3647268.6723015639</c:v>
                </c:pt>
                <c:pt idx="711">
                  <c:v>3622566.7439112361</c:v>
                </c:pt>
                <c:pt idx="712">
                  <c:v>3743764.6015594895</c:v>
                </c:pt>
                <c:pt idx="713">
                  <c:v>3713792.5051042642</c:v>
                </c:pt>
                <c:pt idx="714">
                  <c:v>3634158.6610432109</c:v>
                </c:pt>
                <c:pt idx="715">
                  <c:v>3693859.1901509948</c:v>
                </c:pt>
                <c:pt idx="716">
                  <c:v>3673204.3302552598</c:v>
                </c:pt>
                <c:pt idx="717">
                  <c:v>3677065.8598120636</c:v>
                </c:pt>
                <c:pt idx="718">
                  <c:v>3610912.2629001266</c:v>
                </c:pt>
                <c:pt idx="719">
                  <c:v>3646408.3931604768</c:v>
                </c:pt>
                <c:pt idx="720">
                  <c:v>3643301.4255538895</c:v>
                </c:pt>
                <c:pt idx="721">
                  <c:v>3684721.3365953295</c:v>
                </c:pt>
                <c:pt idx="722">
                  <c:v>3719118.8107427726</c:v>
                </c:pt>
                <c:pt idx="723">
                  <c:v>3724140.7313695466</c:v>
                </c:pt>
                <c:pt idx="724">
                  <c:v>3851268.5061163264</c:v>
                </c:pt>
                <c:pt idx="725">
                  <c:v>5757126.3302742653</c:v>
                </c:pt>
                <c:pt idx="726">
                  <c:v>4140371.3673973745</c:v>
                </c:pt>
                <c:pt idx="727">
                  <c:v>3729637.8561532297</c:v>
                </c:pt>
                <c:pt idx="728">
                  <c:v>3645381.5424524397</c:v>
                </c:pt>
                <c:pt idx="729">
                  <c:v>3637175.4154399568</c:v>
                </c:pt>
                <c:pt idx="730">
                  <c:v>3637535.3308072137</c:v>
                </c:pt>
                <c:pt idx="731">
                  <c:v>3654140.6558778724</c:v>
                </c:pt>
                <c:pt idx="732">
                  <c:v>3676576.6774422331</c:v>
                </c:pt>
                <c:pt idx="733">
                  <c:v>3639708.5271471082</c:v>
                </c:pt>
                <c:pt idx="734">
                  <c:v>3639346.7928042742</c:v>
                </c:pt>
                <c:pt idx="735">
                  <c:v>3640668.1548764776</c:v>
                </c:pt>
                <c:pt idx="736">
                  <c:v>3653500.7936642081</c:v>
                </c:pt>
                <c:pt idx="737">
                  <c:v>3645657.8718412863</c:v>
                </c:pt>
                <c:pt idx="738">
                  <c:v>3670338.0020210063</c:v>
                </c:pt>
                <c:pt idx="739">
                  <c:v>3685247.710985716</c:v>
                </c:pt>
                <c:pt idx="740">
                  <c:v>3642510.5249135443</c:v>
                </c:pt>
                <c:pt idx="741">
                  <c:v>3634778.9147374076</c:v>
                </c:pt>
                <c:pt idx="742">
                  <c:v>3637627.8635277282</c:v>
                </c:pt>
                <c:pt idx="743">
                  <c:v>3612384.0950483098</c:v>
                </c:pt>
                <c:pt idx="744">
                  <c:v>3606394.5492920447</c:v>
                </c:pt>
                <c:pt idx="745">
                  <c:v>3600251.708377209</c:v>
                </c:pt>
                <c:pt idx="746">
                  <c:v>3621345.2117182659</c:v>
                </c:pt>
                <c:pt idx="747">
                  <c:v>3641599.8059822326</c:v>
                </c:pt>
                <c:pt idx="748">
                  <c:v>3643048.7616350176</c:v>
                </c:pt>
                <c:pt idx="749">
                  <c:v>3624139.0335773807</c:v>
                </c:pt>
                <c:pt idx="750">
                  <c:v>3622621.8200669619</c:v>
                </c:pt>
                <c:pt idx="751">
                  <c:v>3638377.0452356962</c:v>
                </c:pt>
                <c:pt idx="752">
                  <c:v>3514882.5523535102</c:v>
                </c:pt>
                <c:pt idx="753">
                  <c:v>3624861.0238068942</c:v>
                </c:pt>
                <c:pt idx="754">
                  <c:v>3604764.249867938</c:v>
                </c:pt>
                <c:pt idx="755">
                  <c:v>3616127.9868312413</c:v>
                </c:pt>
                <c:pt idx="756">
                  <c:v>3654007.7446591477</c:v>
                </c:pt>
                <c:pt idx="757">
                  <c:v>3620495.326402083</c:v>
                </c:pt>
                <c:pt idx="758">
                  <c:v>3653980.5894235275</c:v>
                </c:pt>
                <c:pt idx="759">
                  <c:v>3655208.0092684473</c:v>
                </c:pt>
                <c:pt idx="760">
                  <c:v>3640291.5817767065</c:v>
                </c:pt>
                <c:pt idx="761">
                  <c:v>3666709.3822438889</c:v>
                </c:pt>
                <c:pt idx="762">
                  <c:v>3669300.1525760219</c:v>
                </c:pt>
                <c:pt idx="763">
                  <c:v>3633868.1435675644</c:v>
                </c:pt>
                <c:pt idx="764">
                  <c:v>3648737.2984718266</c:v>
                </c:pt>
                <c:pt idx="765">
                  <c:v>3692931.1168041239</c:v>
                </c:pt>
                <c:pt idx="766">
                  <c:v>3637072.3613587329</c:v>
                </c:pt>
                <c:pt idx="767">
                  <c:v>3699445.1200464373</c:v>
                </c:pt>
                <c:pt idx="768">
                  <c:v>3644047.4442910976</c:v>
                </c:pt>
                <c:pt idx="769">
                  <c:v>3719265.4995304029</c:v>
                </c:pt>
                <c:pt idx="770">
                  <c:v>3718846.6758432044</c:v>
                </c:pt>
                <c:pt idx="771">
                  <c:v>3662250.0065988312</c:v>
                </c:pt>
                <c:pt idx="772">
                  <c:v>3658113.4150723917</c:v>
                </c:pt>
                <c:pt idx="773">
                  <c:v>3630127.8066167245</c:v>
                </c:pt>
                <c:pt idx="774">
                  <c:v>3657077.9430307932</c:v>
                </c:pt>
                <c:pt idx="775">
                  <c:v>3642665.8351536263</c:v>
                </c:pt>
                <c:pt idx="776">
                  <c:v>3635490.3696315694</c:v>
                </c:pt>
                <c:pt idx="777">
                  <c:v>3660564.9222102794</c:v>
                </c:pt>
                <c:pt idx="778">
                  <c:v>3667056.522581826</c:v>
                </c:pt>
                <c:pt idx="779">
                  <c:v>3654642.6888724114</c:v>
                </c:pt>
                <c:pt idx="780">
                  <c:v>3642625.6757026897</c:v>
                </c:pt>
                <c:pt idx="781">
                  <c:v>3664754.3928707056</c:v>
                </c:pt>
                <c:pt idx="782">
                  <c:v>3662703.5419851067</c:v>
                </c:pt>
                <c:pt idx="783">
                  <c:v>3658502.60928895</c:v>
                </c:pt>
                <c:pt idx="784">
                  <c:v>3687500.085457772</c:v>
                </c:pt>
                <c:pt idx="785">
                  <c:v>3667781.8459592224</c:v>
                </c:pt>
                <c:pt idx="786">
                  <c:v>3668153.8827422475</c:v>
                </c:pt>
                <c:pt idx="787">
                  <c:v>3677204.7752403133</c:v>
                </c:pt>
                <c:pt idx="788">
                  <c:v>3790090.6304478385</c:v>
                </c:pt>
                <c:pt idx="789">
                  <c:v>4206411.4369665263</c:v>
                </c:pt>
                <c:pt idx="790">
                  <c:v>3705159.1731871874</c:v>
                </c:pt>
                <c:pt idx="791">
                  <c:v>3651748.3671598528</c:v>
                </c:pt>
                <c:pt idx="792">
                  <c:v>3668815.0870468169</c:v>
                </c:pt>
                <c:pt idx="793">
                  <c:v>3681756.2025096719</c:v>
                </c:pt>
                <c:pt idx="794">
                  <c:v>3657462.320398889</c:v>
                </c:pt>
                <c:pt idx="795">
                  <c:v>3661321.8249154775</c:v>
                </c:pt>
                <c:pt idx="796">
                  <c:v>3680461.3912110785</c:v>
                </c:pt>
                <c:pt idx="797">
                  <c:v>3668338.1226931964</c:v>
                </c:pt>
                <c:pt idx="798">
                  <c:v>3670618.7449826323</c:v>
                </c:pt>
                <c:pt idx="799">
                  <c:v>3683671.4801278296</c:v>
                </c:pt>
                <c:pt idx="800">
                  <c:v>3683149.4878078252</c:v>
                </c:pt>
                <c:pt idx="801">
                  <c:v>3659433.7610721444</c:v>
                </c:pt>
                <c:pt idx="802">
                  <c:v>3690221.4029123602</c:v>
                </c:pt>
                <c:pt idx="803">
                  <c:v>3678327.6070757867</c:v>
                </c:pt>
                <c:pt idx="804">
                  <c:v>3668104.8581583444</c:v>
                </c:pt>
                <c:pt idx="805">
                  <c:v>3713421.2403006577</c:v>
                </c:pt>
                <c:pt idx="806">
                  <c:v>3712954.7261228608</c:v>
                </c:pt>
                <c:pt idx="807">
                  <c:v>3689203.2362948707</c:v>
                </c:pt>
                <c:pt idx="808">
                  <c:v>3693494.2952502621</c:v>
                </c:pt>
                <c:pt idx="809">
                  <c:v>3701088.7758852206</c:v>
                </c:pt>
                <c:pt idx="810">
                  <c:v>3715479.8248049361</c:v>
                </c:pt>
                <c:pt idx="811">
                  <c:v>3711175.8203770421</c:v>
                </c:pt>
                <c:pt idx="812">
                  <c:v>3727528.6512058983</c:v>
                </c:pt>
                <c:pt idx="813">
                  <c:v>3737176.3980018725</c:v>
                </c:pt>
                <c:pt idx="814">
                  <c:v>3707229.2633800688</c:v>
                </c:pt>
                <c:pt idx="815">
                  <c:v>3725590.4953520377</c:v>
                </c:pt>
                <c:pt idx="816">
                  <c:v>3697863.5605390156</c:v>
                </c:pt>
                <c:pt idx="817">
                  <c:v>3671762.6952151819</c:v>
                </c:pt>
                <c:pt idx="818">
                  <c:v>3688883.6043852516</c:v>
                </c:pt>
                <c:pt idx="819">
                  <c:v>3713226.2927391105</c:v>
                </c:pt>
                <c:pt idx="820">
                  <c:v>3675119.5370815587</c:v>
                </c:pt>
                <c:pt idx="821">
                  <c:v>3787983.9533278383</c:v>
                </c:pt>
                <c:pt idx="822">
                  <c:v>3776731.8620300521</c:v>
                </c:pt>
                <c:pt idx="823">
                  <c:v>3776849.4910402186</c:v>
                </c:pt>
                <c:pt idx="824">
                  <c:v>3732671.6961311791</c:v>
                </c:pt>
                <c:pt idx="825">
                  <c:v>3796395.2574250381</c:v>
                </c:pt>
                <c:pt idx="826">
                  <c:v>3785178.7838524268</c:v>
                </c:pt>
                <c:pt idx="827">
                  <c:v>3800066.1391615206</c:v>
                </c:pt>
                <c:pt idx="828">
                  <c:v>3825929.7417898746</c:v>
                </c:pt>
                <c:pt idx="829">
                  <c:v>3791645.5781815113</c:v>
                </c:pt>
                <c:pt idx="830">
                  <c:v>3810789.3419257067</c:v>
                </c:pt>
                <c:pt idx="831">
                  <c:v>3818025.8651256962</c:v>
                </c:pt>
                <c:pt idx="832">
                  <c:v>3806014.3712212378</c:v>
                </c:pt>
                <c:pt idx="833">
                  <c:v>3797887.6275236844</c:v>
                </c:pt>
                <c:pt idx="834">
                  <c:v>3768023.1501992941</c:v>
                </c:pt>
                <c:pt idx="835">
                  <c:v>3672682.5632161782</c:v>
                </c:pt>
                <c:pt idx="836">
                  <c:v>3687670.5017248769</c:v>
                </c:pt>
                <c:pt idx="837">
                  <c:v>3692154.1688780133</c:v>
                </c:pt>
                <c:pt idx="838">
                  <c:v>3683075.902854952</c:v>
                </c:pt>
                <c:pt idx="839">
                  <c:v>3675111.4697114262</c:v>
                </c:pt>
                <c:pt idx="840">
                  <c:v>3708927.2922060848</c:v>
                </c:pt>
                <c:pt idx="841">
                  <c:v>3727390.4936235351</c:v>
                </c:pt>
                <c:pt idx="842">
                  <c:v>3694601.0100125787</c:v>
                </c:pt>
                <c:pt idx="843">
                  <c:v>3711555.4734243462</c:v>
                </c:pt>
                <c:pt idx="844">
                  <c:v>3707543.5146371271</c:v>
                </c:pt>
                <c:pt idx="845">
                  <c:v>3704629.2014139919</c:v>
                </c:pt>
                <c:pt idx="846">
                  <c:v>3754722.4185187914</c:v>
                </c:pt>
                <c:pt idx="847">
                  <c:v>3707896.4616734716</c:v>
                </c:pt>
                <c:pt idx="848">
                  <c:v>3679144.2911062962</c:v>
                </c:pt>
                <c:pt idx="849">
                  <c:v>3732307.7755670622</c:v>
                </c:pt>
                <c:pt idx="850">
                  <c:v>3698452.2352426848</c:v>
                </c:pt>
                <c:pt idx="851">
                  <c:v>3681377.6547717107</c:v>
                </c:pt>
                <c:pt idx="852">
                  <c:v>3769600.5865163868</c:v>
                </c:pt>
                <c:pt idx="853">
                  <c:v>3704992.0112693985</c:v>
                </c:pt>
                <c:pt idx="854">
                  <c:v>3715732.5118163573</c:v>
                </c:pt>
                <c:pt idx="855">
                  <c:v>3703310.9904605383</c:v>
                </c:pt>
                <c:pt idx="856">
                  <c:v>3746083.5429053935</c:v>
                </c:pt>
                <c:pt idx="857">
                  <c:v>3735795.6819595913</c:v>
                </c:pt>
                <c:pt idx="858">
                  <c:v>3728334.7098276168</c:v>
                </c:pt>
                <c:pt idx="859">
                  <c:v>3771526.5589603987</c:v>
                </c:pt>
                <c:pt idx="860">
                  <c:v>3862135.6263651145</c:v>
                </c:pt>
                <c:pt idx="861">
                  <c:v>4386849.6703926707</c:v>
                </c:pt>
                <c:pt idx="862">
                  <c:v>3946422.2455985467</c:v>
                </c:pt>
                <c:pt idx="863">
                  <c:v>3708626.4795250506</c:v>
                </c:pt>
                <c:pt idx="864">
                  <c:v>4081897.6938968776</c:v>
                </c:pt>
                <c:pt idx="865">
                  <c:v>4047431.4092726614</c:v>
                </c:pt>
                <c:pt idx="866">
                  <c:v>3677004.1556558334</c:v>
                </c:pt>
                <c:pt idx="867">
                  <c:v>3717342.349032958</c:v>
                </c:pt>
                <c:pt idx="868">
                  <c:v>3765406.3909821822</c:v>
                </c:pt>
                <c:pt idx="869">
                  <c:v>3703465.2541257935</c:v>
                </c:pt>
                <c:pt idx="870">
                  <c:v>3669774.8548583668</c:v>
                </c:pt>
                <c:pt idx="871">
                  <c:v>3680264.8763283254</c:v>
                </c:pt>
                <c:pt idx="872">
                  <c:v>3697701.6626395509</c:v>
                </c:pt>
                <c:pt idx="873">
                  <c:v>3702178.9447810366</c:v>
                </c:pt>
                <c:pt idx="874">
                  <c:v>3696448.8646370233</c:v>
                </c:pt>
                <c:pt idx="875">
                  <c:v>3714340.5504712895</c:v>
                </c:pt>
                <c:pt idx="876">
                  <c:v>3713265.9954590783</c:v>
                </c:pt>
                <c:pt idx="877">
                  <c:v>3697650.6553229275</c:v>
                </c:pt>
                <c:pt idx="878">
                  <c:v>3688674.7602596264</c:v>
                </c:pt>
                <c:pt idx="879">
                  <c:v>3690424.2638454949</c:v>
                </c:pt>
                <c:pt idx="880">
                  <c:v>3691528.3959414186</c:v>
                </c:pt>
                <c:pt idx="881">
                  <c:v>3685615.8514136383</c:v>
                </c:pt>
                <c:pt idx="882">
                  <c:v>3715596.8753809095</c:v>
                </c:pt>
                <c:pt idx="883">
                  <c:v>3647543.6229033065</c:v>
                </c:pt>
                <c:pt idx="884">
                  <c:v>3688955.6060671369</c:v>
                </c:pt>
                <c:pt idx="885">
                  <c:v>3691464.8398134382</c:v>
                </c:pt>
                <c:pt idx="886">
                  <c:v>3714991.7279012557</c:v>
                </c:pt>
                <c:pt idx="887">
                  <c:v>3681185.3292143024</c:v>
                </c:pt>
                <c:pt idx="888">
                  <c:v>3711965.6109429328</c:v>
                </c:pt>
                <c:pt idx="889">
                  <c:v>3705710.4179355763</c:v>
                </c:pt>
                <c:pt idx="890">
                  <c:v>3710269.6265019584</c:v>
                </c:pt>
                <c:pt idx="891">
                  <c:v>3725818.6556040552</c:v>
                </c:pt>
                <c:pt idx="892">
                  <c:v>3718782.9952162993</c:v>
                </c:pt>
                <c:pt idx="893">
                  <c:v>3704974.4489610335</c:v>
                </c:pt>
                <c:pt idx="894">
                  <c:v>3703780.5622214796</c:v>
                </c:pt>
                <c:pt idx="895">
                  <c:v>3717776.9662749371</c:v>
                </c:pt>
                <c:pt idx="896">
                  <c:v>3707093.8172255154</c:v>
                </c:pt>
                <c:pt idx="897">
                  <c:v>3726517.5818861891</c:v>
                </c:pt>
                <c:pt idx="898">
                  <c:v>3728739.9924189388</c:v>
                </c:pt>
                <c:pt idx="899">
                  <c:v>3687236.286276957</c:v>
                </c:pt>
                <c:pt idx="900">
                  <c:v>3717037.7997783595</c:v>
                </c:pt>
                <c:pt idx="901">
                  <c:v>3738127.3850876745</c:v>
                </c:pt>
                <c:pt idx="902">
                  <c:v>3710536.7569742533</c:v>
                </c:pt>
                <c:pt idx="903">
                  <c:v>3701322.8639952261</c:v>
                </c:pt>
                <c:pt idx="904">
                  <c:v>3724893.1086500161</c:v>
                </c:pt>
                <c:pt idx="905">
                  <c:v>3752475.1190606654</c:v>
                </c:pt>
                <c:pt idx="906">
                  <c:v>3753738.8867805586</c:v>
                </c:pt>
                <c:pt idx="907">
                  <c:v>3755481.6718188007</c:v>
                </c:pt>
                <c:pt idx="908">
                  <c:v>3742181.604593704</c:v>
                </c:pt>
                <c:pt idx="909">
                  <c:v>3765546.2920497782</c:v>
                </c:pt>
                <c:pt idx="910">
                  <c:v>3720328.0058140764</c:v>
                </c:pt>
                <c:pt idx="911">
                  <c:v>3732911.64039431</c:v>
                </c:pt>
                <c:pt idx="912">
                  <c:v>3711460.7544507659</c:v>
                </c:pt>
                <c:pt idx="913">
                  <c:v>3675490.6166668343</c:v>
                </c:pt>
                <c:pt idx="914">
                  <c:v>3701000.965396638</c:v>
                </c:pt>
                <c:pt idx="915">
                  <c:v>3697351.5174043658</c:v>
                </c:pt>
                <c:pt idx="916">
                  <c:v>3714825.6075882073</c:v>
                </c:pt>
                <c:pt idx="917">
                  <c:v>3679615.2784529254</c:v>
                </c:pt>
                <c:pt idx="918">
                  <c:v>3740400.3331733742</c:v>
                </c:pt>
                <c:pt idx="919">
                  <c:v>3747438.0635605869</c:v>
                </c:pt>
                <c:pt idx="920">
                  <c:v>3744381.1646536356</c:v>
                </c:pt>
                <c:pt idx="921">
                  <c:v>3724360.963967727</c:v>
                </c:pt>
                <c:pt idx="922">
                  <c:v>3780161.3737595226</c:v>
                </c:pt>
                <c:pt idx="923">
                  <c:v>3846288.6451594648</c:v>
                </c:pt>
                <c:pt idx="924">
                  <c:v>3760293.4902569382</c:v>
                </c:pt>
                <c:pt idx="925">
                  <c:v>3778646.3072122619</c:v>
                </c:pt>
                <c:pt idx="926">
                  <c:v>3752026.2406191458</c:v>
                </c:pt>
                <c:pt idx="927">
                  <c:v>3702822.2964430694</c:v>
                </c:pt>
                <c:pt idx="928">
                  <c:v>3713978.8582867435</c:v>
                </c:pt>
                <c:pt idx="929">
                  <c:v>3750632.2551810089</c:v>
                </c:pt>
                <c:pt idx="930">
                  <c:v>3673242.8698172844</c:v>
                </c:pt>
                <c:pt idx="931">
                  <c:v>3737411.5087132957</c:v>
                </c:pt>
                <c:pt idx="932">
                  <c:v>3745583.289455561</c:v>
                </c:pt>
                <c:pt idx="933">
                  <c:v>3679798.1267425204</c:v>
                </c:pt>
                <c:pt idx="934">
                  <c:v>3716044.9857155317</c:v>
                </c:pt>
                <c:pt idx="935">
                  <c:v>3737312.379824827</c:v>
                </c:pt>
                <c:pt idx="936">
                  <c:v>3655534.3866953477</c:v>
                </c:pt>
                <c:pt idx="937">
                  <c:v>3569060.4662296865</c:v>
                </c:pt>
                <c:pt idx="938">
                  <c:v>3555166.5899819108</c:v>
                </c:pt>
                <c:pt idx="939">
                  <c:v>3650327.2267355421</c:v>
                </c:pt>
                <c:pt idx="940">
                  <c:v>3671973.1305261124</c:v>
                </c:pt>
                <c:pt idx="941">
                  <c:v>3669395.3369584423</c:v>
                </c:pt>
                <c:pt idx="942">
                  <c:v>3679910.9302317854</c:v>
                </c:pt>
                <c:pt idx="943">
                  <c:v>3698033.7188439448</c:v>
                </c:pt>
                <c:pt idx="944">
                  <c:v>3700866.062712084</c:v>
                </c:pt>
                <c:pt idx="945">
                  <c:v>3732255.7440634016</c:v>
                </c:pt>
                <c:pt idx="946">
                  <c:v>3667655.2847811719</c:v>
                </c:pt>
                <c:pt idx="947">
                  <c:v>3691317.7871990423</c:v>
                </c:pt>
                <c:pt idx="948">
                  <c:v>3740983.3380097998</c:v>
                </c:pt>
                <c:pt idx="949">
                  <c:v>3738640.5586858001</c:v>
                </c:pt>
                <c:pt idx="950">
                  <c:v>3723426.9430773668</c:v>
                </c:pt>
                <c:pt idx="951">
                  <c:v>3718148.5550578348</c:v>
                </c:pt>
                <c:pt idx="952">
                  <c:v>3710523.2421166645</c:v>
                </c:pt>
                <c:pt idx="953">
                  <c:v>3702975.0127695389</c:v>
                </c:pt>
                <c:pt idx="954">
                  <c:v>3733995.6976067233</c:v>
                </c:pt>
                <c:pt idx="955">
                  <c:v>3967624.7859702501</c:v>
                </c:pt>
                <c:pt idx="956">
                  <c:v>5852023.359255353</c:v>
                </c:pt>
                <c:pt idx="957">
                  <c:v>5372503.4523484455</c:v>
                </c:pt>
                <c:pt idx="958">
                  <c:v>4004404.4181912597</c:v>
                </c:pt>
                <c:pt idx="959">
                  <c:v>3731577.8489217153</c:v>
                </c:pt>
                <c:pt idx="960">
                  <c:v>3761818.5260174335</c:v>
                </c:pt>
                <c:pt idx="961">
                  <c:v>3714724.1912598382</c:v>
                </c:pt>
                <c:pt idx="962">
                  <c:v>3721226.1331877685</c:v>
                </c:pt>
                <c:pt idx="963">
                  <c:v>3766754.9151034569</c:v>
                </c:pt>
                <c:pt idx="964">
                  <c:v>3752265.8399867285</c:v>
                </c:pt>
                <c:pt idx="965">
                  <c:v>3718558.0631863843</c:v>
                </c:pt>
                <c:pt idx="966">
                  <c:v>3669072.6915674796</c:v>
                </c:pt>
                <c:pt idx="967">
                  <c:v>3666427.3660838003</c:v>
                </c:pt>
                <c:pt idx="968">
                  <c:v>3668662.2806165544</c:v>
                </c:pt>
                <c:pt idx="969">
                  <c:v>3685354.4448047248</c:v>
                </c:pt>
                <c:pt idx="970">
                  <c:v>3680920.4411483831</c:v>
                </c:pt>
                <c:pt idx="971">
                  <c:v>3693069.2128043212</c:v>
                </c:pt>
                <c:pt idx="972">
                  <c:v>3668409.8971689786</c:v>
                </c:pt>
                <c:pt idx="973">
                  <c:v>3678042.6528663863</c:v>
                </c:pt>
                <c:pt idx="974">
                  <c:v>3698617.7047994817</c:v>
                </c:pt>
                <c:pt idx="975">
                  <c:v>3683446.0417502197</c:v>
                </c:pt>
                <c:pt idx="976">
                  <c:v>3697592.5403996082</c:v>
                </c:pt>
                <c:pt idx="977">
                  <c:v>3694909.3307339209</c:v>
                </c:pt>
                <c:pt idx="978">
                  <c:v>3718421.4542843211</c:v>
                </c:pt>
                <c:pt idx="979">
                  <c:v>3701937.9341428108</c:v>
                </c:pt>
                <c:pt idx="980">
                  <c:v>3690977.0217726175</c:v>
                </c:pt>
                <c:pt idx="981">
                  <c:v>3725633.9766778424</c:v>
                </c:pt>
                <c:pt idx="982">
                  <c:v>3711986.9762624535</c:v>
                </c:pt>
                <c:pt idx="983">
                  <c:v>3736060.6965026422</c:v>
                </c:pt>
                <c:pt idx="984">
                  <c:v>3737644.6743942453</c:v>
                </c:pt>
                <c:pt idx="985">
                  <c:v>3752612.3701014114</c:v>
                </c:pt>
                <c:pt idx="986">
                  <c:v>3822247.2411932927</c:v>
                </c:pt>
                <c:pt idx="987">
                  <c:v>3757205.1936094286</c:v>
                </c:pt>
                <c:pt idx="988">
                  <c:v>3699310.9607694005</c:v>
                </c:pt>
                <c:pt idx="989">
                  <c:v>3695494.346160125</c:v>
                </c:pt>
                <c:pt idx="990">
                  <c:v>3711219.8733490561</c:v>
                </c:pt>
                <c:pt idx="991">
                  <c:v>3723803.715827181</c:v>
                </c:pt>
                <c:pt idx="992">
                  <c:v>3719194.9745184337</c:v>
                </c:pt>
                <c:pt idx="993">
                  <c:v>3735678.1919687646</c:v>
                </c:pt>
                <c:pt idx="994">
                  <c:v>3739608.0284596719</c:v>
                </c:pt>
                <c:pt idx="995">
                  <c:v>3737647.3657338219</c:v>
                </c:pt>
                <c:pt idx="996">
                  <c:v>3750851.4214229537</c:v>
                </c:pt>
                <c:pt idx="997">
                  <c:v>3827361.2901579412</c:v>
                </c:pt>
                <c:pt idx="998">
                  <c:v>3800691.2269027121</c:v>
                </c:pt>
                <c:pt idx="999">
                  <c:v>3809664.2193511436</c:v>
                </c:pt>
                <c:pt idx="1000">
                  <c:v>3815524.8748836936</c:v>
                </c:pt>
                <c:pt idx="1001">
                  <c:v>3769438.9141489333</c:v>
                </c:pt>
                <c:pt idx="1002">
                  <c:v>3710200.1280036792</c:v>
                </c:pt>
                <c:pt idx="1003">
                  <c:v>3692856.7536159162</c:v>
                </c:pt>
                <c:pt idx="1004">
                  <c:v>3699382.8505677609</c:v>
                </c:pt>
                <c:pt idx="1005">
                  <c:v>3649684.7434537755</c:v>
                </c:pt>
                <c:pt idx="1006">
                  <c:v>3712350.2728544418</c:v>
                </c:pt>
                <c:pt idx="1007">
                  <c:v>3717177.6382920556</c:v>
                </c:pt>
                <c:pt idx="1008">
                  <c:v>1786084.9932528562</c:v>
                </c:pt>
                <c:pt idx="1009">
                  <c:v>3679651.5993576013</c:v>
                </c:pt>
                <c:pt idx="1010">
                  <c:v>3710674.712608099</c:v>
                </c:pt>
                <c:pt idx="1011">
                  <c:v>3772473.9447880764</c:v>
                </c:pt>
                <c:pt idx="1012">
                  <c:v>3789239.711471634</c:v>
                </c:pt>
                <c:pt idx="1013">
                  <c:v>3727849.2665821351</c:v>
                </c:pt>
                <c:pt idx="1014">
                  <c:v>3707401.9188754</c:v>
                </c:pt>
                <c:pt idx="1015">
                  <c:v>3719138.8118545953</c:v>
                </c:pt>
                <c:pt idx="1016">
                  <c:v>3708362.1900875787</c:v>
                </c:pt>
                <c:pt idx="1017">
                  <c:v>3735255.2373708673</c:v>
                </c:pt>
                <c:pt idx="1018">
                  <c:v>3745530.26758654</c:v>
                </c:pt>
                <c:pt idx="1019">
                  <c:v>3733538.1001130259</c:v>
                </c:pt>
                <c:pt idx="1020">
                  <c:v>3728132.5158306658</c:v>
                </c:pt>
                <c:pt idx="1021">
                  <c:v>3758846.2138536493</c:v>
                </c:pt>
                <c:pt idx="1022">
                  <c:v>3776430.841662033</c:v>
                </c:pt>
                <c:pt idx="1023">
                  <c:v>3686849.9252369436</c:v>
                </c:pt>
                <c:pt idx="1024">
                  <c:v>3731042.8501618998</c:v>
                </c:pt>
                <c:pt idx="1025">
                  <c:v>3752564.3835513014</c:v>
                </c:pt>
                <c:pt idx="1026">
                  <c:v>3818438.1363107897</c:v>
                </c:pt>
                <c:pt idx="1027">
                  <c:v>3808725.8497620039</c:v>
                </c:pt>
                <c:pt idx="1028">
                  <c:v>3886282.0663461662</c:v>
                </c:pt>
                <c:pt idx="1029">
                  <c:v>3880722.468612215</c:v>
                </c:pt>
                <c:pt idx="1030">
                  <c:v>4419803.6610162752</c:v>
                </c:pt>
                <c:pt idx="1031">
                  <c:v>5808734.2623235574</c:v>
                </c:pt>
                <c:pt idx="1032">
                  <c:v>3834875.7877806146</c:v>
                </c:pt>
                <c:pt idx="1033">
                  <c:v>3732477.2205852107</c:v>
                </c:pt>
                <c:pt idx="1034">
                  <c:v>3758473.7991845263</c:v>
                </c:pt>
                <c:pt idx="1035">
                  <c:v>3755677.5451461785</c:v>
                </c:pt>
                <c:pt idx="1036">
                  <c:v>3788201.5157954283</c:v>
                </c:pt>
                <c:pt idx="1037">
                  <c:v>3768789.6629928742</c:v>
                </c:pt>
                <c:pt idx="1038">
                  <c:v>4128851.5940638646</c:v>
                </c:pt>
                <c:pt idx="1039">
                  <c:v>3800773.0006125905</c:v>
                </c:pt>
                <c:pt idx="1040">
                  <c:v>3867565.0657876683</c:v>
                </c:pt>
                <c:pt idx="1041">
                  <c:v>3848921.0402537081</c:v>
                </c:pt>
                <c:pt idx="1042">
                  <c:v>3810193.1248155977</c:v>
                </c:pt>
                <c:pt idx="1043">
                  <c:v>4007681.5326218801</c:v>
                </c:pt>
                <c:pt idx="1044">
                  <c:v>3783436.8189002331</c:v>
                </c:pt>
                <c:pt idx="1045">
                  <c:v>3735885.4629340116</c:v>
                </c:pt>
                <c:pt idx="1046">
                  <c:v>3737066.3713080199</c:v>
                </c:pt>
                <c:pt idx="1047">
                  <c:v>3708035.6219772347</c:v>
                </c:pt>
                <c:pt idx="1048">
                  <c:v>3731998.8239021078</c:v>
                </c:pt>
                <c:pt idx="1049">
                  <c:v>3739077.2712233188</c:v>
                </c:pt>
                <c:pt idx="1050">
                  <c:v>3739444.8490676261</c:v>
                </c:pt>
                <c:pt idx="1051">
                  <c:v>3682096.0602357904</c:v>
                </c:pt>
                <c:pt idx="1052">
                  <c:v>3683217.0925537343</c:v>
                </c:pt>
                <c:pt idx="1053">
                  <c:v>3738067.6601835899</c:v>
                </c:pt>
                <c:pt idx="1054">
                  <c:v>3845743.2080335505</c:v>
                </c:pt>
                <c:pt idx="1055">
                  <c:v>3774669.0290003577</c:v>
                </c:pt>
                <c:pt idx="1056">
                  <c:v>3700833.6325775087</c:v>
                </c:pt>
                <c:pt idx="1057">
                  <c:v>3709457.1552710687</c:v>
                </c:pt>
                <c:pt idx="1058">
                  <c:v>3773194.6952636847</c:v>
                </c:pt>
                <c:pt idx="1059">
                  <c:v>3784971.6221655929</c:v>
                </c:pt>
                <c:pt idx="1060">
                  <c:v>3732331.6142296535</c:v>
                </c:pt>
                <c:pt idx="1061">
                  <c:v>3725789.2169407858</c:v>
                </c:pt>
                <c:pt idx="1062">
                  <c:v>3748617.1741444771</c:v>
                </c:pt>
                <c:pt idx="1063">
                  <c:v>3782405.6433802992</c:v>
                </c:pt>
                <c:pt idx="1064">
                  <c:v>3779263.2204862572</c:v>
                </c:pt>
                <c:pt idx="1065">
                  <c:v>3781000.2822774076</c:v>
                </c:pt>
                <c:pt idx="1066">
                  <c:v>3724357.8731823079</c:v>
                </c:pt>
                <c:pt idx="1067">
                  <c:v>3740511.3685473553</c:v>
                </c:pt>
                <c:pt idx="1068">
                  <c:v>3791939.9942139224</c:v>
                </c:pt>
                <c:pt idx="1069">
                  <c:v>3841650.1043807454</c:v>
                </c:pt>
                <c:pt idx="1070">
                  <c:v>3788375.3857227699</c:v>
                </c:pt>
                <c:pt idx="1071">
                  <c:v>3831505.0569448373</c:v>
                </c:pt>
                <c:pt idx="1072">
                  <c:v>3814445.7288971264</c:v>
                </c:pt>
                <c:pt idx="1073">
                  <c:v>3823200.376983203</c:v>
                </c:pt>
                <c:pt idx="1074">
                  <c:v>3841689.0730797956</c:v>
                </c:pt>
                <c:pt idx="1075">
                  <c:v>3820564.5462851501</c:v>
                </c:pt>
                <c:pt idx="1076">
                  <c:v>3889715.2658209819</c:v>
                </c:pt>
                <c:pt idx="1077">
                  <c:v>3863404.7945773457</c:v>
                </c:pt>
                <c:pt idx="1078">
                  <c:v>3821848.3082789271</c:v>
                </c:pt>
                <c:pt idx="1079">
                  <c:v>3827196.1383693893</c:v>
                </c:pt>
                <c:pt idx="1080">
                  <c:v>3821620.0482905162</c:v>
                </c:pt>
                <c:pt idx="1081">
                  <c:v>3848118.3399583297</c:v>
                </c:pt>
                <c:pt idx="1082">
                  <c:v>3833427.7848649621</c:v>
                </c:pt>
                <c:pt idx="1083">
                  <c:v>3931864.9487436898</c:v>
                </c:pt>
                <c:pt idx="1084">
                  <c:v>4066187.4931324958</c:v>
                </c:pt>
                <c:pt idx="1085">
                  <c:v>3927018.0312427795</c:v>
                </c:pt>
                <c:pt idx="1086">
                  <c:v>3822890.3365384075</c:v>
                </c:pt>
                <c:pt idx="1087">
                  <c:v>3790971.6698307497</c:v>
                </c:pt>
                <c:pt idx="1088">
                  <c:v>3778226.4471161286</c:v>
                </c:pt>
                <c:pt idx="1089">
                  <c:v>3780427.7193612023</c:v>
                </c:pt>
                <c:pt idx="1090">
                  <c:v>3781359.4531449396</c:v>
                </c:pt>
                <c:pt idx="1091">
                  <c:v>3780950.6666120826</c:v>
                </c:pt>
                <c:pt idx="1092">
                  <c:v>3790282.1047469075</c:v>
                </c:pt>
                <c:pt idx="1093">
                  <c:v>3771369.726743394</c:v>
                </c:pt>
                <c:pt idx="1094">
                  <c:v>3763590.7898465935</c:v>
                </c:pt>
                <c:pt idx="1095">
                  <c:v>3758115.9622769239</c:v>
                </c:pt>
              </c:numCache>
            </c:numRef>
          </c:xVal>
          <c:yVal>
            <c:numRef>
              <c:f>'Parameters ranges for ANN step1'!$AJ$3:$AJ$1137</c:f>
              <c:numCache>
                <c:formatCode>0</c:formatCode>
                <c:ptCount val="1135"/>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320.22627222790391</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327.73110998308101</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353.38815353065985</c:v>
                </c:pt>
                <c:pt idx="28">
                  <c:v>321.99861002954611</c:v>
                </c:pt>
                <c:pt idx="29">
                  <c:v>320.95747258053484</c:v>
                </c:pt>
                <c:pt idx="30">
                  <c:v>327.66673615498394</c:v>
                </c:pt>
                <c:pt idx="31">
                  <c:v>313.46570329571915</c:v>
                </c:pt>
                <c:pt idx="32">
                  <c:v>319.77386497872101</c:v>
                </c:pt>
                <c:pt idx="33">
                  <c:v>328.82618267854872</c:v>
                </c:pt>
                <c:pt idx="34">
                  <c:v>348.10495342262442</c:v>
                </c:pt>
                <c:pt idx="35">
                  <c:v>341.28146249310817</c:v>
                </c:pt>
                <c:pt idx="36">
                  <c:v>331.3983381867933</c:v>
                </c:pt>
                <c:pt idx="37">
                  <c:v>322.0289674859049</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332.90284188019041</c:v>
                </c:pt>
                <c:pt idx="51">
                  <c:v>335.52875809093149</c:v>
                </c:pt>
                <c:pt idx="52">
                  <c:v>334.58874258599309</c:v>
                </c:pt>
                <c:pt idx="53">
                  <c:v>318.02931924876447</c:v>
                </c:pt>
                <c:pt idx="54">
                  <c:v>317.42375919289793</c:v>
                </c:pt>
                <c:pt idx="55">
                  <c:v>320.25120076963969</c:v>
                </c:pt>
                <c:pt idx="56">
                  <c:v>313.35240736514118</c:v>
                </c:pt>
                <c:pt idx="57">
                  <c:v>328.8608730893763</c:v>
                </c:pt>
                <c:pt idx="58">
                  <c:v>325.68842389334611</c:v>
                </c:pt>
                <c:pt idx="59">
                  <c:v>328.00983483047673</c:v>
                </c:pt>
                <c:pt idx="60">
                  <c:v>304.78893267734338</c:v>
                </c:pt>
                <c:pt idx="61">
                  <c:v>317.7817483222637</c:v>
                </c:pt>
                <c:pt idx="62">
                  <c:v>320.3107889527152</c:v>
                </c:pt>
                <c:pt idx="63">
                  <c:v>314.07674731811966</c:v>
                </c:pt>
                <c:pt idx="64">
                  <c:v>309.10775694536147</c:v>
                </c:pt>
                <c:pt idx="65">
                  <c:v>317.66522659276092</c:v>
                </c:pt>
                <c:pt idx="66">
                  <c:v>316.1875597670886</c:v>
                </c:pt>
                <c:pt idx="67">
                  <c:v>328.3129893324504</c:v>
                </c:pt>
                <c:pt idx="68">
                  <c:v>337.06732556173142</c:v>
                </c:pt>
                <c:pt idx="69">
                  <c:v>338.74328092915368</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349.31556995306283</c:v>
                </c:pt>
                <c:pt idx="116">
                  <c:v>322.34680747192402</c:v>
                </c:pt>
                <c:pt idx="117">
                  <c:v>328.60453751817124</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704.82408268098902</c:v>
                </c:pt>
                <c:pt idx="145">
                  <c:v>3293.1266070691199</c:v>
                </c:pt>
                <c:pt idx="149">
                  <c:v>708.14507490127403</c:v>
                </c:pt>
                <c:pt idx="150">
                  <c:v>498.06724427458897</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341.48506096046799</c:v>
                </c:pt>
                <c:pt idx="160">
                  <c:v>346.40747457987698</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336.95154947493199</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340.98608478616097</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339.39163349474001</c:v>
                </c:pt>
                <c:pt idx="218">
                  <c:v>327.29307991113097</c:v>
                </c:pt>
                <c:pt idx="219">
                  <c:v>357.173656061884</c:v>
                </c:pt>
                <c:pt idx="220">
                  <c:v>312.42925506017798</c:v>
                </c:pt>
                <c:pt idx="221">
                  <c:v>318.19970673388701</c:v>
                </c:pt>
                <c:pt idx="222">
                  <c:v>323.57573683888899</c:v>
                </c:pt>
                <c:pt idx="223">
                  <c:v>315.55895851083602</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346.869065644903</c:v>
                </c:pt>
                <c:pt idx="233">
                  <c:v>331.85880609668902</c:v>
                </c:pt>
                <c:pt idx="234">
                  <c:v>321.76254188779097</c:v>
                </c:pt>
                <c:pt idx="235">
                  <c:v>354.22415309327499</c:v>
                </c:pt>
                <c:pt idx="236">
                  <c:v>342.54850082921701</c:v>
                </c:pt>
                <c:pt idx="237">
                  <c:v>330.08522026962299</c:v>
                </c:pt>
                <c:pt idx="238">
                  <c:v>325.74425234078802</c:v>
                </c:pt>
                <c:pt idx="239">
                  <c:v>338.60152162625798</c:v>
                </c:pt>
                <c:pt idx="240">
                  <c:v>369.86289738117603</c:v>
                </c:pt>
                <c:pt idx="241">
                  <c:v>374.497493299572</c:v>
                </c:pt>
                <c:pt idx="242">
                  <c:v>362.04070426256698</c:v>
                </c:pt>
                <c:pt idx="243">
                  <c:v>362.776355234373</c:v>
                </c:pt>
                <c:pt idx="244">
                  <c:v>365.10704820643099</c:v>
                </c:pt>
                <c:pt idx="245">
                  <c:v>421.56297591179498</c:v>
                </c:pt>
                <c:pt idx="246">
                  <c:v>419.37320932385302</c:v>
                </c:pt>
                <c:pt idx="247">
                  <c:v>435.05910903021902</c:v>
                </c:pt>
                <c:pt idx="248">
                  <c:v>391.14175188551002</c:v>
                </c:pt>
                <c:pt idx="249">
                  <c:v>385.95309696167197</c:v>
                </c:pt>
                <c:pt idx="250">
                  <c:v>385.03601752360697</c:v>
                </c:pt>
                <c:pt idx="251">
                  <c:v>375.25896736175099</c:v>
                </c:pt>
                <c:pt idx="252">
                  <c:v>360.390360058738</c:v>
                </c:pt>
                <c:pt idx="253">
                  <c:v>364.68058703493898</c:v>
                </c:pt>
                <c:pt idx="254">
                  <c:v>349.28731702461903</c:v>
                </c:pt>
                <c:pt idx="255">
                  <c:v>359.32329715198699</c:v>
                </c:pt>
                <c:pt idx="256">
                  <c:v>321.38215214328198</c:v>
                </c:pt>
                <c:pt idx="257">
                  <c:v>314.81158570599098</c:v>
                </c:pt>
                <c:pt idx="258">
                  <c:v>351.80198103419201</c:v>
                </c:pt>
                <c:pt idx="259">
                  <c:v>473.16824585154802</c:v>
                </c:pt>
                <c:pt idx="260">
                  <c:v>484.49553178660898</c:v>
                </c:pt>
                <c:pt idx="261">
                  <c:v>376.65248520298098</c:v>
                </c:pt>
                <c:pt idx="262">
                  <c:v>354.30427381673701</c:v>
                </c:pt>
                <c:pt idx="263">
                  <c:v>360.58366318272601</c:v>
                </c:pt>
                <c:pt idx="264">
                  <c:v>341.84967443437898</c:v>
                </c:pt>
                <c:pt idx="265">
                  <c:v>346.65324472884498</c:v>
                </c:pt>
                <c:pt idx="266">
                  <c:v>347.22410243016998</c:v>
                </c:pt>
                <c:pt idx="267">
                  <c:v>385.28038821798901</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355.27677014739697</c:v>
                </c:pt>
                <c:pt idx="294">
                  <c:v>350.420980002492</c:v>
                </c:pt>
                <c:pt idx="295">
                  <c:v>340.49514659784103</c:v>
                </c:pt>
                <c:pt idx="296">
                  <c:v>339.93567129670799</c:v>
                </c:pt>
                <c:pt idx="297">
                  <c:v>341.97971700350098</c:v>
                </c:pt>
                <c:pt idx="298">
                  <c:v>342.58145664481799</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392.06318297830097</c:v>
                </c:pt>
                <c:pt idx="336">
                  <c:v>343.77895889730001</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333.12707547053299</c:v>
                </c:pt>
                <c:pt idx="357">
                  <c:v>321.58453554188799</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formatCode="General">
                  <c:v>330.375167010106</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311.46844598658402</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337.13218234211899</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345.528500432952</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301.883458266861</c:v>
                </c:pt>
                <c:pt idx="456">
                  <c:v>306.46632943287102</c:v>
                </c:pt>
                <c:pt idx="457">
                  <c:v>314.48239256563397</c:v>
                </c:pt>
                <c:pt idx="458">
                  <c:v>311.48692196015702</c:v>
                </c:pt>
                <c:pt idx="459">
                  <c:v>307.04196447501602</c:v>
                </c:pt>
                <c:pt idx="460">
                  <c:v>306.96544039396298</c:v>
                </c:pt>
                <c:pt idx="461">
                  <c:v>304.15757241272001</c:v>
                </c:pt>
                <c:pt idx="462">
                  <c:v>258.95672483594097</c:v>
                </c:pt>
                <c:pt idx="463">
                  <c:v>260.23618212396502</c:v>
                </c:pt>
                <c:pt idx="464">
                  <c:v>310.454165951449</c:v>
                </c:pt>
                <c:pt idx="465">
                  <c:v>311.52208531027202</c:v>
                </c:pt>
                <c:pt idx="466">
                  <c:v>322.19591128932899</c:v>
                </c:pt>
                <c:pt idx="467">
                  <c:v>412.82721945799</c:v>
                </c:pt>
                <c:pt idx="468">
                  <c:v>609.38380791153497</c:v>
                </c:pt>
                <c:pt idx="469">
                  <c:v>347.82884289336999</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8">
                  <c:v>539.70220978651901</c:v>
                </c:pt>
                <c:pt idx="499">
                  <c:v>315.49397526620697</c:v>
                </c:pt>
                <c:pt idx="500">
                  <c:v>312.07996479633601</c:v>
                </c:pt>
                <c:pt idx="501">
                  <c:v>319.97306717480399</c:v>
                </c:pt>
                <c:pt idx="502">
                  <c:v>321.439479877633</c:v>
                </c:pt>
                <c:pt idx="503">
                  <c:v>324.17536956196301</c:v>
                </c:pt>
                <c:pt idx="504">
                  <c:v>330.90906156137299</c:v>
                </c:pt>
                <c:pt idx="505">
                  <c:v>323.59973608442698</c:v>
                </c:pt>
                <c:pt idx="506">
                  <c:v>400.52931078400701</c:v>
                </c:pt>
                <c:pt idx="507">
                  <c:v>328.79389443008603</c:v>
                </c:pt>
                <c:pt idx="508">
                  <c:v>326.99348832417002</c:v>
                </c:pt>
                <c:pt idx="509">
                  <c:v>317.78521970650098</c:v>
                </c:pt>
                <c:pt idx="510">
                  <c:v>317.50748363236698</c:v>
                </c:pt>
                <c:pt idx="511">
                  <c:v>318.457762005706</c:v>
                </c:pt>
                <c:pt idx="512">
                  <c:v>319.10751635077202</c:v>
                </c:pt>
                <c:pt idx="513">
                  <c:v>309.61478917023197</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308.33318559646801</c:v>
                </c:pt>
                <c:pt idx="523">
                  <c:v>309.93127246608998</c:v>
                </c:pt>
                <c:pt idx="524">
                  <c:v>309.71001228537398</c:v>
                </c:pt>
                <c:pt idx="525">
                  <c:v>318.40501555290803</c:v>
                </c:pt>
                <c:pt idx="526">
                  <c:v>332.64397949796199</c:v>
                </c:pt>
                <c:pt idx="527">
                  <c:v>349.90620809152398</c:v>
                </c:pt>
                <c:pt idx="528">
                  <c:v>344.88001614199601</c:v>
                </c:pt>
                <c:pt idx="529">
                  <c:v>371.82995923431201</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349.97792455766898</c:v>
                </c:pt>
                <c:pt idx="571">
                  <c:v>340.10627176837698</c:v>
                </c:pt>
                <c:pt idx="572">
                  <c:v>338.900481463809</c:v>
                </c:pt>
                <c:pt idx="573">
                  <c:v>322.75720855810698</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315.64168769378102</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345.19159196177799</c:v>
                </c:pt>
                <c:pt idx="607">
                  <c:v>405.26449101922901</c:v>
                </c:pt>
                <c:pt idx="608">
                  <c:v>325.76070001360898</c:v>
                </c:pt>
                <c:pt idx="609">
                  <c:v>327.66351813619701</c:v>
                </c:pt>
                <c:pt idx="610">
                  <c:v>348.03888514141403</c:v>
                </c:pt>
                <c:pt idx="611">
                  <c:v>355.35273207570299</c:v>
                </c:pt>
                <c:pt idx="612">
                  <c:v>360.248403459359</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3">
                  <c:v>480.37554908220397</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380.89927233364102</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328.80482800572901</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387.45453960211</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323.57713049668502</c:v>
                </c:pt>
                <c:pt idx="719">
                  <c:v>324.77705518667801</c:v>
                </c:pt>
                <c:pt idx="720">
                  <c:v>325.00218155725003</c:v>
                </c:pt>
                <c:pt idx="721">
                  <c:v>323.64730670914003</c:v>
                </c:pt>
                <c:pt idx="722">
                  <c:v>326.67519612125199</c:v>
                </c:pt>
                <c:pt idx="723">
                  <c:v>331.171647625898</c:v>
                </c:pt>
                <c:pt idx="724">
                  <c:v>383.85692345414998</c:v>
                </c:pt>
                <c:pt idx="725">
                  <c:v>776.214396611967</c:v>
                </c:pt>
                <c:pt idx="726">
                  <c:v>503.48229673947901</c:v>
                </c:pt>
                <c:pt idx="727">
                  <c:v>349.46074446929202</c:v>
                </c:pt>
                <c:pt idx="728">
                  <c:v>328.00880830653898</c:v>
                </c:pt>
                <c:pt idx="729">
                  <c:v>325.92545019233103</c:v>
                </c:pt>
                <c:pt idx="730">
                  <c:v>327.02947503205201</c:v>
                </c:pt>
                <c:pt idx="731">
                  <c:v>327.98615324554419</c:v>
                </c:pt>
                <c:pt idx="732">
                  <c:v>331.91309908129693</c:v>
                </c:pt>
                <c:pt idx="733">
                  <c:v>329.6986942958232</c:v>
                </c:pt>
                <c:pt idx="734">
                  <c:v>329.24764649261476</c:v>
                </c:pt>
                <c:pt idx="735">
                  <c:v>329.82358255706964</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473.90302123035792</c:v>
                </c:pt>
                <c:pt idx="790">
                  <c:v>342.66852826155377</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355.26915643573199</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348.94536427810925</c:v>
                </c:pt>
                <c:pt idx="822">
                  <c:v>350.83738063171626</c:v>
                </c:pt>
                <c:pt idx="823">
                  <c:v>341.92197502049447</c:v>
                </c:pt>
                <c:pt idx="824">
                  <c:v>343.38293211347377</c:v>
                </c:pt>
                <c:pt idx="825">
                  <c:v>363.58016395842861</c:v>
                </c:pt>
                <c:pt idx="826">
                  <c:v>355.25297275573467</c:v>
                </c:pt>
                <c:pt idx="827">
                  <c:v>361.94962313714211</c:v>
                </c:pt>
                <c:pt idx="828">
                  <c:v>374.27984581025544</c:v>
                </c:pt>
                <c:pt idx="829">
                  <c:v>368.69039623856355</c:v>
                </c:pt>
                <c:pt idx="830">
                  <c:v>372.28030575262954</c:v>
                </c:pt>
                <c:pt idx="831">
                  <c:v>371.95859079410673</c:v>
                </c:pt>
                <c:pt idx="832">
                  <c:v>370.44087348814605</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365.98254032217886</c:v>
                </c:pt>
                <c:pt idx="863">
                  <c:v>326.29273330156695</c:v>
                </c:pt>
                <c:pt idx="864">
                  <c:v>395.2899164046629</c:v>
                </c:pt>
                <c:pt idx="865">
                  <c:v>414.88814777455678</c:v>
                </c:pt>
                <c:pt idx="866">
                  <c:v>320.60833294332588</c:v>
                </c:pt>
                <c:pt idx="867">
                  <c:v>326.80509471935807</c:v>
                </c:pt>
                <c:pt idx="868">
                  <c:v>330.47581519905521</c:v>
                </c:pt>
                <c:pt idx="869">
                  <c:v>327.06853372497204</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333.78090297889003</c:v>
                </c:pt>
                <c:pt idx="895">
                  <c:v>333.41031652830816</c:v>
                </c:pt>
                <c:pt idx="896">
                  <c:v>326.7529679040133</c:v>
                </c:pt>
                <c:pt idx="897">
                  <c:v>334.11796074721224</c:v>
                </c:pt>
                <c:pt idx="898">
                  <c:v>344.59181760332194</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353.19861986281086</c:v>
                </c:pt>
                <c:pt idx="912">
                  <c:v>340.1854532472413</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355.51007941237225</c:v>
                </c:pt>
                <c:pt idx="930">
                  <c:v>326.87332932214554</c:v>
                </c:pt>
                <c:pt idx="931">
                  <c:v>337.72147928552641</c:v>
                </c:pt>
                <c:pt idx="932">
                  <c:v>338.93044935057816</c:v>
                </c:pt>
                <c:pt idx="933">
                  <c:v>330.64095321197073</c:v>
                </c:pt>
                <c:pt idx="934">
                  <c:v>330.63106979033455</c:v>
                </c:pt>
                <c:pt idx="935">
                  <c:v>329.33624238794351</c:v>
                </c:pt>
                <c:pt idx="936">
                  <c:v>314.61707909566741</c:v>
                </c:pt>
                <c:pt idx="937">
                  <c:v>314.61707909566741</c:v>
                </c:pt>
                <c:pt idx="938">
                  <c:v>314.61707909566741</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425.53884555956148</c:v>
                </c:pt>
                <c:pt idx="956">
                  <c:v>795.39222084912046</c:v>
                </c:pt>
                <c:pt idx="957">
                  <c:v>656.68215345676424</c:v>
                </c:pt>
                <c:pt idx="958">
                  <c:v>409.33789222248492</c:v>
                </c:pt>
                <c:pt idx="959">
                  <c:v>333.93752689854387</c:v>
                </c:pt>
                <c:pt idx="960">
                  <c:v>337.87627851981443</c:v>
                </c:pt>
                <c:pt idx="961">
                  <c:v>327.78756702676435</c:v>
                </c:pt>
                <c:pt idx="962">
                  <c:v>330.32509742135778</c:v>
                </c:pt>
                <c:pt idx="963">
                  <c:v>349.89483709475655</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360.88397277898116</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345.79715514895054</c:v>
                </c:pt>
                <c:pt idx="1021">
                  <c:v>356.52261310398018</c:v>
                </c:pt>
                <c:pt idx="1022">
                  <c:v>347.84077861051901</c:v>
                </c:pt>
                <c:pt idx="1023">
                  <c:v>331.16903810579339</c:v>
                </c:pt>
                <c:pt idx="1024">
                  <c:v>335.83703901038825</c:v>
                </c:pt>
                <c:pt idx="1025">
                  <c:v>336.48519496856159</c:v>
                </c:pt>
                <c:pt idx="1026">
                  <c:v>348.24742261529042</c:v>
                </c:pt>
                <c:pt idx="1027">
                  <c:v>361.50285620174219</c:v>
                </c:pt>
                <c:pt idx="1028">
                  <c:v>378.32964523916695</c:v>
                </c:pt>
                <c:pt idx="1029">
                  <c:v>374.12804840324281</c:v>
                </c:pt>
                <c:pt idx="1030">
                  <c:v>540.57366857199781</c:v>
                </c:pt>
                <c:pt idx="1031">
                  <c:v>704.73520826378831</c:v>
                </c:pt>
                <c:pt idx="1032">
                  <c:v>361.79238092835726</c:v>
                </c:pt>
                <c:pt idx="1033">
                  <c:v>336.01052771939192</c:v>
                </c:pt>
                <c:pt idx="1034">
                  <c:v>333.51737568989569</c:v>
                </c:pt>
                <c:pt idx="1035">
                  <c:v>338.16422492104437</c:v>
                </c:pt>
                <c:pt idx="1036">
                  <c:v>350.44286895935409</c:v>
                </c:pt>
                <c:pt idx="1037">
                  <c:v>342.36819553646353</c:v>
                </c:pt>
                <c:pt idx="1038">
                  <c:v>400.95527467153158</c:v>
                </c:pt>
                <c:pt idx="1039">
                  <c:v>361.44849577341745</c:v>
                </c:pt>
                <c:pt idx="1040">
                  <c:v>387.06407833988203</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365.46750765533733</c:v>
                </c:pt>
                <c:pt idx="1055">
                  <c:v>353.04299201971264</c:v>
                </c:pt>
                <c:pt idx="1056">
                  <c:v>337.21069877279018</c:v>
                </c:pt>
                <c:pt idx="1057">
                  <c:v>331.21521874770593</c:v>
                </c:pt>
                <c:pt idx="1058">
                  <c:v>355.21684603228073</c:v>
                </c:pt>
                <c:pt idx="1059">
                  <c:v>349.82540556863262</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374.93964682002809</c:v>
                </c:pt>
                <c:pt idx="1078">
                  <c:v>350.72047525203755</c:v>
                </c:pt>
                <c:pt idx="1079">
                  <c:v>351.69506062914365</c:v>
                </c:pt>
                <c:pt idx="1080">
                  <c:v>355.27732637670118</c:v>
                </c:pt>
                <c:pt idx="1081">
                  <c:v>363.04657958196015</c:v>
                </c:pt>
                <c:pt idx="1082">
                  <c:v>365.50324513548878</c:v>
                </c:pt>
                <c:pt idx="1083">
                  <c:v>394.41894427389457</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4E4D-4B7A-B86C-D12BFC5D9DFE}"/>
            </c:ext>
          </c:extLst>
        </c:ser>
        <c:dLbls>
          <c:showLegendKey val="0"/>
          <c:showVal val="0"/>
          <c:showCatName val="0"/>
          <c:showSerName val="0"/>
          <c:showPercent val="0"/>
          <c:showBubbleSize val="0"/>
        </c:dLbls>
        <c:axId val="1840001407"/>
        <c:axId val="1594764623"/>
      </c:scatterChart>
      <c:valAx>
        <c:axId val="1840001407"/>
        <c:scaling>
          <c:orientation val="minMax"/>
          <c:max val="3750000"/>
          <c:min val="358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4764623"/>
        <c:crosses val="autoZero"/>
        <c:crossBetween val="midCat"/>
      </c:valAx>
      <c:valAx>
        <c:axId val="1594764623"/>
        <c:scaling>
          <c:orientation val="minMax"/>
          <c:max val="340"/>
          <c:min val="3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001407"/>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oke </a:t>
            </a:r>
            <a:r>
              <a:rPr lang="en-US" dirty="0" smtClean="0"/>
              <a:t>(kg) </a:t>
            </a:r>
            <a:r>
              <a:rPr lang="en-US" dirty="0"/>
              <a:t>v/s CO </a:t>
            </a:r>
            <a:r>
              <a:rPr lang="en-US" dirty="0" smtClean="0"/>
              <a:t>(Nm3)</a:t>
            </a:r>
            <a:endParaRPr lang="en-US" dirty="0"/>
          </a:p>
        </c:rich>
      </c:tx>
      <c:layout>
        <c:manualLayout>
          <c:xMode val="edge"/>
          <c:yMode val="edge"/>
          <c:x val="0.25187973897123184"/>
          <c:y val="4.043545053423083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J$1:$AJ$2</c:f>
              <c:strCache>
                <c:ptCount val="2"/>
                <c:pt idx="0">
                  <c:v>Total Coke+Nut Coke</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B$3:$AB$1137</c:f>
              <c:numCache>
                <c:formatCode>0</c:formatCode>
                <c:ptCount val="1135"/>
                <c:pt idx="0">
                  <c:v>41.382142893888293</c:v>
                </c:pt>
                <c:pt idx="1">
                  <c:v>289.25476399511342</c:v>
                </c:pt>
                <c:pt idx="2">
                  <c:v>315.36969172035964</c:v>
                </c:pt>
                <c:pt idx="3">
                  <c:v>353.94416824198885</c:v>
                </c:pt>
                <c:pt idx="4">
                  <c:v>353.15360227143026</c:v>
                </c:pt>
                <c:pt idx="5">
                  <c:v>356.71052396004188</c:v>
                </c:pt>
                <c:pt idx="6">
                  <c:v>371.46289964720063</c:v>
                </c:pt>
                <c:pt idx="7">
                  <c:v>354.53043475102362</c:v>
                </c:pt>
                <c:pt idx="8">
                  <c:v>285.03319216442293</c:v>
                </c:pt>
                <c:pt idx="9">
                  <c:v>321.72088539061775</c:v>
                </c:pt>
                <c:pt idx="10">
                  <c:v>355.20728865996784</c:v>
                </c:pt>
                <c:pt idx="11">
                  <c:v>344.58640981410167</c:v>
                </c:pt>
                <c:pt idx="12">
                  <c:v>337.35686762020401</c:v>
                </c:pt>
                <c:pt idx="13">
                  <c:v>364.99395132392692</c:v>
                </c:pt>
                <c:pt idx="14">
                  <c:v>350.10205268034088</c:v>
                </c:pt>
                <c:pt idx="15">
                  <c:v>340.2650658861416</c:v>
                </c:pt>
                <c:pt idx="16">
                  <c:v>338.53731214244215</c:v>
                </c:pt>
                <c:pt idx="17">
                  <c:v>346.49267088662123</c:v>
                </c:pt>
                <c:pt idx="18">
                  <c:v>372.09134520998606</c:v>
                </c:pt>
                <c:pt idx="19">
                  <c:v>343.42200154894215</c:v>
                </c:pt>
                <c:pt idx="20">
                  <c:v>347.60056289108081</c:v>
                </c:pt>
                <c:pt idx="21">
                  <c:v>355.74193265712177</c:v>
                </c:pt>
                <c:pt idx="22">
                  <c:v>348.56807908489844</c:v>
                </c:pt>
                <c:pt idx="23">
                  <c:v>349.45266747634861</c:v>
                </c:pt>
                <c:pt idx="24">
                  <c:v>342.67462579607582</c:v>
                </c:pt>
                <c:pt idx="25">
                  <c:v>351.43985053596407</c:v>
                </c:pt>
                <c:pt idx="26">
                  <c:v>369.09400930445878</c:v>
                </c:pt>
                <c:pt idx="27">
                  <c:v>348.32583850339461</c:v>
                </c:pt>
                <c:pt idx="28">
                  <c:v>356.84812195416964</c:v>
                </c:pt>
                <c:pt idx="29">
                  <c:v>373.02841003417205</c:v>
                </c:pt>
                <c:pt idx="30">
                  <c:v>251.28659839488753</c:v>
                </c:pt>
                <c:pt idx="31">
                  <c:v>331.0584958084396</c:v>
                </c:pt>
                <c:pt idx="32">
                  <c:v>408.96089219014073</c:v>
                </c:pt>
                <c:pt idx="33">
                  <c:v>394.52112251887678</c:v>
                </c:pt>
                <c:pt idx="34">
                  <c:v>395.29960551685224</c:v>
                </c:pt>
                <c:pt idx="35">
                  <c:v>412.45210149229473</c:v>
                </c:pt>
                <c:pt idx="36">
                  <c:v>383.40194959400156</c:v>
                </c:pt>
                <c:pt idx="37">
                  <c:v>400.96199537488349</c:v>
                </c:pt>
                <c:pt idx="38">
                  <c:v>386.25846633511037</c:v>
                </c:pt>
                <c:pt idx="39">
                  <c:v>387.59043974875408</c:v>
                </c:pt>
                <c:pt idx="40">
                  <c:v>373.31080107045096</c:v>
                </c:pt>
                <c:pt idx="41">
                  <c:v>391.49792354910113</c:v>
                </c:pt>
                <c:pt idx="42">
                  <c:v>409.37991504639922</c:v>
                </c:pt>
                <c:pt idx="43">
                  <c:v>432.67125103754381</c:v>
                </c:pt>
                <c:pt idx="44">
                  <c:v>481.10761246703242</c:v>
                </c:pt>
                <c:pt idx="45">
                  <c:v>975.51208448553905</c:v>
                </c:pt>
                <c:pt idx="46">
                  <c:v>1769.1184732451418</c:v>
                </c:pt>
                <c:pt idx="47">
                  <c:v>416.23951653366049</c:v>
                </c:pt>
                <c:pt idx="48">
                  <c:v>390.74788008731946</c:v>
                </c:pt>
                <c:pt idx="49">
                  <c:v>374.33804523041192</c:v>
                </c:pt>
                <c:pt idx="50">
                  <c:v>399.08890699329203</c:v>
                </c:pt>
                <c:pt idx="51">
                  <c:v>367.68345157216567</c:v>
                </c:pt>
                <c:pt idx="52">
                  <c:v>367.68068932638607</c:v>
                </c:pt>
                <c:pt idx="53">
                  <c:v>375.53850989397887</c:v>
                </c:pt>
                <c:pt idx="54">
                  <c:v>380.69233576984686</c:v>
                </c:pt>
                <c:pt idx="55">
                  <c:v>361.50741687253912</c:v>
                </c:pt>
                <c:pt idx="56">
                  <c:v>356.9146047309498</c:v>
                </c:pt>
                <c:pt idx="57">
                  <c:v>356.93918544328073</c:v>
                </c:pt>
                <c:pt idx="58">
                  <c:v>369.2874197579701</c:v>
                </c:pt>
                <c:pt idx="59">
                  <c:v>365.4798169655752</c:v>
                </c:pt>
                <c:pt idx="60">
                  <c:v>350.97595797770242</c:v>
                </c:pt>
                <c:pt idx="61">
                  <c:v>355.48471892776945</c:v>
                </c:pt>
                <c:pt idx="62">
                  <c:v>360.25347977719389</c:v>
                </c:pt>
                <c:pt idx="63">
                  <c:v>370.41837567045599</c:v>
                </c:pt>
                <c:pt idx="64">
                  <c:v>356.82137704374657</c:v>
                </c:pt>
                <c:pt idx="65">
                  <c:v>364.44017075738293</c:v>
                </c:pt>
                <c:pt idx="66">
                  <c:v>355.37075354983369</c:v>
                </c:pt>
                <c:pt idx="67">
                  <c:v>380.72871879028696</c:v>
                </c:pt>
                <c:pt idx="68">
                  <c:v>396.71467752438588</c:v>
                </c:pt>
                <c:pt idx="69">
                  <c:v>568.06798866741894</c:v>
                </c:pt>
                <c:pt idx="70">
                  <c:v>378.24736222177449</c:v>
                </c:pt>
                <c:pt idx="71">
                  <c:v>389.17527367730219</c:v>
                </c:pt>
                <c:pt idx="72">
                  <c:v>384.59042942004845</c:v>
                </c:pt>
                <c:pt idx="73">
                  <c:v>372.47460964243288</c:v>
                </c:pt>
                <c:pt idx="74">
                  <c:v>367.46465206726913</c:v>
                </c:pt>
                <c:pt idx="75">
                  <c:v>378.50604065445691</c:v>
                </c:pt>
                <c:pt idx="76">
                  <c:v>376.73125954147099</c:v>
                </c:pt>
                <c:pt idx="77">
                  <c:v>368.41863625381495</c:v>
                </c:pt>
                <c:pt idx="78">
                  <c:v>374.69259686039891</c:v>
                </c:pt>
                <c:pt idx="79">
                  <c:v>374.26324730218579</c:v>
                </c:pt>
                <c:pt idx="80">
                  <c:v>380.63160554349986</c:v>
                </c:pt>
                <c:pt idx="81">
                  <c:v>381.02211505808214</c:v>
                </c:pt>
                <c:pt idx="82">
                  <c:v>381.16631997153138</c:v>
                </c:pt>
                <c:pt idx="83">
                  <c:v>370.72358596799711</c:v>
                </c:pt>
                <c:pt idx="84">
                  <c:v>384.23521739115108</c:v>
                </c:pt>
                <c:pt idx="85">
                  <c:v>398.48042972601456</c:v>
                </c:pt>
                <c:pt idx="86">
                  <c:v>398.10195199695215</c:v>
                </c:pt>
                <c:pt idx="87">
                  <c:v>371.94840660703466</c:v>
                </c:pt>
                <c:pt idx="88">
                  <c:v>339.81482796315964</c:v>
                </c:pt>
                <c:pt idx="89">
                  <c:v>355.05192533882212</c:v>
                </c:pt>
                <c:pt idx="90">
                  <c:v>379.70760915809416</c:v>
                </c:pt>
                <c:pt idx="91">
                  <c:v>379.30296039997359</c:v>
                </c:pt>
                <c:pt idx="92">
                  <c:v>370.3752457977584</c:v>
                </c:pt>
                <c:pt idx="93">
                  <c:v>350.77002588888678</c:v>
                </c:pt>
                <c:pt idx="94">
                  <c:v>352.52938085797354</c:v>
                </c:pt>
                <c:pt idx="95">
                  <c:v>374.76609130865796</c:v>
                </c:pt>
                <c:pt idx="96">
                  <c:v>376.8409167159266</c:v>
                </c:pt>
                <c:pt idx="97">
                  <c:v>381.37165586715309</c:v>
                </c:pt>
                <c:pt idx="98">
                  <c:v>222.08252002639446</c:v>
                </c:pt>
                <c:pt idx="99">
                  <c:v>401.66304581496041</c:v>
                </c:pt>
                <c:pt idx="100">
                  <c:v>432.01568813575022</c:v>
                </c:pt>
                <c:pt idx="101">
                  <c:v>376.09085245786736</c:v>
                </c:pt>
                <c:pt idx="102">
                  <c:v>348.37687804459733</c:v>
                </c:pt>
                <c:pt idx="103">
                  <c:v>369.11614615203854</c:v>
                </c:pt>
                <c:pt idx="104">
                  <c:v>362.77127521795944</c:v>
                </c:pt>
                <c:pt idx="105">
                  <c:v>26.730159680159552</c:v>
                </c:pt>
                <c:pt idx="106">
                  <c:v>283.18742090116541</c:v>
                </c:pt>
                <c:pt idx="107">
                  <c:v>364.79798690130883</c:v>
                </c:pt>
                <c:pt idx="108">
                  <c:v>371.40121749551173</c:v>
                </c:pt>
                <c:pt idx="109">
                  <c:v>369.63740798218447</c:v>
                </c:pt>
                <c:pt idx="110">
                  <c:v>336.19573616268474</c:v>
                </c:pt>
                <c:pt idx="111">
                  <c:v>346.7791203359659</c:v>
                </c:pt>
                <c:pt idx="112">
                  <c:v>367.22178730291569</c:v>
                </c:pt>
                <c:pt idx="113">
                  <c:v>396.51294318741998</c:v>
                </c:pt>
                <c:pt idx="114">
                  <c:v>381.20447857977689</c:v>
                </c:pt>
                <c:pt idx="115">
                  <c:v>309.19912857577026</c:v>
                </c:pt>
                <c:pt idx="116">
                  <c:v>269.57548758440487</c:v>
                </c:pt>
                <c:pt idx="117">
                  <c:v>261.02399227149897</c:v>
                </c:pt>
                <c:pt idx="118">
                  <c:v>273.36567170340197</c:v>
                </c:pt>
                <c:pt idx="119">
                  <c:v>246.62888850979408</c:v>
                </c:pt>
                <c:pt idx="120">
                  <c:v>274.29076024707956</c:v>
                </c:pt>
                <c:pt idx="121">
                  <c:v>354.67553149952386</c:v>
                </c:pt>
                <c:pt idx="122">
                  <c:v>353.65682025110459</c:v>
                </c:pt>
                <c:pt idx="123">
                  <c:v>365.04646167953638</c:v>
                </c:pt>
                <c:pt idx="124">
                  <c:v>364.83453544559688</c:v>
                </c:pt>
                <c:pt idx="125">
                  <c:v>349.69644334967114</c:v>
                </c:pt>
                <c:pt idx="126">
                  <c:v>345.82058545190193</c:v>
                </c:pt>
                <c:pt idx="127">
                  <c:v>332.61061210997036</c:v>
                </c:pt>
                <c:pt idx="128">
                  <c:v>332.34938099079505</c:v>
                </c:pt>
                <c:pt idx="129">
                  <c:v>342.8454689952157</c:v>
                </c:pt>
                <c:pt idx="130">
                  <c:v>350.8322846828429</c:v>
                </c:pt>
                <c:pt idx="131">
                  <c:v>350.61827074090354</c:v>
                </c:pt>
                <c:pt idx="132">
                  <c:v>347.57874060414184</c:v>
                </c:pt>
                <c:pt idx="133">
                  <c:v>357.7500822995039</c:v>
                </c:pt>
                <c:pt idx="134">
                  <c:v>368.57775718980065</c:v>
                </c:pt>
                <c:pt idx="135">
                  <c:v>353.61629146712255</c:v>
                </c:pt>
                <c:pt idx="136">
                  <c:v>343.44789214925845</c:v>
                </c:pt>
                <c:pt idx="137">
                  <c:v>343.75714222816356</c:v>
                </c:pt>
                <c:pt idx="138">
                  <c:v>328.03754600023484</c:v>
                </c:pt>
                <c:pt idx="139">
                  <c:v>321.33421632199452</c:v>
                </c:pt>
                <c:pt idx="140">
                  <c:v>326.37110326743124</c:v>
                </c:pt>
                <c:pt idx="141">
                  <c:v>404.98354994463108</c:v>
                </c:pt>
                <c:pt idx="142">
                  <c:v>480.3561269520136</c:v>
                </c:pt>
                <c:pt idx="143">
                  <c:v>547.6192501094356</c:v>
                </c:pt>
                <c:pt idx="144">
                  <c:v>1073.2751725605506</c:v>
                </c:pt>
                <c:pt idx="145">
                  <c:v>44577.402760833465</c:v>
                </c:pt>
                <c:pt idx="146">
                  <c:v>0</c:v>
                </c:pt>
                <c:pt idx="147">
                  <c:v>0</c:v>
                </c:pt>
                <c:pt idx="148">
                  <c:v>0</c:v>
                </c:pt>
                <c:pt idx="149">
                  <c:v>2082.6074434897441</c:v>
                </c:pt>
                <c:pt idx="150">
                  <c:v>450.05773790472227</c:v>
                </c:pt>
                <c:pt idx="151">
                  <c:v>393.23971204457195</c:v>
                </c:pt>
                <c:pt idx="152">
                  <c:v>373.05745225227383</c:v>
                </c:pt>
                <c:pt idx="153">
                  <c:v>363.84526538652852</c:v>
                </c:pt>
                <c:pt idx="154">
                  <c:v>365.10240663443449</c:v>
                </c:pt>
                <c:pt idx="155">
                  <c:v>368.80680442133388</c:v>
                </c:pt>
                <c:pt idx="156">
                  <c:v>380.46578895875984</c:v>
                </c:pt>
                <c:pt idx="157">
                  <c:v>383.61553017700845</c:v>
                </c:pt>
                <c:pt idx="158">
                  <c:v>389.47294306646359</c:v>
                </c:pt>
                <c:pt idx="159">
                  <c:v>387.35952583609372</c:v>
                </c:pt>
                <c:pt idx="160">
                  <c:v>392.43130523048058</c:v>
                </c:pt>
                <c:pt idx="161">
                  <c:v>399.49924127260726</c:v>
                </c:pt>
                <c:pt idx="162">
                  <c:v>410.4729063352774</c:v>
                </c:pt>
                <c:pt idx="163">
                  <c:v>383.77942405984396</c:v>
                </c:pt>
                <c:pt idx="164">
                  <c:v>378.54948490427518</c:v>
                </c:pt>
                <c:pt idx="165">
                  <c:v>373.34744072943226</c:v>
                </c:pt>
                <c:pt idx="166">
                  <c:v>382.6387852970276</c:v>
                </c:pt>
                <c:pt idx="167">
                  <c:v>378.1377225160507</c:v>
                </c:pt>
                <c:pt idx="168">
                  <c:v>379.75865659034923</c:v>
                </c:pt>
                <c:pt idx="169">
                  <c:v>358.79791765905816</c:v>
                </c:pt>
                <c:pt idx="170">
                  <c:v>349.85297650183594</c:v>
                </c:pt>
                <c:pt idx="171">
                  <c:v>346.67669161157971</c:v>
                </c:pt>
                <c:pt idx="172">
                  <c:v>341.54223847484417</c:v>
                </c:pt>
                <c:pt idx="173">
                  <c:v>360.41383207912224</c:v>
                </c:pt>
                <c:pt idx="174">
                  <c:v>371.43605869297181</c:v>
                </c:pt>
                <c:pt idx="175">
                  <c:v>363.49998305709732</c:v>
                </c:pt>
                <c:pt idx="176">
                  <c:v>383.84318767882132</c:v>
                </c:pt>
                <c:pt idx="177">
                  <c:v>394.32463841207709</c:v>
                </c:pt>
                <c:pt idx="178">
                  <c:v>356.72331192696419</c:v>
                </c:pt>
                <c:pt idx="179">
                  <c:v>371.6074345067999</c:v>
                </c:pt>
                <c:pt idx="180">
                  <c:v>361.83429374892017</c:v>
                </c:pt>
                <c:pt idx="181">
                  <c:v>348.27284440209888</c:v>
                </c:pt>
                <c:pt idx="182">
                  <c:v>361.80477668378381</c:v>
                </c:pt>
                <c:pt idx="183">
                  <c:v>345.87913721283479</c:v>
                </c:pt>
                <c:pt idx="184">
                  <c:v>354.7321126532625</c:v>
                </c:pt>
                <c:pt idx="185">
                  <c:v>356.23252315225335</c:v>
                </c:pt>
                <c:pt idx="186">
                  <c:v>349.04111131477453</c:v>
                </c:pt>
                <c:pt idx="187">
                  <c:v>355.52812547965692</c:v>
                </c:pt>
                <c:pt idx="188">
                  <c:v>333.90648715279951</c:v>
                </c:pt>
                <c:pt idx="189">
                  <c:v>346.9177887504303</c:v>
                </c:pt>
                <c:pt idx="190">
                  <c:v>349.28029670539041</c:v>
                </c:pt>
                <c:pt idx="191">
                  <c:v>339.74227793107923</c:v>
                </c:pt>
                <c:pt idx="192">
                  <c:v>344.48569450418347</c:v>
                </c:pt>
                <c:pt idx="193">
                  <c:v>342.13044129185096</c:v>
                </c:pt>
                <c:pt idx="194">
                  <c:v>350.45138505190937</c:v>
                </c:pt>
                <c:pt idx="195">
                  <c:v>353.4740917348737</c:v>
                </c:pt>
                <c:pt idx="196">
                  <c:v>342.44471663651103</c:v>
                </c:pt>
                <c:pt idx="197">
                  <c:v>340.55674441552412</c:v>
                </c:pt>
                <c:pt idx="198">
                  <c:v>343.20217875698199</c:v>
                </c:pt>
                <c:pt idx="199">
                  <c:v>337.44415620427191</c:v>
                </c:pt>
                <c:pt idx="200">
                  <c:v>342.23283867229236</c:v>
                </c:pt>
                <c:pt idx="201">
                  <c:v>339.48856471978098</c:v>
                </c:pt>
                <c:pt idx="202">
                  <c:v>341.05946609141381</c:v>
                </c:pt>
                <c:pt idx="203">
                  <c:v>339.31572523467429</c:v>
                </c:pt>
                <c:pt idx="204">
                  <c:v>345.57772783081703</c:v>
                </c:pt>
                <c:pt idx="205">
                  <c:v>349.85671334960313</c:v>
                </c:pt>
                <c:pt idx="206">
                  <c:v>363.90549484901857</c:v>
                </c:pt>
                <c:pt idx="207">
                  <c:v>374.59563686935678</c:v>
                </c:pt>
                <c:pt idx="208">
                  <c:v>377.21216749735362</c:v>
                </c:pt>
                <c:pt idx="209">
                  <c:v>388.89328782616212</c:v>
                </c:pt>
                <c:pt idx="210">
                  <c:v>359.92725268660365</c:v>
                </c:pt>
                <c:pt idx="211">
                  <c:v>372.47005955767088</c:v>
                </c:pt>
                <c:pt idx="212">
                  <c:v>380.16306112700505</c:v>
                </c:pt>
                <c:pt idx="213">
                  <c:v>385.15704916356685</c:v>
                </c:pt>
                <c:pt idx="214">
                  <c:v>386.11457191341839</c:v>
                </c:pt>
                <c:pt idx="215">
                  <c:v>350.07113578310583</c:v>
                </c:pt>
                <c:pt idx="216">
                  <c:v>44.54781094400763</c:v>
                </c:pt>
                <c:pt idx="217">
                  <c:v>0</c:v>
                </c:pt>
                <c:pt idx="218">
                  <c:v>0</c:v>
                </c:pt>
                <c:pt idx="219">
                  <c:v>0</c:v>
                </c:pt>
                <c:pt idx="220">
                  <c:v>50.820981965991287</c:v>
                </c:pt>
                <c:pt idx="221">
                  <c:v>336.93525200405321</c:v>
                </c:pt>
                <c:pt idx="222">
                  <c:v>293.19459106467787</c:v>
                </c:pt>
                <c:pt idx="223">
                  <c:v>312.06341755660594</c:v>
                </c:pt>
                <c:pt idx="224">
                  <c:v>335.00531317622858</c:v>
                </c:pt>
                <c:pt idx="225">
                  <c:v>348.08015963520364</c:v>
                </c:pt>
                <c:pt idx="226">
                  <c:v>371.61334886866933</c:v>
                </c:pt>
                <c:pt idx="227">
                  <c:v>345.22722456933138</c:v>
                </c:pt>
                <c:pt idx="228">
                  <c:v>344.40563211072896</c:v>
                </c:pt>
                <c:pt idx="229">
                  <c:v>341.42806956811978</c:v>
                </c:pt>
                <c:pt idx="230">
                  <c:v>364.96927554145373</c:v>
                </c:pt>
                <c:pt idx="231">
                  <c:v>346.50127431229248</c:v>
                </c:pt>
                <c:pt idx="232">
                  <c:v>358.46331925353257</c:v>
                </c:pt>
                <c:pt idx="233">
                  <c:v>369.36031480711063</c:v>
                </c:pt>
                <c:pt idx="234">
                  <c:v>364.62805147842499</c:v>
                </c:pt>
                <c:pt idx="235">
                  <c:v>369.18642925805148</c:v>
                </c:pt>
                <c:pt idx="236">
                  <c:v>367.28755644185031</c:v>
                </c:pt>
                <c:pt idx="237">
                  <c:v>371.07285472981596</c:v>
                </c:pt>
                <c:pt idx="238">
                  <c:v>370.47644694547165</c:v>
                </c:pt>
                <c:pt idx="239">
                  <c:v>369.57643806888694</c:v>
                </c:pt>
                <c:pt idx="240">
                  <c:v>394.39265885980842</c:v>
                </c:pt>
                <c:pt idx="241">
                  <c:v>378.90204099165027</c:v>
                </c:pt>
                <c:pt idx="242">
                  <c:v>376.92950286877311</c:v>
                </c:pt>
                <c:pt idx="243">
                  <c:v>388.13851376700188</c:v>
                </c:pt>
                <c:pt idx="244">
                  <c:v>409.07601140768196</c:v>
                </c:pt>
                <c:pt idx="245">
                  <c:v>484.99073950451839</c:v>
                </c:pt>
                <c:pt idx="246">
                  <c:v>606.37592648610087</c:v>
                </c:pt>
                <c:pt idx="247">
                  <c:v>549.01665731414425</c:v>
                </c:pt>
                <c:pt idx="248">
                  <c:v>547.42751151143636</c:v>
                </c:pt>
                <c:pt idx="249">
                  <c:v>488.51176415476493</c:v>
                </c:pt>
                <c:pt idx="250">
                  <c:v>496.64514356853726</c:v>
                </c:pt>
                <c:pt idx="251">
                  <c:v>411.55016089963078</c:v>
                </c:pt>
                <c:pt idx="252">
                  <c:v>374.80597858672957</c:v>
                </c:pt>
                <c:pt idx="253">
                  <c:v>413.13406786585091</c:v>
                </c:pt>
                <c:pt idx="254">
                  <c:v>412.36193626154824</c:v>
                </c:pt>
                <c:pt idx="255">
                  <c:v>437.46803511844644</c:v>
                </c:pt>
                <c:pt idx="256">
                  <c:v>370.86604888598856</c:v>
                </c:pt>
                <c:pt idx="257">
                  <c:v>375.2788403178738</c:v>
                </c:pt>
                <c:pt idx="258">
                  <c:v>398.76635804709952</c:v>
                </c:pt>
                <c:pt idx="259">
                  <c:v>591.45102121658761</c:v>
                </c:pt>
                <c:pt idx="260">
                  <c:v>1971.3273859151222</c:v>
                </c:pt>
                <c:pt idx="261">
                  <c:v>401.18420262490582</c:v>
                </c:pt>
                <c:pt idx="262">
                  <c:v>407.15062919503555</c:v>
                </c:pt>
                <c:pt idx="263">
                  <c:v>419.05773780701605</c:v>
                </c:pt>
                <c:pt idx="264">
                  <c:v>395.10206432185061</c:v>
                </c:pt>
                <c:pt idx="265">
                  <c:v>333.09838948006194</c:v>
                </c:pt>
                <c:pt idx="266">
                  <c:v>378.3385801190031</c:v>
                </c:pt>
                <c:pt idx="267">
                  <c:v>592.23680759643582</c:v>
                </c:pt>
                <c:pt idx="268">
                  <c:v>366.04201536787588</c:v>
                </c:pt>
                <c:pt idx="269">
                  <c:v>373.89711194300196</c:v>
                </c:pt>
                <c:pt idx="270">
                  <c:v>380.61745909229677</c:v>
                </c:pt>
                <c:pt idx="271">
                  <c:v>387.59761226041468</c:v>
                </c:pt>
                <c:pt idx="272">
                  <c:v>369.37995293747974</c:v>
                </c:pt>
                <c:pt idx="273">
                  <c:v>368.35698716404823</c:v>
                </c:pt>
                <c:pt idx="274">
                  <c:v>372.72576257692964</c:v>
                </c:pt>
                <c:pt idx="275">
                  <c:v>381.34643868228198</c:v>
                </c:pt>
                <c:pt idx="276">
                  <c:v>365.59714824568442</c:v>
                </c:pt>
                <c:pt idx="277">
                  <c:v>370.7388964606933</c:v>
                </c:pt>
                <c:pt idx="278">
                  <c:v>385.62769431605517</c:v>
                </c:pt>
                <c:pt idx="279">
                  <c:v>371.93342350423745</c:v>
                </c:pt>
                <c:pt idx="280">
                  <c:v>356.42351928521549</c:v>
                </c:pt>
                <c:pt idx="281">
                  <c:v>368.83804988329564</c:v>
                </c:pt>
                <c:pt idx="282">
                  <c:v>362.80710712427839</c:v>
                </c:pt>
                <c:pt idx="283">
                  <c:v>355.65803614696807</c:v>
                </c:pt>
                <c:pt idx="284">
                  <c:v>362.33368402022245</c:v>
                </c:pt>
                <c:pt idx="285">
                  <c:v>363.08005684929907</c:v>
                </c:pt>
                <c:pt idx="286">
                  <c:v>358.69773480348249</c:v>
                </c:pt>
                <c:pt idx="287">
                  <c:v>357.43679531488709</c:v>
                </c:pt>
                <c:pt idx="288">
                  <c:v>361.58287367300727</c:v>
                </c:pt>
                <c:pt idx="289">
                  <c:v>357.68284310717348</c:v>
                </c:pt>
                <c:pt idx="290">
                  <c:v>347.04756447660657</c:v>
                </c:pt>
                <c:pt idx="291">
                  <c:v>387.02201818791258</c:v>
                </c:pt>
                <c:pt idx="292">
                  <c:v>373.99722251237165</c:v>
                </c:pt>
                <c:pt idx="293">
                  <c:v>362.30442564382298</c:v>
                </c:pt>
                <c:pt idx="294">
                  <c:v>357.39399837052406</c:v>
                </c:pt>
                <c:pt idx="295">
                  <c:v>364.08676745096568</c:v>
                </c:pt>
                <c:pt idx="296">
                  <c:v>202.29544232573622</c:v>
                </c:pt>
                <c:pt idx="297">
                  <c:v>328.91608416018619</c:v>
                </c:pt>
                <c:pt idx="298">
                  <c:v>347.39199384612078</c:v>
                </c:pt>
                <c:pt idx="299">
                  <c:v>361.40706477778633</c:v>
                </c:pt>
                <c:pt idx="300">
                  <c:v>367.01516151852309</c:v>
                </c:pt>
                <c:pt idx="301">
                  <c:v>364.9043948961114</c:v>
                </c:pt>
                <c:pt idx="302">
                  <c:v>354.22362864729519</c:v>
                </c:pt>
                <c:pt idx="303">
                  <c:v>348.94279549010554</c:v>
                </c:pt>
                <c:pt idx="304">
                  <c:v>359.75870371927715</c:v>
                </c:pt>
                <c:pt idx="305">
                  <c:v>336.09139612959382</c:v>
                </c:pt>
                <c:pt idx="306">
                  <c:v>353.52469872358915</c:v>
                </c:pt>
                <c:pt idx="307">
                  <c:v>350.53005328563245</c:v>
                </c:pt>
                <c:pt idx="308">
                  <c:v>358.31339351564122</c:v>
                </c:pt>
                <c:pt idx="309">
                  <c:v>354.60039208426866</c:v>
                </c:pt>
                <c:pt idx="310">
                  <c:v>345.43480016458079</c:v>
                </c:pt>
                <c:pt idx="311">
                  <c:v>334.25503327487445</c:v>
                </c:pt>
                <c:pt idx="312">
                  <c:v>341.66404671298875</c:v>
                </c:pt>
                <c:pt idx="313">
                  <c:v>343.84963803766942</c:v>
                </c:pt>
                <c:pt idx="314">
                  <c:v>347.53032015913521</c:v>
                </c:pt>
                <c:pt idx="315">
                  <c:v>310.45195167120642</c:v>
                </c:pt>
                <c:pt idx="316">
                  <c:v>351.9387872452121</c:v>
                </c:pt>
                <c:pt idx="317">
                  <c:v>340.30374451779915</c:v>
                </c:pt>
                <c:pt idx="318">
                  <c:v>306.77506412065429</c:v>
                </c:pt>
                <c:pt idx="319">
                  <c:v>24.23758664137214</c:v>
                </c:pt>
                <c:pt idx="320">
                  <c:v>151.29781275918151</c:v>
                </c:pt>
                <c:pt idx="321">
                  <c:v>282.800702637906</c:v>
                </c:pt>
                <c:pt idx="322">
                  <c:v>330.84234372390023</c:v>
                </c:pt>
                <c:pt idx="323">
                  <c:v>328.94401912902504</c:v>
                </c:pt>
                <c:pt idx="324">
                  <c:v>334.31518791068834</c:v>
                </c:pt>
                <c:pt idx="325">
                  <c:v>332.49966213858505</c:v>
                </c:pt>
                <c:pt idx="326">
                  <c:v>333.40563696132983</c:v>
                </c:pt>
                <c:pt idx="327">
                  <c:v>334.37495530292517</c:v>
                </c:pt>
                <c:pt idx="328">
                  <c:v>326.08539947416585</c:v>
                </c:pt>
                <c:pt idx="329">
                  <c:v>327.89382309828068</c:v>
                </c:pt>
                <c:pt idx="330">
                  <c:v>309.29598935774271</c:v>
                </c:pt>
                <c:pt idx="331">
                  <c:v>343.17847522772303</c:v>
                </c:pt>
                <c:pt idx="332">
                  <c:v>333.12845183642764</c:v>
                </c:pt>
                <c:pt idx="333">
                  <c:v>325.12899288309791</c:v>
                </c:pt>
                <c:pt idx="334">
                  <c:v>409.36196568857832</c:v>
                </c:pt>
                <c:pt idx="335">
                  <c:v>506.33863280675422</c:v>
                </c:pt>
                <c:pt idx="336">
                  <c:v>339.14860467476427</c:v>
                </c:pt>
                <c:pt idx="337">
                  <c:v>335.41791228210963</c:v>
                </c:pt>
                <c:pt idx="338">
                  <c:v>342.8657316978838</c:v>
                </c:pt>
                <c:pt idx="339">
                  <c:v>322.71336550960035</c:v>
                </c:pt>
                <c:pt idx="340">
                  <c:v>318.17644880594298</c:v>
                </c:pt>
                <c:pt idx="341">
                  <c:v>320.40694239183097</c:v>
                </c:pt>
                <c:pt idx="342">
                  <c:v>316.58912769824792</c:v>
                </c:pt>
                <c:pt idx="343">
                  <c:v>316.64255940291639</c:v>
                </c:pt>
                <c:pt idx="344">
                  <c:v>312.20297366893629</c:v>
                </c:pt>
                <c:pt idx="345">
                  <c:v>324.60714182053317</c:v>
                </c:pt>
                <c:pt idx="346">
                  <c:v>322.59783288742</c:v>
                </c:pt>
                <c:pt idx="347">
                  <c:v>299.43208257039095</c:v>
                </c:pt>
                <c:pt idx="348">
                  <c:v>313.27140653151542</c:v>
                </c:pt>
                <c:pt idx="349">
                  <c:v>317.14080427490438</c:v>
                </c:pt>
                <c:pt idx="350">
                  <c:v>321.90362430546111</c:v>
                </c:pt>
                <c:pt idx="351">
                  <c:v>316.43490228274572</c:v>
                </c:pt>
                <c:pt idx="352">
                  <c:v>328.10382513928448</c:v>
                </c:pt>
                <c:pt idx="353">
                  <c:v>325.94500523043848</c:v>
                </c:pt>
                <c:pt idx="354">
                  <c:v>321.87884894166604</c:v>
                </c:pt>
                <c:pt idx="355">
                  <c:v>315.36524100858577</c:v>
                </c:pt>
                <c:pt idx="356">
                  <c:v>363.40593021802846</c:v>
                </c:pt>
                <c:pt idx="357">
                  <c:v>383.45682811193569</c:v>
                </c:pt>
                <c:pt idx="358">
                  <c:v>315.5866617954436</c:v>
                </c:pt>
                <c:pt idx="359">
                  <c:v>314.95079947052022</c:v>
                </c:pt>
                <c:pt idx="360">
                  <c:v>316.47000683808454</c:v>
                </c:pt>
                <c:pt idx="361">
                  <c:v>316.41540508778098</c:v>
                </c:pt>
                <c:pt idx="362">
                  <c:v>310.93176406253878</c:v>
                </c:pt>
                <c:pt idx="363">
                  <c:v>377.4348353856156</c:v>
                </c:pt>
                <c:pt idx="364">
                  <c:v>508.54480383443052</c:v>
                </c:pt>
                <c:pt idx="365">
                  <c:v>1626.9131510883394</c:v>
                </c:pt>
                <c:pt idx="366">
                  <c:v>366.1923336443657</c:v>
                </c:pt>
                <c:pt idx="367">
                  <c:v>366.32061184752621</c:v>
                </c:pt>
                <c:pt idx="368">
                  <c:v>373.10781271947747</c:v>
                </c:pt>
                <c:pt idx="369">
                  <c:v>372.65409704078888</c:v>
                </c:pt>
                <c:pt idx="370">
                  <c:v>63.244498171710696</c:v>
                </c:pt>
                <c:pt idx="371">
                  <c:v>31.454895058243245</c:v>
                </c:pt>
                <c:pt idx="372">
                  <c:v>316.58084594276187</c:v>
                </c:pt>
                <c:pt idx="373">
                  <c:v>348.57132848025321</c:v>
                </c:pt>
                <c:pt idx="374">
                  <c:v>340.64310765060202</c:v>
                </c:pt>
                <c:pt idx="375">
                  <c:v>356.88680757489431</c:v>
                </c:pt>
                <c:pt idx="376">
                  <c:v>327.20818156355125</c:v>
                </c:pt>
                <c:pt idx="377">
                  <c:v>343.77429343241067</c:v>
                </c:pt>
                <c:pt idx="378">
                  <c:v>343.33391051527661</c:v>
                </c:pt>
                <c:pt idx="379">
                  <c:v>344.26713415189948</c:v>
                </c:pt>
                <c:pt idx="380">
                  <c:v>344.08645157524643</c:v>
                </c:pt>
                <c:pt idx="381">
                  <c:v>335.53871371161785</c:v>
                </c:pt>
                <c:pt idx="382">
                  <c:v>327.84068099170645</c:v>
                </c:pt>
                <c:pt idx="383">
                  <c:v>342.02577093770702</c:v>
                </c:pt>
                <c:pt idx="384">
                  <c:v>332.49175990876137</c:v>
                </c:pt>
                <c:pt idx="385">
                  <c:v>339.93024920820261</c:v>
                </c:pt>
                <c:pt idx="386">
                  <c:v>340.84079956534896</c:v>
                </c:pt>
                <c:pt idx="387">
                  <c:v>332.09956630679153</c:v>
                </c:pt>
                <c:pt idx="388">
                  <c:v>337.05972234107981</c:v>
                </c:pt>
                <c:pt idx="389">
                  <c:v>349.30680424400373</c:v>
                </c:pt>
                <c:pt idx="390">
                  <c:v>321.8256816548103</c:v>
                </c:pt>
                <c:pt idx="391">
                  <c:v>337.89607370759285</c:v>
                </c:pt>
                <c:pt idx="392">
                  <c:v>341.42186482371363</c:v>
                </c:pt>
                <c:pt idx="393">
                  <c:v>334.75005762465878</c:v>
                </c:pt>
                <c:pt idx="394">
                  <c:v>316.43692604114062</c:v>
                </c:pt>
                <c:pt idx="395">
                  <c:v>323.90512337052814</c:v>
                </c:pt>
                <c:pt idx="396">
                  <c:v>341.8559406098226</c:v>
                </c:pt>
                <c:pt idx="397">
                  <c:v>336.33874260671291</c:v>
                </c:pt>
                <c:pt idx="398">
                  <c:v>344.09239601810384</c:v>
                </c:pt>
                <c:pt idx="399">
                  <c:v>332.77208188899931</c:v>
                </c:pt>
                <c:pt idx="400">
                  <c:v>338.53250464161852</c:v>
                </c:pt>
                <c:pt idx="401">
                  <c:v>333.18284678991949</c:v>
                </c:pt>
                <c:pt idx="402">
                  <c:v>330.33355958448567</c:v>
                </c:pt>
                <c:pt idx="403">
                  <c:v>336.42450882574542</c:v>
                </c:pt>
                <c:pt idx="404">
                  <c:v>343.19087364681167</c:v>
                </c:pt>
                <c:pt idx="405">
                  <c:v>344.6061096480646</c:v>
                </c:pt>
                <c:pt idx="406">
                  <c:v>341.34200315033286</c:v>
                </c:pt>
                <c:pt idx="407">
                  <c:v>343.77974176091152</c:v>
                </c:pt>
                <c:pt idx="408">
                  <c:v>354.56912920378034</c:v>
                </c:pt>
                <c:pt idx="409">
                  <c:v>340.96731947118963</c:v>
                </c:pt>
                <c:pt idx="410">
                  <c:v>346.92353703682397</c:v>
                </c:pt>
                <c:pt idx="411">
                  <c:v>348.47087415276604</c:v>
                </c:pt>
                <c:pt idx="412">
                  <c:v>367.49510090472313</c:v>
                </c:pt>
                <c:pt idx="413">
                  <c:v>362.10513792802158</c:v>
                </c:pt>
                <c:pt idx="414">
                  <c:v>387.6307346128109</c:v>
                </c:pt>
                <c:pt idx="415">
                  <c:v>398.16564013804663</c:v>
                </c:pt>
                <c:pt idx="416">
                  <c:v>407.14599882352064</c:v>
                </c:pt>
                <c:pt idx="417">
                  <c:v>393.95889894571741</c:v>
                </c:pt>
                <c:pt idx="418">
                  <c:v>370.55467933253243</c:v>
                </c:pt>
                <c:pt idx="419">
                  <c:v>376.66099786136039</c:v>
                </c:pt>
                <c:pt idx="420">
                  <c:v>369.97660572118974</c:v>
                </c:pt>
                <c:pt idx="421">
                  <c:v>366.79685805983934</c:v>
                </c:pt>
                <c:pt idx="422">
                  <c:v>370.91587706021278</c:v>
                </c:pt>
                <c:pt idx="423">
                  <c:v>365.92123390324133</c:v>
                </c:pt>
                <c:pt idx="424">
                  <c:v>357.39366395984928</c:v>
                </c:pt>
                <c:pt idx="425">
                  <c:v>367.20897531526617</c:v>
                </c:pt>
                <c:pt idx="426">
                  <c:v>359.5998695563747</c:v>
                </c:pt>
                <c:pt idx="427">
                  <c:v>359.44742839213336</c:v>
                </c:pt>
                <c:pt idx="428">
                  <c:v>353.7808704637697</c:v>
                </c:pt>
                <c:pt idx="429">
                  <c:v>355.68145799297491</c:v>
                </c:pt>
                <c:pt idx="430">
                  <c:v>354.08646184216957</c:v>
                </c:pt>
                <c:pt idx="431">
                  <c:v>347.76541382484794</c:v>
                </c:pt>
                <c:pt idx="432">
                  <c:v>337.22911693970542</c:v>
                </c:pt>
                <c:pt idx="433">
                  <c:v>355.32924868843708</c:v>
                </c:pt>
                <c:pt idx="434">
                  <c:v>359.28933172598624</c:v>
                </c:pt>
                <c:pt idx="435">
                  <c:v>359.64164951879047</c:v>
                </c:pt>
                <c:pt idx="436">
                  <c:v>363.45388286723323</c:v>
                </c:pt>
                <c:pt idx="437">
                  <c:v>367.73695315575213</c:v>
                </c:pt>
                <c:pt idx="438">
                  <c:v>361.40243947356419</c:v>
                </c:pt>
                <c:pt idx="439">
                  <c:v>364.00877448507492</c:v>
                </c:pt>
                <c:pt idx="440">
                  <c:v>354.83829818901376</c:v>
                </c:pt>
                <c:pt idx="441">
                  <c:v>229.57508709502574</c:v>
                </c:pt>
                <c:pt idx="442">
                  <c:v>350.99516223375554</c:v>
                </c:pt>
                <c:pt idx="443">
                  <c:v>355.08954306655437</c:v>
                </c:pt>
                <c:pt idx="444">
                  <c:v>355.09746339553135</c:v>
                </c:pt>
                <c:pt idx="445">
                  <c:v>349.1847611220951</c:v>
                </c:pt>
                <c:pt idx="446">
                  <c:v>356.8273121125265</c:v>
                </c:pt>
                <c:pt idx="447">
                  <c:v>377.27054275327419</c:v>
                </c:pt>
                <c:pt idx="448">
                  <c:v>376.56415685887373</c:v>
                </c:pt>
                <c:pt idx="449">
                  <c:v>380.18831549830878</c:v>
                </c:pt>
                <c:pt idx="450">
                  <c:v>363.38952262999112</c:v>
                </c:pt>
                <c:pt idx="451">
                  <c:v>355.38039616479529</c:v>
                </c:pt>
                <c:pt idx="452">
                  <c:v>348.41170561069242</c:v>
                </c:pt>
                <c:pt idx="453">
                  <c:v>64.016534654598061</c:v>
                </c:pt>
                <c:pt idx="454">
                  <c:v>0</c:v>
                </c:pt>
                <c:pt idx="455">
                  <c:v>75.701765059500048</c:v>
                </c:pt>
                <c:pt idx="456">
                  <c:v>318.83816483328798</c:v>
                </c:pt>
                <c:pt idx="457">
                  <c:v>369.36491318012537</c:v>
                </c:pt>
                <c:pt idx="458">
                  <c:v>365.08630230064483</c:v>
                </c:pt>
                <c:pt idx="459">
                  <c:v>380.00300743666241</c:v>
                </c:pt>
                <c:pt idx="460">
                  <c:v>373.22470186119261</c:v>
                </c:pt>
                <c:pt idx="461">
                  <c:v>374.52232465793821</c:v>
                </c:pt>
                <c:pt idx="462">
                  <c:v>365.08431987360609</c:v>
                </c:pt>
                <c:pt idx="463">
                  <c:v>365.73900160652181</c:v>
                </c:pt>
                <c:pt idx="464">
                  <c:v>376.72278970231446</c:v>
                </c:pt>
                <c:pt idx="465">
                  <c:v>380.41730843493082</c:v>
                </c:pt>
                <c:pt idx="466">
                  <c:v>387.19063017819985</c:v>
                </c:pt>
                <c:pt idx="467">
                  <c:v>492.26656936470732</c:v>
                </c:pt>
                <c:pt idx="468">
                  <c:v>1658.8064246274539</c:v>
                </c:pt>
                <c:pt idx="469">
                  <c:v>342.73139928733156</c:v>
                </c:pt>
                <c:pt idx="470">
                  <c:v>338.80215650904785</c:v>
                </c:pt>
                <c:pt idx="471">
                  <c:v>350.64752616793589</c:v>
                </c:pt>
                <c:pt idx="472">
                  <c:v>360.61024357518801</c:v>
                </c:pt>
                <c:pt idx="473">
                  <c:v>373.09970615769174</c:v>
                </c:pt>
                <c:pt idx="474">
                  <c:v>357.0979186836293</c:v>
                </c:pt>
                <c:pt idx="475">
                  <c:v>339.44653829772113</c:v>
                </c:pt>
                <c:pt idx="476">
                  <c:v>340.64251092160276</c:v>
                </c:pt>
                <c:pt idx="477">
                  <c:v>353.78168094095389</c:v>
                </c:pt>
                <c:pt idx="478">
                  <c:v>338.17559940447342</c:v>
                </c:pt>
                <c:pt idx="479">
                  <c:v>342.86134876577239</c:v>
                </c:pt>
                <c:pt idx="480">
                  <c:v>354.95032085166122</c:v>
                </c:pt>
                <c:pt idx="481">
                  <c:v>361.9526012306676</c:v>
                </c:pt>
                <c:pt idx="482">
                  <c:v>358.9520133117187</c:v>
                </c:pt>
                <c:pt idx="483">
                  <c:v>366.00667528161853</c:v>
                </c:pt>
                <c:pt idx="484">
                  <c:v>331.82349206714423</c:v>
                </c:pt>
                <c:pt idx="485">
                  <c:v>372.92443980756929</c:v>
                </c:pt>
                <c:pt idx="486">
                  <c:v>351.43548108467212</c:v>
                </c:pt>
                <c:pt idx="487">
                  <c:v>358.18350531478239</c:v>
                </c:pt>
                <c:pt idx="488">
                  <c:v>350.1011857010987</c:v>
                </c:pt>
                <c:pt idx="489">
                  <c:v>349.11748526938811</c:v>
                </c:pt>
                <c:pt idx="490">
                  <c:v>364.37802158073396</c:v>
                </c:pt>
                <c:pt idx="491">
                  <c:v>359.73726392005142</c:v>
                </c:pt>
                <c:pt idx="492">
                  <c:v>365.20433911130891</c:v>
                </c:pt>
                <c:pt idx="493">
                  <c:v>476.91906481069287</c:v>
                </c:pt>
                <c:pt idx="494">
                  <c:v>593.3493473104611</c:v>
                </c:pt>
                <c:pt idx="495">
                  <c:v>1214.2692572280787</c:v>
                </c:pt>
                <c:pt idx="496">
                  <c:v>1505.2078861953989</c:v>
                </c:pt>
                <c:pt idx="497">
                  <c:v>0</c:v>
                </c:pt>
                <c:pt idx="498">
                  <c:v>11316.420766194698</c:v>
                </c:pt>
                <c:pt idx="499">
                  <c:v>358.01196207231186</c:v>
                </c:pt>
                <c:pt idx="500">
                  <c:v>342.34019861409922</c:v>
                </c:pt>
                <c:pt idx="501">
                  <c:v>350.21904916339031</c:v>
                </c:pt>
                <c:pt idx="502">
                  <c:v>346.71635897722479</c:v>
                </c:pt>
                <c:pt idx="503">
                  <c:v>335.48770411709029</c:v>
                </c:pt>
                <c:pt idx="504">
                  <c:v>353.71877207831955</c:v>
                </c:pt>
                <c:pt idx="505">
                  <c:v>351.39619784801567</c:v>
                </c:pt>
                <c:pt idx="506">
                  <c:v>641.23583569015864</c:v>
                </c:pt>
                <c:pt idx="507">
                  <c:v>351.63912497113404</c:v>
                </c:pt>
                <c:pt idx="508">
                  <c:v>369.07807264703212</c:v>
                </c:pt>
                <c:pt idx="509">
                  <c:v>347.92189429660237</c:v>
                </c:pt>
                <c:pt idx="510">
                  <c:v>332.17865718040275</c:v>
                </c:pt>
                <c:pt idx="511">
                  <c:v>343.00928614684119</c:v>
                </c:pt>
                <c:pt idx="512">
                  <c:v>352.76872065598923</c:v>
                </c:pt>
                <c:pt idx="513">
                  <c:v>347.98351516284811</c:v>
                </c:pt>
                <c:pt idx="514">
                  <c:v>354.29068803649193</c:v>
                </c:pt>
                <c:pt idx="515">
                  <c:v>344.40533501617404</c:v>
                </c:pt>
                <c:pt idx="516">
                  <c:v>343.16770453656414</c:v>
                </c:pt>
                <c:pt idx="517">
                  <c:v>349.39433825125678</c:v>
                </c:pt>
                <c:pt idx="518">
                  <c:v>350.34827927677907</c:v>
                </c:pt>
                <c:pt idx="519">
                  <c:v>343.31935707382758</c:v>
                </c:pt>
                <c:pt idx="520">
                  <c:v>341.9869211879971</c:v>
                </c:pt>
                <c:pt idx="521">
                  <c:v>347.74054220292697</c:v>
                </c:pt>
                <c:pt idx="522">
                  <c:v>350.09506657684716</c:v>
                </c:pt>
                <c:pt idx="523">
                  <c:v>349.7545349249487</c:v>
                </c:pt>
                <c:pt idx="524">
                  <c:v>320.52675484821594</c:v>
                </c:pt>
                <c:pt idx="525">
                  <c:v>336.82883013991409</c:v>
                </c:pt>
                <c:pt idx="526">
                  <c:v>273.31964005733658</c:v>
                </c:pt>
                <c:pt idx="527">
                  <c:v>356.26023266947641</c:v>
                </c:pt>
                <c:pt idx="528">
                  <c:v>355.21505993144297</c:v>
                </c:pt>
                <c:pt idx="529">
                  <c:v>368.23996154529806</c:v>
                </c:pt>
                <c:pt idx="530">
                  <c:v>363.44930048389961</c:v>
                </c:pt>
                <c:pt idx="531">
                  <c:v>387.38989281426382</c:v>
                </c:pt>
                <c:pt idx="532">
                  <c:v>363.20886600470465</c:v>
                </c:pt>
                <c:pt idx="533">
                  <c:v>375.47363088414085</c:v>
                </c:pt>
                <c:pt idx="534">
                  <c:v>356.87643744265785</c:v>
                </c:pt>
                <c:pt idx="535">
                  <c:v>355.52290112424282</c:v>
                </c:pt>
                <c:pt idx="536">
                  <c:v>357.28201411231515</c:v>
                </c:pt>
                <c:pt idx="537">
                  <c:v>366.76979148036139</c:v>
                </c:pt>
                <c:pt idx="538">
                  <c:v>370.37578991099349</c:v>
                </c:pt>
                <c:pt idx="539">
                  <c:v>370.95706643407112</c:v>
                </c:pt>
                <c:pt idx="540">
                  <c:v>370.94040932555259</c:v>
                </c:pt>
                <c:pt idx="541">
                  <c:v>375.98574700468095</c:v>
                </c:pt>
                <c:pt idx="542">
                  <c:v>389.68579109696162</c:v>
                </c:pt>
                <c:pt idx="543">
                  <c:v>384.63559917071331</c:v>
                </c:pt>
                <c:pt idx="544">
                  <c:v>396.88599643024457</c:v>
                </c:pt>
                <c:pt idx="545">
                  <c:v>369.04184255495085</c:v>
                </c:pt>
                <c:pt idx="546">
                  <c:v>374.87677114294956</c:v>
                </c:pt>
                <c:pt idx="547">
                  <c:v>370.98570016823425</c:v>
                </c:pt>
                <c:pt idx="548">
                  <c:v>367.86157655021469</c:v>
                </c:pt>
                <c:pt idx="549">
                  <c:v>368.49194799683829</c:v>
                </c:pt>
                <c:pt idx="550">
                  <c:v>346.4315533678037</c:v>
                </c:pt>
                <c:pt idx="551">
                  <c:v>344.47767796267408</c:v>
                </c:pt>
                <c:pt idx="552">
                  <c:v>338.55773966694153</c:v>
                </c:pt>
                <c:pt idx="553">
                  <c:v>334.70450918589057</c:v>
                </c:pt>
                <c:pt idx="554">
                  <c:v>342.97793067966228</c:v>
                </c:pt>
                <c:pt idx="555">
                  <c:v>358.54102620967245</c:v>
                </c:pt>
                <c:pt idx="556">
                  <c:v>365.74071664018487</c:v>
                </c:pt>
                <c:pt idx="557">
                  <c:v>364.95994451615798</c:v>
                </c:pt>
                <c:pt idx="558">
                  <c:v>350.11711875676212</c:v>
                </c:pt>
                <c:pt idx="559">
                  <c:v>350.63553468564101</c:v>
                </c:pt>
                <c:pt idx="560">
                  <c:v>351.97267047223971</c:v>
                </c:pt>
                <c:pt idx="561">
                  <c:v>351.51078196698137</c:v>
                </c:pt>
                <c:pt idx="562">
                  <c:v>369.36743547528812</c:v>
                </c:pt>
                <c:pt idx="563">
                  <c:v>367.07706375490363</c:v>
                </c:pt>
                <c:pt idx="564">
                  <c:v>378.28315878474967</c:v>
                </c:pt>
                <c:pt idx="565">
                  <c:v>350.1670485661009</c:v>
                </c:pt>
                <c:pt idx="566">
                  <c:v>351.47220813748874</c:v>
                </c:pt>
                <c:pt idx="567">
                  <c:v>374.17824445204303</c:v>
                </c:pt>
                <c:pt idx="568">
                  <c:v>383.67010323915252</c:v>
                </c:pt>
                <c:pt idx="569">
                  <c:v>391.41310191981285</c:v>
                </c:pt>
                <c:pt idx="570">
                  <c:v>494.24345248444598</c:v>
                </c:pt>
                <c:pt idx="571">
                  <c:v>395.16501920230019</c:v>
                </c:pt>
                <c:pt idx="572">
                  <c:v>400.1274808562755</c:v>
                </c:pt>
                <c:pt idx="573">
                  <c:v>371.88900189295572</c:v>
                </c:pt>
                <c:pt idx="574">
                  <c:v>373.81606650679169</c:v>
                </c:pt>
                <c:pt idx="575">
                  <c:v>364.70923052543344</c:v>
                </c:pt>
                <c:pt idx="576">
                  <c:v>372.21353402442446</c:v>
                </c:pt>
                <c:pt idx="577">
                  <c:v>385.76133898440219</c:v>
                </c:pt>
                <c:pt idx="578">
                  <c:v>381.58689126815625</c:v>
                </c:pt>
                <c:pt idx="579">
                  <c:v>397.12025851334238</c:v>
                </c:pt>
                <c:pt idx="580">
                  <c:v>399.02734114260596</c:v>
                </c:pt>
                <c:pt idx="581">
                  <c:v>410.65683243631992</c:v>
                </c:pt>
                <c:pt idx="582">
                  <c:v>392.96164598708617</c:v>
                </c:pt>
                <c:pt idx="583">
                  <c:v>369.15065739532349</c:v>
                </c:pt>
                <c:pt idx="584">
                  <c:v>386.01798844419949</c:v>
                </c:pt>
                <c:pt idx="585">
                  <c:v>388.52720818926571</c:v>
                </c:pt>
                <c:pt idx="586">
                  <c:v>394.96022787709694</c:v>
                </c:pt>
                <c:pt idx="587">
                  <c:v>372.71687949552825</c:v>
                </c:pt>
                <c:pt idx="588">
                  <c:v>372.356336026549</c:v>
                </c:pt>
                <c:pt idx="589">
                  <c:v>375.62588420927557</c:v>
                </c:pt>
                <c:pt idx="590">
                  <c:v>234.51212534739554</c:v>
                </c:pt>
                <c:pt idx="591">
                  <c:v>377.01011447387248</c:v>
                </c:pt>
                <c:pt idx="592">
                  <c:v>377.31204513947324</c:v>
                </c:pt>
                <c:pt idx="593">
                  <c:v>357.89273531162644</c:v>
                </c:pt>
                <c:pt idx="594">
                  <c:v>367.45874000797335</c:v>
                </c:pt>
                <c:pt idx="595">
                  <c:v>373.39660908024831</c:v>
                </c:pt>
                <c:pt idx="596">
                  <c:v>364.75680476601144</c:v>
                </c:pt>
                <c:pt idx="597">
                  <c:v>351.45192749511608</c:v>
                </c:pt>
                <c:pt idx="598">
                  <c:v>0.28313893092797177</c:v>
                </c:pt>
                <c:pt idx="599">
                  <c:v>0</c:v>
                </c:pt>
                <c:pt idx="600">
                  <c:v>114.69151730197487</c:v>
                </c:pt>
                <c:pt idx="601">
                  <c:v>107.77057637947594</c:v>
                </c:pt>
                <c:pt idx="602">
                  <c:v>228.7908049501695</c:v>
                </c:pt>
                <c:pt idx="603">
                  <c:v>286.9579768556867</c:v>
                </c:pt>
                <c:pt idx="604">
                  <c:v>336.01774991420604</c:v>
                </c:pt>
                <c:pt idx="605">
                  <c:v>326.23919747704929</c:v>
                </c:pt>
                <c:pt idx="606">
                  <c:v>335.93275187318477</c:v>
                </c:pt>
                <c:pt idx="607">
                  <c:v>378.20765741974202</c:v>
                </c:pt>
                <c:pt idx="608">
                  <c:v>340.50565422529843</c:v>
                </c:pt>
                <c:pt idx="609">
                  <c:v>342.28244688255057</c:v>
                </c:pt>
                <c:pt idx="610">
                  <c:v>351.43589447760166</c:v>
                </c:pt>
                <c:pt idx="611">
                  <c:v>347.88862745375138</c:v>
                </c:pt>
                <c:pt idx="612">
                  <c:v>343.03136224456614</c:v>
                </c:pt>
                <c:pt idx="613">
                  <c:v>309.08614945336325</c:v>
                </c:pt>
                <c:pt idx="614">
                  <c:v>354.32123238641714</c:v>
                </c:pt>
                <c:pt idx="615">
                  <c:v>359.41446655454445</c:v>
                </c:pt>
                <c:pt idx="616">
                  <c:v>394.59206950298358</c:v>
                </c:pt>
                <c:pt idx="617">
                  <c:v>409.13765394635857</c:v>
                </c:pt>
                <c:pt idx="618">
                  <c:v>386.48800012630528</c:v>
                </c:pt>
                <c:pt idx="619">
                  <c:v>388.1002274100249</c:v>
                </c:pt>
                <c:pt idx="620">
                  <c:v>386.56247430616969</c:v>
                </c:pt>
                <c:pt idx="621">
                  <c:v>394.99831738978651</c:v>
                </c:pt>
                <c:pt idx="622">
                  <c:v>359.48076289525471</c:v>
                </c:pt>
                <c:pt idx="623">
                  <c:v>383.21220807357128</c:v>
                </c:pt>
                <c:pt idx="624">
                  <c:v>388.87287969901666</c:v>
                </c:pt>
                <c:pt idx="625">
                  <c:v>418.37927444870138</c:v>
                </c:pt>
                <c:pt idx="626">
                  <c:v>437.23990998563869</c:v>
                </c:pt>
                <c:pt idx="627">
                  <c:v>442.4688415197644</c:v>
                </c:pt>
                <c:pt idx="628">
                  <c:v>66.335924657456857</c:v>
                </c:pt>
                <c:pt idx="629">
                  <c:v>310.19851552016456</c:v>
                </c:pt>
                <c:pt idx="630">
                  <c:v>327.17693873902255</c:v>
                </c:pt>
                <c:pt idx="631">
                  <c:v>324.17123131809745</c:v>
                </c:pt>
                <c:pt idx="632">
                  <c:v>315.40775927505933</c:v>
                </c:pt>
                <c:pt idx="633">
                  <c:v>314.92137430251313</c:v>
                </c:pt>
                <c:pt idx="634">
                  <c:v>311.03647933882399</c:v>
                </c:pt>
                <c:pt idx="635">
                  <c:v>319.40459794769436</c:v>
                </c:pt>
                <c:pt idx="636">
                  <c:v>317.89935956047901</c:v>
                </c:pt>
                <c:pt idx="637">
                  <c:v>336.52231908219221</c:v>
                </c:pt>
                <c:pt idx="638">
                  <c:v>413.05242129426625</c:v>
                </c:pt>
                <c:pt idx="639">
                  <c:v>474.74699724989608</c:v>
                </c:pt>
                <c:pt idx="640">
                  <c:v>527.29287805246179</c:v>
                </c:pt>
                <c:pt idx="641">
                  <c:v>1523.4718574762298</c:v>
                </c:pt>
                <c:pt idx="642">
                  <c:v>0</c:v>
                </c:pt>
                <c:pt idx="643">
                  <c:v>1881.172954195524</c:v>
                </c:pt>
                <c:pt idx="644">
                  <c:v>402.62807287865672</c:v>
                </c:pt>
                <c:pt idx="645">
                  <c:v>386.99240485783554</c:v>
                </c:pt>
                <c:pt idx="646">
                  <c:v>392.638825847627</c:v>
                </c:pt>
                <c:pt idx="647">
                  <c:v>413.39509860901666</c:v>
                </c:pt>
                <c:pt idx="648">
                  <c:v>385.56008921633099</c:v>
                </c:pt>
                <c:pt idx="649">
                  <c:v>361.51415764787976</c:v>
                </c:pt>
                <c:pt idx="650">
                  <c:v>382.86343142424226</c:v>
                </c:pt>
                <c:pt idx="651">
                  <c:v>368.1323632190967</c:v>
                </c:pt>
                <c:pt idx="652">
                  <c:v>372.50194039983671</c:v>
                </c:pt>
                <c:pt idx="653">
                  <c:v>360.36319971294381</c:v>
                </c:pt>
                <c:pt idx="654">
                  <c:v>355.80474996374454</c:v>
                </c:pt>
                <c:pt idx="655">
                  <c:v>565.93690117164181</c:v>
                </c:pt>
                <c:pt idx="656">
                  <c:v>367.53487821906452</c:v>
                </c:pt>
                <c:pt idx="657">
                  <c:v>364.79737155355434</c:v>
                </c:pt>
                <c:pt idx="658">
                  <c:v>370.43606614360942</c:v>
                </c:pt>
                <c:pt idx="659">
                  <c:v>385.03425400263353</c:v>
                </c:pt>
                <c:pt idx="660">
                  <c:v>372.8894837461981</c:v>
                </c:pt>
                <c:pt idx="661">
                  <c:v>385.30476632185201</c:v>
                </c:pt>
                <c:pt idx="662">
                  <c:v>360.75351860163386</c:v>
                </c:pt>
                <c:pt idx="663">
                  <c:v>360.58647461006814</c:v>
                </c:pt>
                <c:pt idx="664">
                  <c:v>357.00262235880979</c:v>
                </c:pt>
                <c:pt idx="665">
                  <c:v>351.75009790566338</c:v>
                </c:pt>
                <c:pt idx="666">
                  <c:v>367.97464848089317</c:v>
                </c:pt>
                <c:pt idx="667">
                  <c:v>362.35393540107901</c:v>
                </c:pt>
                <c:pt idx="668">
                  <c:v>354.70112945309177</c:v>
                </c:pt>
                <c:pt idx="669">
                  <c:v>372.47590994296007</c:v>
                </c:pt>
                <c:pt idx="670">
                  <c:v>344.36393330447623</c:v>
                </c:pt>
                <c:pt idx="671">
                  <c:v>364.90086060228123</c:v>
                </c:pt>
                <c:pt idx="672">
                  <c:v>353.91532400562556</c:v>
                </c:pt>
                <c:pt idx="673">
                  <c:v>342.93018088428903</c:v>
                </c:pt>
                <c:pt idx="674">
                  <c:v>355.68025866460215</c:v>
                </c:pt>
                <c:pt idx="675">
                  <c:v>341.37591317619734</c:v>
                </c:pt>
                <c:pt idx="676">
                  <c:v>348.44115141366075</c:v>
                </c:pt>
                <c:pt idx="677">
                  <c:v>339.42574574902625</c:v>
                </c:pt>
                <c:pt idx="678">
                  <c:v>324.94472742254175</c:v>
                </c:pt>
                <c:pt idx="679">
                  <c:v>344.52575901357062</c:v>
                </c:pt>
                <c:pt idx="680">
                  <c:v>399.79996985214302</c:v>
                </c:pt>
                <c:pt idx="681">
                  <c:v>400.06635615613095</c:v>
                </c:pt>
                <c:pt idx="682">
                  <c:v>398.0087082981064</c:v>
                </c:pt>
                <c:pt idx="683">
                  <c:v>377.25094405040778</c:v>
                </c:pt>
                <c:pt idx="684">
                  <c:v>419.81767078743081</c:v>
                </c:pt>
                <c:pt idx="685">
                  <c:v>368.4866317493109</c:v>
                </c:pt>
                <c:pt idx="686">
                  <c:v>392.06657813043239</c:v>
                </c:pt>
                <c:pt idx="687">
                  <c:v>347.0887643644507</c:v>
                </c:pt>
                <c:pt idx="688">
                  <c:v>328.61650280151355</c:v>
                </c:pt>
                <c:pt idx="689">
                  <c:v>333.56170242955335</c:v>
                </c:pt>
                <c:pt idx="690">
                  <c:v>332.24354275701984</c:v>
                </c:pt>
                <c:pt idx="691">
                  <c:v>329.52218845700969</c:v>
                </c:pt>
                <c:pt idx="692">
                  <c:v>340.17858511538964</c:v>
                </c:pt>
                <c:pt idx="693">
                  <c:v>342.32482516739515</c:v>
                </c:pt>
                <c:pt idx="694">
                  <c:v>336.9637803602904</c:v>
                </c:pt>
                <c:pt idx="695">
                  <c:v>333.92575780086224</c:v>
                </c:pt>
                <c:pt idx="696">
                  <c:v>330.27930153737822</c:v>
                </c:pt>
                <c:pt idx="697">
                  <c:v>350.61538959433659</c:v>
                </c:pt>
                <c:pt idx="698">
                  <c:v>348.32779443057996</c:v>
                </c:pt>
                <c:pt idx="699">
                  <c:v>343.77641900095097</c:v>
                </c:pt>
                <c:pt idx="700">
                  <c:v>347.12513742553568</c:v>
                </c:pt>
                <c:pt idx="701">
                  <c:v>366.47812882256807</c:v>
                </c:pt>
                <c:pt idx="702">
                  <c:v>370.5385527373187</c:v>
                </c:pt>
                <c:pt idx="703">
                  <c:v>335.83702865615436</c:v>
                </c:pt>
                <c:pt idx="704">
                  <c:v>329.22111871692039</c:v>
                </c:pt>
                <c:pt idx="705">
                  <c:v>326.38844841089372</c:v>
                </c:pt>
                <c:pt idx="706">
                  <c:v>345.72750723393727</c:v>
                </c:pt>
                <c:pt idx="707">
                  <c:v>330.37981962926216</c:v>
                </c:pt>
                <c:pt idx="708">
                  <c:v>364.87964674024272</c:v>
                </c:pt>
                <c:pt idx="709">
                  <c:v>356.01610097360646</c:v>
                </c:pt>
                <c:pt idx="710">
                  <c:v>339.31736667597767</c:v>
                </c:pt>
                <c:pt idx="711">
                  <c:v>335.47630889006109</c:v>
                </c:pt>
                <c:pt idx="712">
                  <c:v>354.4231619054591</c:v>
                </c:pt>
                <c:pt idx="713">
                  <c:v>339.97498696123785</c:v>
                </c:pt>
                <c:pt idx="714">
                  <c:v>335.80649534252427</c:v>
                </c:pt>
                <c:pt idx="715">
                  <c:v>332.34548735777878</c:v>
                </c:pt>
                <c:pt idx="716">
                  <c:v>326.33982790877343</c:v>
                </c:pt>
                <c:pt idx="717">
                  <c:v>337.25150394949787</c:v>
                </c:pt>
                <c:pt idx="718">
                  <c:v>332.17421372809156</c:v>
                </c:pt>
                <c:pt idx="719">
                  <c:v>345.69297267911116</c:v>
                </c:pt>
                <c:pt idx="720">
                  <c:v>351.36224811307613</c:v>
                </c:pt>
                <c:pt idx="721">
                  <c:v>338.2282889920973</c:v>
                </c:pt>
                <c:pt idx="722">
                  <c:v>344.06328325988517</c:v>
                </c:pt>
                <c:pt idx="723">
                  <c:v>356.7039290356459</c:v>
                </c:pt>
                <c:pt idx="724">
                  <c:v>402.77551158019787</c:v>
                </c:pt>
                <c:pt idx="725">
                  <c:v>2672.2996481294922</c:v>
                </c:pt>
                <c:pt idx="726">
                  <c:v>1747.6101716864957</c:v>
                </c:pt>
                <c:pt idx="727">
                  <c:v>363.41483308887348</c:v>
                </c:pt>
                <c:pt idx="728">
                  <c:v>352.53877507271949</c:v>
                </c:pt>
                <c:pt idx="729">
                  <c:v>351.43957223867329</c:v>
                </c:pt>
                <c:pt idx="730">
                  <c:v>351.38662093141374</c:v>
                </c:pt>
                <c:pt idx="731">
                  <c:v>335.68565548394417</c:v>
                </c:pt>
                <c:pt idx="732">
                  <c:v>357.59301860000909</c:v>
                </c:pt>
                <c:pt idx="733">
                  <c:v>345.5791601471272</c:v>
                </c:pt>
                <c:pt idx="734">
                  <c:v>346.31333467665723</c:v>
                </c:pt>
                <c:pt idx="735">
                  <c:v>337.3121701782444</c:v>
                </c:pt>
                <c:pt idx="736">
                  <c:v>347.97691352283351</c:v>
                </c:pt>
                <c:pt idx="737">
                  <c:v>340.10617220941816</c:v>
                </c:pt>
                <c:pt idx="738">
                  <c:v>329.94456126493367</c:v>
                </c:pt>
                <c:pt idx="739">
                  <c:v>333.04552083961585</c:v>
                </c:pt>
                <c:pt idx="740">
                  <c:v>316.81717619493963</c:v>
                </c:pt>
                <c:pt idx="741">
                  <c:v>277.49829494463455</c:v>
                </c:pt>
                <c:pt idx="742">
                  <c:v>315.26426964253034</c:v>
                </c:pt>
                <c:pt idx="743">
                  <c:v>343.79931877212226</c:v>
                </c:pt>
                <c:pt idx="744">
                  <c:v>345.75247833091902</c:v>
                </c:pt>
                <c:pt idx="745">
                  <c:v>345.08896959407264</c:v>
                </c:pt>
                <c:pt idx="746">
                  <c:v>346.85140392019582</c:v>
                </c:pt>
                <c:pt idx="747">
                  <c:v>347.84018526026097</c:v>
                </c:pt>
                <c:pt idx="748">
                  <c:v>340.51782096418816</c:v>
                </c:pt>
                <c:pt idx="749">
                  <c:v>355.67470834991002</c:v>
                </c:pt>
                <c:pt idx="750">
                  <c:v>330.04791740473337</c:v>
                </c:pt>
                <c:pt idx="751">
                  <c:v>331.02823886542768</c:v>
                </c:pt>
                <c:pt idx="752">
                  <c:v>347.58440955658705</c:v>
                </c:pt>
                <c:pt idx="753">
                  <c:v>348.19201241888976</c:v>
                </c:pt>
                <c:pt idx="754">
                  <c:v>349.27799938743755</c:v>
                </c:pt>
                <c:pt idx="755">
                  <c:v>332.68948818387764</c:v>
                </c:pt>
                <c:pt idx="756">
                  <c:v>355.33497640133299</c:v>
                </c:pt>
                <c:pt idx="757">
                  <c:v>347.01296660870963</c:v>
                </c:pt>
                <c:pt idx="758">
                  <c:v>355.63821818867359</c:v>
                </c:pt>
                <c:pt idx="759">
                  <c:v>343.74342499788776</c:v>
                </c:pt>
                <c:pt idx="760">
                  <c:v>343.18237375040781</c:v>
                </c:pt>
                <c:pt idx="761">
                  <c:v>360.10646848951905</c:v>
                </c:pt>
                <c:pt idx="762">
                  <c:v>365.14486372920459</c:v>
                </c:pt>
                <c:pt idx="763">
                  <c:v>360.45880091851916</c:v>
                </c:pt>
                <c:pt idx="764">
                  <c:v>358.51261098475817</c:v>
                </c:pt>
                <c:pt idx="765">
                  <c:v>369.89702448298948</c:v>
                </c:pt>
                <c:pt idx="766">
                  <c:v>352.98871331365001</c:v>
                </c:pt>
                <c:pt idx="767">
                  <c:v>378.48735625752812</c:v>
                </c:pt>
                <c:pt idx="768">
                  <c:v>367.00700284929627</c:v>
                </c:pt>
                <c:pt idx="769">
                  <c:v>363.57156752876989</c:v>
                </c:pt>
                <c:pt idx="770">
                  <c:v>367.46074877269291</c:v>
                </c:pt>
                <c:pt idx="771">
                  <c:v>364.63828837087567</c:v>
                </c:pt>
                <c:pt idx="772">
                  <c:v>366.19821288503641</c:v>
                </c:pt>
                <c:pt idx="773">
                  <c:v>352.38177547291531</c:v>
                </c:pt>
                <c:pt idx="774">
                  <c:v>348.87611007477176</c:v>
                </c:pt>
                <c:pt idx="775">
                  <c:v>350.79614154664483</c:v>
                </c:pt>
                <c:pt idx="776">
                  <c:v>355.39198280003984</c:v>
                </c:pt>
                <c:pt idx="777">
                  <c:v>363.93032044411439</c:v>
                </c:pt>
                <c:pt idx="778">
                  <c:v>353.89470286598288</c:v>
                </c:pt>
                <c:pt idx="779">
                  <c:v>349.98319699997251</c:v>
                </c:pt>
                <c:pt idx="780">
                  <c:v>348.02795538245527</c:v>
                </c:pt>
                <c:pt idx="781">
                  <c:v>351.7392443910511</c:v>
                </c:pt>
                <c:pt idx="782">
                  <c:v>355.24503984448796</c:v>
                </c:pt>
                <c:pt idx="783">
                  <c:v>335.42605293429006</c:v>
                </c:pt>
                <c:pt idx="784">
                  <c:v>361.76221526183633</c:v>
                </c:pt>
                <c:pt idx="785">
                  <c:v>340.06259825206803</c:v>
                </c:pt>
                <c:pt idx="786">
                  <c:v>370.76448569904841</c:v>
                </c:pt>
                <c:pt idx="787">
                  <c:v>377.82255044680039</c:v>
                </c:pt>
                <c:pt idx="788">
                  <c:v>415.47828714916352</c:v>
                </c:pt>
                <c:pt idx="789">
                  <c:v>1179.3179669305125</c:v>
                </c:pt>
                <c:pt idx="790">
                  <c:v>359.91147268744356</c:v>
                </c:pt>
                <c:pt idx="791">
                  <c:v>345.96103703394834</c:v>
                </c:pt>
                <c:pt idx="792">
                  <c:v>359.45571415908546</c:v>
                </c:pt>
                <c:pt idx="793">
                  <c:v>370.45161570866765</c:v>
                </c:pt>
                <c:pt idx="794">
                  <c:v>365.0406841539081</c:v>
                </c:pt>
                <c:pt idx="795">
                  <c:v>71.602671717716007</c:v>
                </c:pt>
                <c:pt idx="796">
                  <c:v>104.82203822768749</c:v>
                </c:pt>
                <c:pt idx="797">
                  <c:v>379.91980498091624</c:v>
                </c:pt>
                <c:pt idx="798">
                  <c:v>373.74126928096126</c:v>
                </c:pt>
                <c:pt idx="799">
                  <c:v>339.10721666399945</c:v>
                </c:pt>
                <c:pt idx="800">
                  <c:v>385.77829391201175</c:v>
                </c:pt>
                <c:pt idx="801">
                  <c:v>369.73535848800287</c:v>
                </c:pt>
                <c:pt idx="802">
                  <c:v>382.67723497949379</c:v>
                </c:pt>
                <c:pt idx="803">
                  <c:v>389.6918827329452</c:v>
                </c:pt>
                <c:pt idx="804">
                  <c:v>383.3535720042106</c:v>
                </c:pt>
                <c:pt idx="805">
                  <c:v>407.79417404989988</c:v>
                </c:pt>
                <c:pt idx="806">
                  <c:v>396.74767437722346</c:v>
                </c:pt>
                <c:pt idx="807">
                  <c:v>384.03353936090372</c:v>
                </c:pt>
                <c:pt idx="808">
                  <c:v>370.63815178761229</c:v>
                </c:pt>
                <c:pt idx="809">
                  <c:v>378.2596661878577</c:v>
                </c:pt>
                <c:pt idx="810">
                  <c:v>382.08199675523394</c:v>
                </c:pt>
                <c:pt idx="811">
                  <c:v>374.6734077493864</c:v>
                </c:pt>
                <c:pt idx="812">
                  <c:v>386.765634781605</c:v>
                </c:pt>
                <c:pt idx="813">
                  <c:v>405.27610938618267</c:v>
                </c:pt>
                <c:pt idx="814">
                  <c:v>397.89338627518754</c:v>
                </c:pt>
                <c:pt idx="815">
                  <c:v>398.70765251718177</c:v>
                </c:pt>
                <c:pt idx="816">
                  <c:v>390.54140145195038</c:v>
                </c:pt>
                <c:pt idx="817">
                  <c:v>371.97306981134773</c:v>
                </c:pt>
                <c:pt idx="818">
                  <c:v>374.21347053434766</c:v>
                </c:pt>
                <c:pt idx="819">
                  <c:v>379.12726376197855</c:v>
                </c:pt>
                <c:pt idx="820">
                  <c:v>375.62679039751839</c:v>
                </c:pt>
                <c:pt idx="821">
                  <c:v>387.9345511810485</c:v>
                </c:pt>
                <c:pt idx="822">
                  <c:v>382.67809571471997</c:v>
                </c:pt>
                <c:pt idx="823">
                  <c:v>383.72738257721164</c:v>
                </c:pt>
                <c:pt idx="824">
                  <c:v>385.66071310877078</c:v>
                </c:pt>
                <c:pt idx="825">
                  <c:v>399.03580810799497</c:v>
                </c:pt>
                <c:pt idx="826">
                  <c:v>382.220126688969</c:v>
                </c:pt>
                <c:pt idx="827">
                  <c:v>377.28827172734191</c:v>
                </c:pt>
                <c:pt idx="828">
                  <c:v>244.15101208862072</c:v>
                </c:pt>
                <c:pt idx="829">
                  <c:v>358.67005110197925</c:v>
                </c:pt>
                <c:pt idx="830">
                  <c:v>407.74645731395003</c:v>
                </c:pt>
                <c:pt idx="831">
                  <c:v>414.51922347797023</c:v>
                </c:pt>
                <c:pt idx="832">
                  <c:v>381.10062884332456</c:v>
                </c:pt>
                <c:pt idx="833">
                  <c:v>404.73632800111221</c:v>
                </c:pt>
                <c:pt idx="834">
                  <c:v>396.91771124717945</c:v>
                </c:pt>
                <c:pt idx="835">
                  <c:v>370.46916237259308</c:v>
                </c:pt>
                <c:pt idx="836">
                  <c:v>376.35125568490378</c:v>
                </c:pt>
                <c:pt idx="837">
                  <c:v>368.88382653767047</c:v>
                </c:pt>
                <c:pt idx="838">
                  <c:v>361.04295454582893</c:v>
                </c:pt>
                <c:pt idx="839">
                  <c:v>366.63671884796815</c:v>
                </c:pt>
                <c:pt idx="840">
                  <c:v>367.08627874282229</c:v>
                </c:pt>
                <c:pt idx="841">
                  <c:v>365.782124987119</c:v>
                </c:pt>
                <c:pt idx="842">
                  <c:v>365.33279105203667</c:v>
                </c:pt>
                <c:pt idx="843">
                  <c:v>363.33394002655132</c:v>
                </c:pt>
                <c:pt idx="844">
                  <c:v>368.33669576699168</c:v>
                </c:pt>
                <c:pt idx="845">
                  <c:v>360.13146812590054</c:v>
                </c:pt>
                <c:pt idx="846">
                  <c:v>377.55262978525707</c:v>
                </c:pt>
                <c:pt idx="847">
                  <c:v>349.91509453852774</c:v>
                </c:pt>
                <c:pt idx="848">
                  <c:v>346.59264059034052</c:v>
                </c:pt>
                <c:pt idx="849">
                  <c:v>355.86235244290185</c:v>
                </c:pt>
                <c:pt idx="850">
                  <c:v>357.61491528428058</c:v>
                </c:pt>
                <c:pt idx="851">
                  <c:v>354.02537982155047</c:v>
                </c:pt>
                <c:pt idx="852">
                  <c:v>375.74432500170673</c:v>
                </c:pt>
                <c:pt idx="853">
                  <c:v>366.75057231534265</c:v>
                </c:pt>
                <c:pt idx="854">
                  <c:v>364.05929449986741</c:v>
                </c:pt>
                <c:pt idx="855">
                  <c:v>360.31800277593487</c:v>
                </c:pt>
                <c:pt idx="856">
                  <c:v>378.18844197586554</c:v>
                </c:pt>
                <c:pt idx="857">
                  <c:v>372.33811091193803</c:v>
                </c:pt>
                <c:pt idx="858">
                  <c:v>374.7173055009373</c:v>
                </c:pt>
                <c:pt idx="859">
                  <c:v>381.51524055058815</c:v>
                </c:pt>
                <c:pt idx="860">
                  <c:v>452.99991479941559</c:v>
                </c:pt>
                <c:pt idx="861">
                  <c:v>828.75275679294089</c:v>
                </c:pt>
                <c:pt idx="862">
                  <c:v>1020.0422995727218</c:v>
                </c:pt>
                <c:pt idx="863">
                  <c:v>359.53484915568805</c:v>
                </c:pt>
                <c:pt idx="864">
                  <c:v>468.3410324904234</c:v>
                </c:pt>
                <c:pt idx="865">
                  <c:v>616.60959662322648</c:v>
                </c:pt>
                <c:pt idx="866">
                  <c:v>380.41528623609992</c:v>
                </c:pt>
                <c:pt idx="867">
                  <c:v>387.27353018774301</c:v>
                </c:pt>
                <c:pt idx="868">
                  <c:v>416.84897990084045</c:v>
                </c:pt>
                <c:pt idx="869">
                  <c:v>37.137981853669423</c:v>
                </c:pt>
                <c:pt idx="870">
                  <c:v>18.033588212834392</c:v>
                </c:pt>
                <c:pt idx="871">
                  <c:v>345.3714504530659</c:v>
                </c:pt>
                <c:pt idx="872">
                  <c:v>352.83163776248887</c:v>
                </c:pt>
                <c:pt idx="873">
                  <c:v>362.26125330798715</c:v>
                </c:pt>
                <c:pt idx="874">
                  <c:v>361.16988847891588</c:v>
                </c:pt>
                <c:pt idx="875">
                  <c:v>365.09397384807693</c:v>
                </c:pt>
                <c:pt idx="876">
                  <c:v>359.21112454650427</c:v>
                </c:pt>
                <c:pt idx="877">
                  <c:v>361.68435176381547</c:v>
                </c:pt>
                <c:pt idx="878">
                  <c:v>356.9753520086482</c:v>
                </c:pt>
                <c:pt idx="879">
                  <c:v>356.81666626371452</c:v>
                </c:pt>
                <c:pt idx="880">
                  <c:v>355.59510938499335</c:v>
                </c:pt>
                <c:pt idx="881">
                  <c:v>364.09848015269637</c:v>
                </c:pt>
                <c:pt idx="882">
                  <c:v>363.43043574162073</c:v>
                </c:pt>
                <c:pt idx="883">
                  <c:v>363.73841529898812</c:v>
                </c:pt>
                <c:pt idx="884">
                  <c:v>373.58351883284308</c:v>
                </c:pt>
                <c:pt idx="885">
                  <c:v>365.58672975124813</c:v>
                </c:pt>
                <c:pt idx="886">
                  <c:v>376.26091333322813</c:v>
                </c:pt>
                <c:pt idx="887">
                  <c:v>357.95079647536244</c:v>
                </c:pt>
                <c:pt idx="888">
                  <c:v>344.32667173293504</c:v>
                </c:pt>
                <c:pt idx="889">
                  <c:v>343.62210913876186</c:v>
                </c:pt>
                <c:pt idx="890">
                  <c:v>348.19556329884887</c:v>
                </c:pt>
                <c:pt idx="891">
                  <c:v>349.35536917366534</c:v>
                </c:pt>
                <c:pt idx="892">
                  <c:v>355.78922874704392</c:v>
                </c:pt>
                <c:pt idx="893">
                  <c:v>354.42501285851023</c:v>
                </c:pt>
                <c:pt idx="894">
                  <c:v>342.23991405532462</c:v>
                </c:pt>
                <c:pt idx="895">
                  <c:v>345.52943660934193</c:v>
                </c:pt>
                <c:pt idx="896">
                  <c:v>360.3006984918963</c:v>
                </c:pt>
                <c:pt idx="897">
                  <c:v>344.47685546017101</c:v>
                </c:pt>
                <c:pt idx="898">
                  <c:v>335.47400101085225</c:v>
                </c:pt>
                <c:pt idx="899">
                  <c:v>332.04910563577425</c:v>
                </c:pt>
                <c:pt idx="900">
                  <c:v>338.0419272466392</c:v>
                </c:pt>
                <c:pt idx="901">
                  <c:v>321.92758885821496</c:v>
                </c:pt>
                <c:pt idx="902">
                  <c:v>341.87741897981266</c:v>
                </c:pt>
                <c:pt idx="903">
                  <c:v>329.43653413269618</c:v>
                </c:pt>
                <c:pt idx="904">
                  <c:v>321.88418696458518</c:v>
                </c:pt>
                <c:pt idx="905">
                  <c:v>343.40574374636628</c:v>
                </c:pt>
                <c:pt idx="906">
                  <c:v>338.35101230291173</c:v>
                </c:pt>
                <c:pt idx="907">
                  <c:v>336.60477967644732</c:v>
                </c:pt>
                <c:pt idx="908">
                  <c:v>350.45662910826087</c:v>
                </c:pt>
                <c:pt idx="909">
                  <c:v>388.57534500021694</c:v>
                </c:pt>
                <c:pt idx="910">
                  <c:v>350.1300103285148</c:v>
                </c:pt>
                <c:pt idx="911">
                  <c:v>355.86872375669316</c:v>
                </c:pt>
                <c:pt idx="912">
                  <c:v>347.18452663730301</c:v>
                </c:pt>
                <c:pt idx="913">
                  <c:v>324.872804580793</c:v>
                </c:pt>
                <c:pt idx="914">
                  <c:v>344.13264322388773</c:v>
                </c:pt>
                <c:pt idx="915">
                  <c:v>388.63512426023487</c:v>
                </c:pt>
                <c:pt idx="916">
                  <c:v>364.65429758015131</c:v>
                </c:pt>
                <c:pt idx="917">
                  <c:v>337.1969911119624</c:v>
                </c:pt>
                <c:pt idx="918">
                  <c:v>375.83614279121832</c:v>
                </c:pt>
                <c:pt idx="919">
                  <c:v>372.76385295685139</c:v>
                </c:pt>
                <c:pt idx="920">
                  <c:v>386.26279474638642</c:v>
                </c:pt>
                <c:pt idx="921">
                  <c:v>383.47020826022185</c:v>
                </c:pt>
                <c:pt idx="922">
                  <c:v>395.31350404274093</c:v>
                </c:pt>
                <c:pt idx="923">
                  <c:v>382.78016141333438</c:v>
                </c:pt>
                <c:pt idx="924">
                  <c:v>363.29486843502366</c:v>
                </c:pt>
                <c:pt idx="925">
                  <c:v>387.85447030305392</c:v>
                </c:pt>
                <c:pt idx="926">
                  <c:v>342.10122164133918</c:v>
                </c:pt>
                <c:pt idx="927">
                  <c:v>334.15625323159622</c:v>
                </c:pt>
                <c:pt idx="928">
                  <c:v>355.39809062251749</c:v>
                </c:pt>
                <c:pt idx="929">
                  <c:v>373.07794162312831</c:v>
                </c:pt>
                <c:pt idx="930">
                  <c:v>378.32054080110612</c:v>
                </c:pt>
                <c:pt idx="931">
                  <c:v>379.92716063862702</c:v>
                </c:pt>
                <c:pt idx="932">
                  <c:v>375.61137370192915</c:v>
                </c:pt>
                <c:pt idx="933">
                  <c:v>365.73452070957808</c:v>
                </c:pt>
                <c:pt idx="934">
                  <c:v>371.34520338212457</c:v>
                </c:pt>
                <c:pt idx="935">
                  <c:v>360.46369428918837</c:v>
                </c:pt>
                <c:pt idx="936">
                  <c:v>359.28426418996156</c:v>
                </c:pt>
                <c:pt idx="937">
                  <c:v>369.37426809321857</c:v>
                </c:pt>
                <c:pt idx="938">
                  <c:v>379.61989940955516</c:v>
                </c:pt>
                <c:pt idx="939">
                  <c:v>350.48965411778568</c:v>
                </c:pt>
                <c:pt idx="940">
                  <c:v>343.88591863250383</c:v>
                </c:pt>
                <c:pt idx="941">
                  <c:v>351.85554753483802</c:v>
                </c:pt>
                <c:pt idx="942">
                  <c:v>351.9779736162385</c:v>
                </c:pt>
                <c:pt idx="943">
                  <c:v>351.32361807022045</c:v>
                </c:pt>
                <c:pt idx="944">
                  <c:v>349.58759615049098</c:v>
                </c:pt>
                <c:pt idx="945">
                  <c:v>352.2152227738278</c:v>
                </c:pt>
                <c:pt idx="946">
                  <c:v>355.42080101016847</c:v>
                </c:pt>
                <c:pt idx="947">
                  <c:v>348.45964235154224</c:v>
                </c:pt>
                <c:pt idx="948">
                  <c:v>352.82363904094461</c:v>
                </c:pt>
                <c:pt idx="949">
                  <c:v>356.96194369243318</c:v>
                </c:pt>
                <c:pt idx="950">
                  <c:v>360.16521046887294</c:v>
                </c:pt>
                <c:pt idx="951">
                  <c:v>363.05205518887129</c:v>
                </c:pt>
                <c:pt idx="952">
                  <c:v>351.77697572541371</c:v>
                </c:pt>
                <c:pt idx="953">
                  <c:v>356.44371540371628</c:v>
                </c:pt>
                <c:pt idx="954">
                  <c:v>376.44212995009701</c:v>
                </c:pt>
                <c:pt idx="955">
                  <c:v>440.61205791489834</c:v>
                </c:pt>
                <c:pt idx="956">
                  <c:v>2763.3934085195929</c:v>
                </c:pt>
                <c:pt idx="957">
                  <c:v>1943.1216145025317</c:v>
                </c:pt>
                <c:pt idx="958">
                  <c:v>376.38670821508555</c:v>
                </c:pt>
                <c:pt idx="959">
                  <c:v>358.23005005488625</c:v>
                </c:pt>
                <c:pt idx="960">
                  <c:v>352.8452965602242</c:v>
                </c:pt>
                <c:pt idx="961">
                  <c:v>244.92129502485756</c:v>
                </c:pt>
                <c:pt idx="962">
                  <c:v>310.97283294278424</c:v>
                </c:pt>
                <c:pt idx="963">
                  <c:v>372.79385028603195</c:v>
                </c:pt>
                <c:pt idx="964">
                  <c:v>128.79471751674561</c:v>
                </c:pt>
                <c:pt idx="965">
                  <c:v>162.79075721579147</c:v>
                </c:pt>
                <c:pt idx="966">
                  <c:v>301.96827114923872</c:v>
                </c:pt>
                <c:pt idx="967">
                  <c:v>346.22754102005507</c:v>
                </c:pt>
                <c:pt idx="968">
                  <c:v>351.31127662590535</c:v>
                </c:pt>
                <c:pt idx="969">
                  <c:v>361.13678616851604</c:v>
                </c:pt>
                <c:pt idx="970">
                  <c:v>341.64554390641695</c:v>
                </c:pt>
                <c:pt idx="971">
                  <c:v>352.14365222491466</c:v>
                </c:pt>
                <c:pt idx="972">
                  <c:v>347.91997694057045</c:v>
                </c:pt>
                <c:pt idx="973">
                  <c:v>343.69234672711383</c:v>
                </c:pt>
                <c:pt idx="974">
                  <c:v>356.19611394853536</c:v>
                </c:pt>
                <c:pt idx="975">
                  <c:v>356.03046554087814</c:v>
                </c:pt>
                <c:pt idx="976">
                  <c:v>349.48604607692522</c:v>
                </c:pt>
                <c:pt idx="977">
                  <c:v>354.00111113281963</c:v>
                </c:pt>
                <c:pt idx="978">
                  <c:v>355.59254597092661</c:v>
                </c:pt>
                <c:pt idx="979">
                  <c:v>353.05645431463353</c:v>
                </c:pt>
                <c:pt idx="980">
                  <c:v>354.26419856580753</c:v>
                </c:pt>
                <c:pt idx="981">
                  <c:v>346.14006659405044</c:v>
                </c:pt>
                <c:pt idx="982">
                  <c:v>355.49135569703191</c:v>
                </c:pt>
                <c:pt idx="983">
                  <c:v>350.16163085244881</c:v>
                </c:pt>
                <c:pt idx="984">
                  <c:v>359.03977197306796</c:v>
                </c:pt>
                <c:pt idx="985">
                  <c:v>356.42752448392122</c:v>
                </c:pt>
                <c:pt idx="986">
                  <c:v>366.69800966288329</c:v>
                </c:pt>
                <c:pt idx="987">
                  <c:v>355.90358460742959</c:v>
                </c:pt>
                <c:pt idx="988">
                  <c:v>343.78588178967493</c:v>
                </c:pt>
                <c:pt idx="989">
                  <c:v>344.87650857757762</c:v>
                </c:pt>
                <c:pt idx="990">
                  <c:v>338.02118692142255</c:v>
                </c:pt>
                <c:pt idx="991">
                  <c:v>336.44944308954769</c:v>
                </c:pt>
                <c:pt idx="992">
                  <c:v>357.3090993147124</c:v>
                </c:pt>
                <c:pt idx="993">
                  <c:v>356.82725895884454</c:v>
                </c:pt>
                <c:pt idx="994">
                  <c:v>389.53929782522073</c:v>
                </c:pt>
                <c:pt idx="995">
                  <c:v>362.05706161223543</c:v>
                </c:pt>
                <c:pt idx="996">
                  <c:v>363.19939058576011</c:v>
                </c:pt>
                <c:pt idx="997">
                  <c:v>418.49246917152232</c:v>
                </c:pt>
                <c:pt idx="998">
                  <c:v>579.88654140562517</c:v>
                </c:pt>
                <c:pt idx="999">
                  <c:v>408.39090609794096</c:v>
                </c:pt>
                <c:pt idx="1000">
                  <c:v>395.91856186275965</c:v>
                </c:pt>
                <c:pt idx="1001">
                  <c:v>406.06177457963202</c:v>
                </c:pt>
                <c:pt idx="1002">
                  <c:v>371.50648446047688</c:v>
                </c:pt>
                <c:pt idx="1003">
                  <c:v>386.68927275225911</c:v>
                </c:pt>
                <c:pt idx="1004">
                  <c:v>392.8095604131845</c:v>
                </c:pt>
                <c:pt idx="1005">
                  <c:v>397.09470814107095</c:v>
                </c:pt>
                <c:pt idx="1006">
                  <c:v>404.17708105340319</c:v>
                </c:pt>
                <c:pt idx="1007">
                  <c:v>389.00410310272315</c:v>
                </c:pt>
                <c:pt idx="1008">
                  <c:v>399.97229943609949</c:v>
                </c:pt>
                <c:pt idx="1009">
                  <c:v>386.6740746257247</c:v>
                </c:pt>
                <c:pt idx="1010">
                  <c:v>370.88855475904035</c:v>
                </c:pt>
                <c:pt idx="1011">
                  <c:v>371.73200232938609</c:v>
                </c:pt>
                <c:pt idx="1012">
                  <c:v>380.71223899228073</c:v>
                </c:pt>
                <c:pt idx="1013">
                  <c:v>368.72652712788295</c:v>
                </c:pt>
                <c:pt idx="1014">
                  <c:v>375.15175412999662</c:v>
                </c:pt>
                <c:pt idx="1015">
                  <c:v>374.98682877647389</c:v>
                </c:pt>
                <c:pt idx="1016">
                  <c:v>380.72017517740267</c:v>
                </c:pt>
                <c:pt idx="1017">
                  <c:v>388.24895638067801</c:v>
                </c:pt>
                <c:pt idx="1018">
                  <c:v>382.82369075155532</c:v>
                </c:pt>
                <c:pt idx="1019">
                  <c:v>370.14275570233576</c:v>
                </c:pt>
                <c:pt idx="1020">
                  <c:v>376.47923585305466</c:v>
                </c:pt>
                <c:pt idx="1021">
                  <c:v>373.27421823995314</c:v>
                </c:pt>
                <c:pt idx="1022">
                  <c:v>376.58450963450093</c:v>
                </c:pt>
                <c:pt idx="1023">
                  <c:v>412.18840980425892</c:v>
                </c:pt>
                <c:pt idx="1024">
                  <c:v>378.86862309330763</c:v>
                </c:pt>
                <c:pt idx="1025">
                  <c:v>382.92737658547549</c:v>
                </c:pt>
                <c:pt idx="1026">
                  <c:v>399.13132399200316</c:v>
                </c:pt>
                <c:pt idx="1027">
                  <c:v>428.23825592755139</c:v>
                </c:pt>
                <c:pt idx="1028">
                  <c:v>425.89418039149842</c:v>
                </c:pt>
                <c:pt idx="1029">
                  <c:v>420.2828371335483</c:v>
                </c:pt>
                <c:pt idx="1030">
                  <c:v>1012.1885904345506</c:v>
                </c:pt>
                <c:pt idx="1031">
                  <c:v>2066.9402517967851</c:v>
                </c:pt>
                <c:pt idx="1032">
                  <c:v>393.34602550433459</c:v>
                </c:pt>
                <c:pt idx="1033">
                  <c:v>381.34486501249671</c:v>
                </c:pt>
                <c:pt idx="1034">
                  <c:v>379.35311004996845</c:v>
                </c:pt>
                <c:pt idx="1035">
                  <c:v>377.32799569933582</c:v>
                </c:pt>
                <c:pt idx="1036">
                  <c:v>412.52344899977913</c:v>
                </c:pt>
                <c:pt idx="1037">
                  <c:v>97.103022774876848</c:v>
                </c:pt>
                <c:pt idx="1038">
                  <c:v>318.28830280732376</c:v>
                </c:pt>
                <c:pt idx="1039">
                  <c:v>355.9627986367654</c:v>
                </c:pt>
                <c:pt idx="1040">
                  <c:v>363.49041151698361</c:v>
                </c:pt>
                <c:pt idx="1041">
                  <c:v>378.83726375907577</c:v>
                </c:pt>
                <c:pt idx="1042">
                  <c:v>376.89919118056736</c:v>
                </c:pt>
                <c:pt idx="1043">
                  <c:v>435.10513934202373</c:v>
                </c:pt>
                <c:pt idx="1044">
                  <c:v>366.59586457333535</c:v>
                </c:pt>
                <c:pt idx="1045">
                  <c:v>350.88491323190073</c:v>
                </c:pt>
                <c:pt idx="1046">
                  <c:v>353.2005998460458</c:v>
                </c:pt>
                <c:pt idx="1047">
                  <c:v>346.16939284012938</c:v>
                </c:pt>
                <c:pt idx="1048">
                  <c:v>355.47859654051621</c:v>
                </c:pt>
                <c:pt idx="1049">
                  <c:v>350.5453142382745</c:v>
                </c:pt>
                <c:pt idx="1050">
                  <c:v>354.99775875671122</c:v>
                </c:pt>
                <c:pt idx="1051">
                  <c:v>352.66220244364018</c:v>
                </c:pt>
                <c:pt idx="1052">
                  <c:v>354.76488147665299</c:v>
                </c:pt>
                <c:pt idx="1053">
                  <c:v>366.20297261196868</c:v>
                </c:pt>
                <c:pt idx="1054">
                  <c:v>397.52370948413562</c:v>
                </c:pt>
                <c:pt idx="1055">
                  <c:v>402.07443167607602</c:v>
                </c:pt>
                <c:pt idx="1056">
                  <c:v>384.798056957212</c:v>
                </c:pt>
                <c:pt idx="1057">
                  <c:v>375.21345927146092</c:v>
                </c:pt>
                <c:pt idx="1058">
                  <c:v>382.01008438784203</c:v>
                </c:pt>
                <c:pt idx="1059">
                  <c:v>364.19599314250172</c:v>
                </c:pt>
                <c:pt idx="1060">
                  <c:v>367.10249868914008</c:v>
                </c:pt>
                <c:pt idx="1061">
                  <c:v>373.52565846435078</c:v>
                </c:pt>
                <c:pt idx="1062">
                  <c:v>384.54959665777363</c:v>
                </c:pt>
                <c:pt idx="1063">
                  <c:v>386.65601198664456</c:v>
                </c:pt>
                <c:pt idx="1064">
                  <c:v>388.14744034170906</c:v>
                </c:pt>
                <c:pt idx="1065">
                  <c:v>396.72111881460359</c:v>
                </c:pt>
                <c:pt idx="1066">
                  <c:v>395.61796246538154</c:v>
                </c:pt>
                <c:pt idx="1067">
                  <c:v>392.25190968507627</c:v>
                </c:pt>
                <c:pt idx="1068">
                  <c:v>380.61780463219799</c:v>
                </c:pt>
                <c:pt idx="1069">
                  <c:v>378.8031934147196</c:v>
                </c:pt>
                <c:pt idx="1070">
                  <c:v>386.01716204563655</c:v>
                </c:pt>
                <c:pt idx="1071">
                  <c:v>399.29231892089035</c:v>
                </c:pt>
                <c:pt idx="1072">
                  <c:v>376.33614256673707</c:v>
                </c:pt>
                <c:pt idx="1073">
                  <c:v>377.66883787492475</c:v>
                </c:pt>
                <c:pt idx="1074">
                  <c:v>361.03776822143891</c:v>
                </c:pt>
                <c:pt idx="1075">
                  <c:v>385.3535349764598</c:v>
                </c:pt>
                <c:pt idx="1076">
                  <c:v>419.37551076779204</c:v>
                </c:pt>
                <c:pt idx="1077">
                  <c:v>380.60974541204132</c:v>
                </c:pt>
                <c:pt idx="1078">
                  <c:v>382.39554406382285</c:v>
                </c:pt>
                <c:pt idx="1079">
                  <c:v>381.72020978941214</c:v>
                </c:pt>
                <c:pt idx="1080">
                  <c:v>380.71974388604031</c:v>
                </c:pt>
                <c:pt idx="1081">
                  <c:v>386.68504877342014</c:v>
                </c:pt>
                <c:pt idx="1082">
                  <c:v>376.08163923760532</c:v>
                </c:pt>
                <c:pt idx="1083">
                  <c:v>385.87334528493358</c:v>
                </c:pt>
                <c:pt idx="1084">
                  <c:v>486.23491824576092</c:v>
                </c:pt>
                <c:pt idx="1085">
                  <c:v>505.83533130697117</c:v>
                </c:pt>
                <c:pt idx="1086">
                  <c:v>411.2195252279671</c:v>
                </c:pt>
                <c:pt idx="1087">
                  <c:v>410.05553977571975</c:v>
                </c:pt>
                <c:pt idx="1088">
                  <c:v>390.22377336838724</c:v>
                </c:pt>
                <c:pt idx="1089">
                  <c:v>377.81275211523234</c:v>
                </c:pt>
                <c:pt idx="1090">
                  <c:v>372.4554183276685</c:v>
                </c:pt>
                <c:pt idx="1091">
                  <c:v>375.83639364357862</c:v>
                </c:pt>
                <c:pt idx="1092">
                  <c:v>373.51110036451553</c:v>
                </c:pt>
                <c:pt idx="1093">
                  <c:v>370.05385790814256</c:v>
                </c:pt>
                <c:pt idx="1094">
                  <c:v>375.37487276373452</c:v>
                </c:pt>
                <c:pt idx="1095">
                  <c:v>374.66614197773782</c:v>
                </c:pt>
              </c:numCache>
            </c:numRef>
          </c:xVal>
          <c:yVal>
            <c:numRef>
              <c:f>'Parameters ranges for ANN step1'!$AJ$3:$AJ$1137</c:f>
              <c:numCache>
                <c:formatCode>0</c:formatCode>
                <c:ptCount val="1135"/>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320.22627222790391</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327.73110998308101</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353.38815353065985</c:v>
                </c:pt>
                <c:pt idx="28">
                  <c:v>321.99861002954611</c:v>
                </c:pt>
                <c:pt idx="29">
                  <c:v>320.95747258053484</c:v>
                </c:pt>
                <c:pt idx="30">
                  <c:v>327.66673615498394</c:v>
                </c:pt>
                <c:pt idx="31">
                  <c:v>313.46570329571915</c:v>
                </c:pt>
                <c:pt idx="32">
                  <c:v>319.77386497872101</c:v>
                </c:pt>
                <c:pt idx="33">
                  <c:v>328.82618267854872</c:v>
                </c:pt>
                <c:pt idx="34">
                  <c:v>348.10495342262442</c:v>
                </c:pt>
                <c:pt idx="35">
                  <c:v>341.28146249310817</c:v>
                </c:pt>
                <c:pt idx="36">
                  <c:v>331.3983381867933</c:v>
                </c:pt>
                <c:pt idx="37">
                  <c:v>322.0289674859049</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332.90284188019041</c:v>
                </c:pt>
                <c:pt idx="51">
                  <c:v>335.52875809093149</c:v>
                </c:pt>
                <c:pt idx="52">
                  <c:v>334.58874258599309</c:v>
                </c:pt>
                <c:pt idx="53">
                  <c:v>318.02931924876447</c:v>
                </c:pt>
                <c:pt idx="54">
                  <c:v>317.42375919289793</c:v>
                </c:pt>
                <c:pt idx="55">
                  <c:v>320.25120076963969</c:v>
                </c:pt>
                <c:pt idx="56">
                  <c:v>313.35240736514118</c:v>
                </c:pt>
                <c:pt idx="57">
                  <c:v>328.8608730893763</c:v>
                </c:pt>
                <c:pt idx="58">
                  <c:v>325.68842389334611</c:v>
                </c:pt>
                <c:pt idx="59">
                  <c:v>328.00983483047673</c:v>
                </c:pt>
                <c:pt idx="60">
                  <c:v>304.78893267734338</c:v>
                </c:pt>
                <c:pt idx="61">
                  <c:v>317.7817483222637</c:v>
                </c:pt>
                <c:pt idx="62">
                  <c:v>320.3107889527152</c:v>
                </c:pt>
                <c:pt idx="63">
                  <c:v>314.07674731811966</c:v>
                </c:pt>
                <c:pt idx="64">
                  <c:v>309.10775694536147</c:v>
                </c:pt>
                <c:pt idx="65">
                  <c:v>317.66522659276092</c:v>
                </c:pt>
                <c:pt idx="66">
                  <c:v>316.1875597670886</c:v>
                </c:pt>
                <c:pt idx="67">
                  <c:v>328.3129893324504</c:v>
                </c:pt>
                <c:pt idx="68">
                  <c:v>337.06732556173142</c:v>
                </c:pt>
                <c:pt idx="69">
                  <c:v>338.74328092915368</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349.31556995306283</c:v>
                </c:pt>
                <c:pt idx="116">
                  <c:v>322.34680747192402</c:v>
                </c:pt>
                <c:pt idx="117">
                  <c:v>328.60453751817124</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704.82408268098902</c:v>
                </c:pt>
                <c:pt idx="145">
                  <c:v>3293.1266070691199</c:v>
                </c:pt>
                <c:pt idx="149">
                  <c:v>708.14507490127403</c:v>
                </c:pt>
                <c:pt idx="150">
                  <c:v>498.06724427458897</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341.48506096046799</c:v>
                </c:pt>
                <c:pt idx="160">
                  <c:v>346.40747457987698</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336.95154947493199</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340.98608478616097</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339.39163349474001</c:v>
                </c:pt>
                <c:pt idx="218">
                  <c:v>327.29307991113097</c:v>
                </c:pt>
                <c:pt idx="219">
                  <c:v>357.173656061884</c:v>
                </c:pt>
                <c:pt idx="220">
                  <c:v>312.42925506017798</c:v>
                </c:pt>
                <c:pt idx="221">
                  <c:v>318.19970673388701</c:v>
                </c:pt>
                <c:pt idx="222">
                  <c:v>323.57573683888899</c:v>
                </c:pt>
                <c:pt idx="223">
                  <c:v>315.55895851083602</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346.869065644903</c:v>
                </c:pt>
                <c:pt idx="233">
                  <c:v>331.85880609668902</c:v>
                </c:pt>
                <c:pt idx="234">
                  <c:v>321.76254188779097</c:v>
                </c:pt>
                <c:pt idx="235">
                  <c:v>354.22415309327499</c:v>
                </c:pt>
                <c:pt idx="236">
                  <c:v>342.54850082921701</c:v>
                </c:pt>
                <c:pt idx="237">
                  <c:v>330.08522026962299</c:v>
                </c:pt>
                <c:pt idx="238">
                  <c:v>325.74425234078802</c:v>
                </c:pt>
                <c:pt idx="239">
                  <c:v>338.60152162625798</c:v>
                </c:pt>
                <c:pt idx="240">
                  <c:v>369.86289738117603</c:v>
                </c:pt>
                <c:pt idx="241">
                  <c:v>374.497493299572</c:v>
                </c:pt>
                <c:pt idx="242">
                  <c:v>362.04070426256698</c:v>
                </c:pt>
                <c:pt idx="243">
                  <c:v>362.776355234373</c:v>
                </c:pt>
                <c:pt idx="244">
                  <c:v>365.10704820643099</c:v>
                </c:pt>
                <c:pt idx="245">
                  <c:v>421.56297591179498</c:v>
                </c:pt>
                <c:pt idx="246">
                  <c:v>419.37320932385302</c:v>
                </c:pt>
                <c:pt idx="247">
                  <c:v>435.05910903021902</c:v>
                </c:pt>
                <c:pt idx="248">
                  <c:v>391.14175188551002</c:v>
                </c:pt>
                <c:pt idx="249">
                  <c:v>385.95309696167197</c:v>
                </c:pt>
                <c:pt idx="250">
                  <c:v>385.03601752360697</c:v>
                </c:pt>
                <c:pt idx="251">
                  <c:v>375.25896736175099</c:v>
                </c:pt>
                <c:pt idx="252">
                  <c:v>360.390360058738</c:v>
                </c:pt>
                <c:pt idx="253">
                  <c:v>364.68058703493898</c:v>
                </c:pt>
                <c:pt idx="254">
                  <c:v>349.28731702461903</c:v>
                </c:pt>
                <c:pt idx="255">
                  <c:v>359.32329715198699</c:v>
                </c:pt>
                <c:pt idx="256">
                  <c:v>321.38215214328198</c:v>
                </c:pt>
                <c:pt idx="257">
                  <c:v>314.81158570599098</c:v>
                </c:pt>
                <c:pt idx="258">
                  <c:v>351.80198103419201</c:v>
                </c:pt>
                <c:pt idx="259">
                  <c:v>473.16824585154802</c:v>
                </c:pt>
                <c:pt idx="260">
                  <c:v>484.49553178660898</c:v>
                </c:pt>
                <c:pt idx="261">
                  <c:v>376.65248520298098</c:v>
                </c:pt>
                <c:pt idx="262">
                  <c:v>354.30427381673701</c:v>
                </c:pt>
                <c:pt idx="263">
                  <c:v>360.58366318272601</c:v>
                </c:pt>
                <c:pt idx="264">
                  <c:v>341.84967443437898</c:v>
                </c:pt>
                <c:pt idx="265">
                  <c:v>346.65324472884498</c:v>
                </c:pt>
                <c:pt idx="266">
                  <c:v>347.22410243016998</c:v>
                </c:pt>
                <c:pt idx="267">
                  <c:v>385.28038821798901</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355.27677014739697</c:v>
                </c:pt>
                <c:pt idx="294">
                  <c:v>350.420980002492</c:v>
                </c:pt>
                <c:pt idx="295">
                  <c:v>340.49514659784103</c:v>
                </c:pt>
                <c:pt idx="296">
                  <c:v>339.93567129670799</c:v>
                </c:pt>
                <c:pt idx="297">
                  <c:v>341.97971700350098</c:v>
                </c:pt>
                <c:pt idx="298">
                  <c:v>342.58145664481799</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392.06318297830097</c:v>
                </c:pt>
                <c:pt idx="336">
                  <c:v>343.77895889730001</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333.12707547053299</c:v>
                </c:pt>
                <c:pt idx="357">
                  <c:v>321.58453554188799</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formatCode="General">
                  <c:v>330.375167010106</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311.46844598658402</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337.13218234211899</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345.528500432952</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301.883458266861</c:v>
                </c:pt>
                <c:pt idx="456">
                  <c:v>306.46632943287102</c:v>
                </c:pt>
                <c:pt idx="457">
                  <c:v>314.48239256563397</c:v>
                </c:pt>
                <c:pt idx="458">
                  <c:v>311.48692196015702</c:v>
                </c:pt>
                <c:pt idx="459">
                  <c:v>307.04196447501602</c:v>
                </c:pt>
                <c:pt idx="460">
                  <c:v>306.96544039396298</c:v>
                </c:pt>
                <c:pt idx="461">
                  <c:v>304.15757241272001</c:v>
                </c:pt>
                <c:pt idx="462">
                  <c:v>258.95672483594097</c:v>
                </c:pt>
                <c:pt idx="463">
                  <c:v>260.23618212396502</c:v>
                </c:pt>
                <c:pt idx="464">
                  <c:v>310.454165951449</c:v>
                </c:pt>
                <c:pt idx="465">
                  <c:v>311.52208531027202</c:v>
                </c:pt>
                <c:pt idx="466">
                  <c:v>322.19591128932899</c:v>
                </c:pt>
                <c:pt idx="467">
                  <c:v>412.82721945799</c:v>
                </c:pt>
                <c:pt idx="468">
                  <c:v>609.38380791153497</c:v>
                </c:pt>
                <c:pt idx="469">
                  <c:v>347.82884289336999</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8">
                  <c:v>539.70220978651901</c:v>
                </c:pt>
                <c:pt idx="499">
                  <c:v>315.49397526620697</c:v>
                </c:pt>
                <c:pt idx="500">
                  <c:v>312.07996479633601</c:v>
                </c:pt>
                <c:pt idx="501">
                  <c:v>319.97306717480399</c:v>
                </c:pt>
                <c:pt idx="502">
                  <c:v>321.439479877633</c:v>
                </c:pt>
                <c:pt idx="503">
                  <c:v>324.17536956196301</c:v>
                </c:pt>
                <c:pt idx="504">
                  <c:v>330.90906156137299</c:v>
                </c:pt>
                <c:pt idx="505">
                  <c:v>323.59973608442698</c:v>
                </c:pt>
                <c:pt idx="506">
                  <c:v>400.52931078400701</c:v>
                </c:pt>
                <c:pt idx="507">
                  <c:v>328.79389443008603</c:v>
                </c:pt>
                <c:pt idx="508">
                  <c:v>326.99348832417002</c:v>
                </c:pt>
                <c:pt idx="509">
                  <c:v>317.78521970650098</c:v>
                </c:pt>
                <c:pt idx="510">
                  <c:v>317.50748363236698</c:v>
                </c:pt>
                <c:pt idx="511">
                  <c:v>318.457762005706</c:v>
                </c:pt>
                <c:pt idx="512">
                  <c:v>319.10751635077202</c:v>
                </c:pt>
                <c:pt idx="513">
                  <c:v>309.61478917023197</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308.33318559646801</c:v>
                </c:pt>
                <c:pt idx="523">
                  <c:v>309.93127246608998</c:v>
                </c:pt>
                <c:pt idx="524">
                  <c:v>309.71001228537398</c:v>
                </c:pt>
                <c:pt idx="525">
                  <c:v>318.40501555290803</c:v>
                </c:pt>
                <c:pt idx="526">
                  <c:v>332.64397949796199</c:v>
                </c:pt>
                <c:pt idx="527">
                  <c:v>349.90620809152398</c:v>
                </c:pt>
                <c:pt idx="528">
                  <c:v>344.88001614199601</c:v>
                </c:pt>
                <c:pt idx="529">
                  <c:v>371.82995923431201</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349.97792455766898</c:v>
                </c:pt>
                <c:pt idx="571">
                  <c:v>340.10627176837698</c:v>
                </c:pt>
                <c:pt idx="572">
                  <c:v>338.900481463809</c:v>
                </c:pt>
                <c:pt idx="573">
                  <c:v>322.75720855810698</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315.64168769378102</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345.19159196177799</c:v>
                </c:pt>
                <c:pt idx="607">
                  <c:v>405.26449101922901</c:v>
                </c:pt>
                <c:pt idx="608">
                  <c:v>325.76070001360898</c:v>
                </c:pt>
                <c:pt idx="609">
                  <c:v>327.66351813619701</c:v>
                </c:pt>
                <c:pt idx="610">
                  <c:v>348.03888514141403</c:v>
                </c:pt>
                <c:pt idx="611">
                  <c:v>355.35273207570299</c:v>
                </c:pt>
                <c:pt idx="612">
                  <c:v>360.248403459359</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3">
                  <c:v>480.37554908220397</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380.89927233364102</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328.80482800572901</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387.45453960211</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323.57713049668502</c:v>
                </c:pt>
                <c:pt idx="719">
                  <c:v>324.77705518667801</c:v>
                </c:pt>
                <c:pt idx="720">
                  <c:v>325.00218155725003</c:v>
                </c:pt>
                <c:pt idx="721">
                  <c:v>323.64730670914003</c:v>
                </c:pt>
                <c:pt idx="722">
                  <c:v>326.67519612125199</c:v>
                </c:pt>
                <c:pt idx="723">
                  <c:v>331.171647625898</c:v>
                </c:pt>
                <c:pt idx="724">
                  <c:v>383.85692345414998</c:v>
                </c:pt>
                <c:pt idx="725">
                  <c:v>776.214396611967</c:v>
                </c:pt>
                <c:pt idx="726">
                  <c:v>503.48229673947901</c:v>
                </c:pt>
                <c:pt idx="727">
                  <c:v>349.46074446929202</c:v>
                </c:pt>
                <c:pt idx="728">
                  <c:v>328.00880830653898</c:v>
                </c:pt>
                <c:pt idx="729">
                  <c:v>325.92545019233103</c:v>
                </c:pt>
                <c:pt idx="730">
                  <c:v>327.02947503205201</c:v>
                </c:pt>
                <c:pt idx="731">
                  <c:v>327.98615324554419</c:v>
                </c:pt>
                <c:pt idx="732">
                  <c:v>331.91309908129693</c:v>
                </c:pt>
                <c:pt idx="733">
                  <c:v>329.6986942958232</c:v>
                </c:pt>
                <c:pt idx="734">
                  <c:v>329.24764649261476</c:v>
                </c:pt>
                <c:pt idx="735">
                  <c:v>329.82358255706964</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473.90302123035792</c:v>
                </c:pt>
                <c:pt idx="790">
                  <c:v>342.66852826155377</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355.26915643573199</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348.94536427810925</c:v>
                </c:pt>
                <c:pt idx="822">
                  <c:v>350.83738063171626</c:v>
                </c:pt>
                <c:pt idx="823">
                  <c:v>341.92197502049447</c:v>
                </c:pt>
                <c:pt idx="824">
                  <c:v>343.38293211347377</c:v>
                </c:pt>
                <c:pt idx="825">
                  <c:v>363.58016395842861</c:v>
                </c:pt>
                <c:pt idx="826">
                  <c:v>355.25297275573467</c:v>
                </c:pt>
                <c:pt idx="827">
                  <c:v>361.94962313714211</c:v>
                </c:pt>
                <c:pt idx="828">
                  <c:v>374.27984581025544</c:v>
                </c:pt>
                <c:pt idx="829">
                  <c:v>368.69039623856355</c:v>
                </c:pt>
                <c:pt idx="830">
                  <c:v>372.28030575262954</c:v>
                </c:pt>
                <c:pt idx="831">
                  <c:v>371.95859079410673</c:v>
                </c:pt>
                <c:pt idx="832">
                  <c:v>370.44087348814605</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365.98254032217886</c:v>
                </c:pt>
                <c:pt idx="863">
                  <c:v>326.29273330156695</c:v>
                </c:pt>
                <c:pt idx="864">
                  <c:v>395.2899164046629</c:v>
                </c:pt>
                <c:pt idx="865">
                  <c:v>414.88814777455678</c:v>
                </c:pt>
                <c:pt idx="866">
                  <c:v>320.60833294332588</c:v>
                </c:pt>
                <c:pt idx="867">
                  <c:v>326.80509471935807</c:v>
                </c:pt>
                <c:pt idx="868">
                  <c:v>330.47581519905521</c:v>
                </c:pt>
                <c:pt idx="869">
                  <c:v>327.06853372497204</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333.78090297889003</c:v>
                </c:pt>
                <c:pt idx="895">
                  <c:v>333.41031652830816</c:v>
                </c:pt>
                <c:pt idx="896">
                  <c:v>326.7529679040133</c:v>
                </c:pt>
                <c:pt idx="897">
                  <c:v>334.11796074721224</c:v>
                </c:pt>
                <c:pt idx="898">
                  <c:v>344.59181760332194</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353.19861986281086</c:v>
                </c:pt>
                <c:pt idx="912">
                  <c:v>340.1854532472413</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355.51007941237225</c:v>
                </c:pt>
                <c:pt idx="930">
                  <c:v>326.87332932214554</c:v>
                </c:pt>
                <c:pt idx="931">
                  <c:v>337.72147928552641</c:v>
                </c:pt>
                <c:pt idx="932">
                  <c:v>338.93044935057816</c:v>
                </c:pt>
                <c:pt idx="933">
                  <c:v>330.64095321197073</c:v>
                </c:pt>
                <c:pt idx="934">
                  <c:v>330.63106979033455</c:v>
                </c:pt>
                <c:pt idx="935">
                  <c:v>329.33624238794351</c:v>
                </c:pt>
                <c:pt idx="936">
                  <c:v>314.61707909566741</c:v>
                </c:pt>
                <c:pt idx="937">
                  <c:v>314.61707909566741</c:v>
                </c:pt>
                <c:pt idx="938">
                  <c:v>314.61707909566741</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425.53884555956148</c:v>
                </c:pt>
                <c:pt idx="956">
                  <c:v>795.39222084912046</c:v>
                </c:pt>
                <c:pt idx="957">
                  <c:v>656.68215345676424</c:v>
                </c:pt>
                <c:pt idx="958">
                  <c:v>409.33789222248492</c:v>
                </c:pt>
                <c:pt idx="959">
                  <c:v>333.93752689854387</c:v>
                </c:pt>
                <c:pt idx="960">
                  <c:v>337.87627851981443</c:v>
                </c:pt>
                <c:pt idx="961">
                  <c:v>327.78756702676435</c:v>
                </c:pt>
                <c:pt idx="962">
                  <c:v>330.32509742135778</c:v>
                </c:pt>
                <c:pt idx="963">
                  <c:v>349.89483709475655</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360.88397277898116</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345.79715514895054</c:v>
                </c:pt>
                <c:pt idx="1021">
                  <c:v>356.52261310398018</c:v>
                </c:pt>
                <c:pt idx="1022">
                  <c:v>347.84077861051901</c:v>
                </c:pt>
                <c:pt idx="1023">
                  <c:v>331.16903810579339</c:v>
                </c:pt>
                <c:pt idx="1024">
                  <c:v>335.83703901038825</c:v>
                </c:pt>
                <c:pt idx="1025">
                  <c:v>336.48519496856159</c:v>
                </c:pt>
                <c:pt idx="1026">
                  <c:v>348.24742261529042</c:v>
                </c:pt>
                <c:pt idx="1027">
                  <c:v>361.50285620174219</c:v>
                </c:pt>
                <c:pt idx="1028">
                  <c:v>378.32964523916695</c:v>
                </c:pt>
                <c:pt idx="1029">
                  <c:v>374.12804840324281</c:v>
                </c:pt>
                <c:pt idx="1030">
                  <c:v>540.57366857199781</c:v>
                </c:pt>
                <c:pt idx="1031">
                  <c:v>704.73520826378831</c:v>
                </c:pt>
                <c:pt idx="1032">
                  <c:v>361.79238092835726</c:v>
                </c:pt>
                <c:pt idx="1033">
                  <c:v>336.01052771939192</c:v>
                </c:pt>
                <c:pt idx="1034">
                  <c:v>333.51737568989569</c:v>
                </c:pt>
                <c:pt idx="1035">
                  <c:v>338.16422492104437</c:v>
                </c:pt>
                <c:pt idx="1036">
                  <c:v>350.44286895935409</c:v>
                </c:pt>
                <c:pt idx="1037">
                  <c:v>342.36819553646353</c:v>
                </c:pt>
                <c:pt idx="1038">
                  <c:v>400.95527467153158</c:v>
                </c:pt>
                <c:pt idx="1039">
                  <c:v>361.44849577341745</c:v>
                </c:pt>
                <c:pt idx="1040">
                  <c:v>387.06407833988203</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365.46750765533733</c:v>
                </c:pt>
                <c:pt idx="1055">
                  <c:v>353.04299201971264</c:v>
                </c:pt>
                <c:pt idx="1056">
                  <c:v>337.21069877279018</c:v>
                </c:pt>
                <c:pt idx="1057">
                  <c:v>331.21521874770593</c:v>
                </c:pt>
                <c:pt idx="1058">
                  <c:v>355.21684603228073</c:v>
                </c:pt>
                <c:pt idx="1059">
                  <c:v>349.82540556863262</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374.93964682002809</c:v>
                </c:pt>
                <c:pt idx="1078">
                  <c:v>350.72047525203755</c:v>
                </c:pt>
                <c:pt idx="1079">
                  <c:v>351.69506062914365</c:v>
                </c:pt>
                <c:pt idx="1080">
                  <c:v>355.27732637670118</c:v>
                </c:pt>
                <c:pt idx="1081">
                  <c:v>363.04657958196015</c:v>
                </c:pt>
                <c:pt idx="1082">
                  <c:v>365.50324513548878</c:v>
                </c:pt>
                <c:pt idx="1083">
                  <c:v>394.41894427389457</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A833-4B3A-A262-B79477A4E3B0}"/>
            </c:ext>
          </c:extLst>
        </c:ser>
        <c:dLbls>
          <c:showLegendKey val="0"/>
          <c:showVal val="0"/>
          <c:showCatName val="0"/>
          <c:showSerName val="0"/>
          <c:showPercent val="0"/>
          <c:showBubbleSize val="0"/>
        </c:dLbls>
        <c:axId val="199454623"/>
        <c:axId val="199454207"/>
      </c:scatterChart>
      <c:valAx>
        <c:axId val="199454623"/>
        <c:scaling>
          <c:orientation val="minMax"/>
          <c:max val="390"/>
          <c:min val="3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9454207"/>
        <c:crosses val="autoZero"/>
        <c:crossBetween val="midCat"/>
      </c:valAx>
      <c:valAx>
        <c:axId val="199454207"/>
        <c:scaling>
          <c:orientation val="minMax"/>
          <c:max val="350"/>
          <c:min val="3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9454623"/>
        <c:crosses val="autoZero"/>
        <c:crossBetween val="midCat"/>
      </c:valAx>
      <c:spPr>
        <a:noFill/>
        <a:ln>
          <a:noFill/>
        </a:ln>
        <a:effectLst/>
      </c:spPr>
    </c:plotArea>
    <c:plotVisOnly val="1"/>
    <c:dispBlanksAs val="gap"/>
    <c:showDLblsOverMax val="0"/>
  </c:chart>
  <c:spPr>
    <a:noFill/>
    <a:ln w="9525">
      <a:solidFill>
        <a:schemeClr val="tx2">
          <a:lumMod val="75000"/>
        </a:schemeClr>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oke </a:t>
            </a:r>
            <a:r>
              <a:rPr lang="en-US" dirty="0" smtClean="0"/>
              <a:t>(kg) </a:t>
            </a:r>
            <a:r>
              <a:rPr lang="en-US" dirty="0"/>
              <a:t>v/s C in </a:t>
            </a:r>
            <a:r>
              <a:rPr lang="en-US" dirty="0" smtClean="0"/>
              <a:t>Hot </a:t>
            </a:r>
            <a:r>
              <a:rPr lang="en-US" baseline="0" dirty="0" smtClean="0"/>
              <a:t>Metal(kg)</a:t>
            </a:r>
            <a:endParaRPr lang="en-US" dirty="0"/>
          </a:p>
        </c:rich>
      </c:tx>
      <c:layout>
        <c:manualLayout>
          <c:xMode val="edge"/>
          <c:yMode val="edge"/>
          <c:x val="0.1425505166089944"/>
          <c:y val="2.656449446145978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J$1:$AJ$2</c:f>
              <c:strCache>
                <c:ptCount val="2"/>
                <c:pt idx="0">
                  <c:v>Total Coke+Nut Coke</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C$3:$AC$1137</c:f>
              <c:numCache>
                <c:formatCode>0</c:formatCode>
                <c:ptCount val="1135"/>
                <c:pt idx="0">
                  <c:v>46.663678543516028</c:v>
                </c:pt>
                <c:pt idx="1">
                  <c:v>46.593651497481801</c:v>
                </c:pt>
                <c:pt idx="2">
                  <c:v>46.876360813340256</c:v>
                </c:pt>
                <c:pt idx="3">
                  <c:v>47.113421914120359</c:v>
                </c:pt>
                <c:pt idx="4">
                  <c:v>46.20835371205041</c:v>
                </c:pt>
                <c:pt idx="5">
                  <c:v>44.779848169544756</c:v>
                </c:pt>
                <c:pt idx="6">
                  <c:v>45.460968146440621</c:v>
                </c:pt>
                <c:pt idx="7">
                  <c:v>46.114579931676346</c:v>
                </c:pt>
                <c:pt idx="8">
                  <c:v>46.460783764097101</c:v>
                </c:pt>
                <c:pt idx="9">
                  <c:v>45.803928331907279</c:v>
                </c:pt>
                <c:pt idx="10">
                  <c:v>46.471095449817447</c:v>
                </c:pt>
                <c:pt idx="11">
                  <c:v>46.268589814507095</c:v>
                </c:pt>
                <c:pt idx="12">
                  <c:v>46.296885805435522</c:v>
                </c:pt>
                <c:pt idx="13">
                  <c:v>45.405460107289798</c:v>
                </c:pt>
                <c:pt idx="14">
                  <c:v>46.069393725140692</c:v>
                </c:pt>
                <c:pt idx="15">
                  <c:v>45.309381634927</c:v>
                </c:pt>
                <c:pt idx="16">
                  <c:v>47.22273536974604</c:v>
                </c:pt>
                <c:pt idx="17">
                  <c:v>46.876360813340256</c:v>
                </c:pt>
                <c:pt idx="18">
                  <c:v>46.71869631248051</c:v>
                </c:pt>
                <c:pt idx="19">
                  <c:v>45.854146963740774</c:v>
                </c:pt>
                <c:pt idx="20">
                  <c:v>46.407604391077363</c:v>
                </c:pt>
                <c:pt idx="21">
                  <c:v>45.672567323766124</c:v>
                </c:pt>
                <c:pt idx="22">
                  <c:v>46.557232757434328</c:v>
                </c:pt>
                <c:pt idx="23">
                  <c:v>46.608624055583491</c:v>
                </c:pt>
                <c:pt idx="24">
                  <c:v>46.609839631610029</c:v>
                </c:pt>
                <c:pt idx="25">
                  <c:v>47.304999699480156</c:v>
                </c:pt>
                <c:pt idx="26">
                  <c:v>46.513828598621416</c:v>
                </c:pt>
                <c:pt idx="27">
                  <c:v>45.915324882565507</c:v>
                </c:pt>
                <c:pt idx="28">
                  <c:v>46.574390689266608</c:v>
                </c:pt>
                <c:pt idx="29">
                  <c:v>46.876360813340256</c:v>
                </c:pt>
                <c:pt idx="30">
                  <c:v>46.87303522836342</c:v>
                </c:pt>
                <c:pt idx="31">
                  <c:v>46.691500235574168</c:v>
                </c:pt>
                <c:pt idx="32">
                  <c:v>47.0229843984349</c:v>
                </c:pt>
                <c:pt idx="33">
                  <c:v>47.209333681566207</c:v>
                </c:pt>
                <c:pt idx="34">
                  <c:v>46.543950495131575</c:v>
                </c:pt>
                <c:pt idx="35">
                  <c:v>46.543950495131575</c:v>
                </c:pt>
                <c:pt idx="36">
                  <c:v>46.842454962431987</c:v>
                </c:pt>
                <c:pt idx="37">
                  <c:v>46.691049148181072</c:v>
                </c:pt>
                <c:pt idx="38">
                  <c:v>46.618779024000567</c:v>
                </c:pt>
                <c:pt idx="39">
                  <c:v>46.215061398189711</c:v>
                </c:pt>
                <c:pt idx="40">
                  <c:v>45.275763062050757</c:v>
                </c:pt>
                <c:pt idx="41">
                  <c:v>45.784537830006435</c:v>
                </c:pt>
                <c:pt idx="42">
                  <c:v>45.207244098943171</c:v>
                </c:pt>
                <c:pt idx="43">
                  <c:v>45.838702684281365</c:v>
                </c:pt>
                <c:pt idx="44">
                  <c:v>44.725901872318872</c:v>
                </c:pt>
                <c:pt idx="45">
                  <c:v>43.658926358958503</c:v>
                </c:pt>
                <c:pt idx="46">
                  <c:v>45.304789858911896</c:v>
                </c:pt>
                <c:pt idx="47">
                  <c:v>45.688640941000891</c:v>
                </c:pt>
                <c:pt idx="48">
                  <c:v>45.436500581784813</c:v>
                </c:pt>
                <c:pt idx="49">
                  <c:v>46.222209667488798</c:v>
                </c:pt>
                <c:pt idx="50">
                  <c:v>43.981441831675411</c:v>
                </c:pt>
                <c:pt idx="51">
                  <c:v>46.67346914884439</c:v>
                </c:pt>
                <c:pt idx="52">
                  <c:v>46.570680188385523</c:v>
                </c:pt>
                <c:pt idx="53">
                  <c:v>46.038667241941084</c:v>
                </c:pt>
                <c:pt idx="54" formatCode="0.0">
                  <c:v>46.506694761281544</c:v>
                </c:pt>
                <c:pt idx="55" formatCode="0.0">
                  <c:v>46.432054914066711</c:v>
                </c:pt>
                <c:pt idx="56">
                  <c:v>46.101608587280211</c:v>
                </c:pt>
                <c:pt idx="57" formatCode="0.0">
                  <c:v>46.356965027632803</c:v>
                </c:pt>
                <c:pt idx="58" formatCode="0.0">
                  <c:v>46.23966714515884</c:v>
                </c:pt>
                <c:pt idx="59">
                  <c:v>45.531641653239454</c:v>
                </c:pt>
                <c:pt idx="60">
                  <c:v>46.384473825923926</c:v>
                </c:pt>
                <c:pt idx="61">
                  <c:v>45.882397862991212</c:v>
                </c:pt>
                <c:pt idx="62">
                  <c:v>46.622506889576592</c:v>
                </c:pt>
                <c:pt idx="63">
                  <c:v>45.995544019269502</c:v>
                </c:pt>
                <c:pt idx="64">
                  <c:v>45.716147360715134</c:v>
                </c:pt>
                <c:pt idx="65">
                  <c:v>46.326342697827279</c:v>
                </c:pt>
                <c:pt idx="66">
                  <c:v>46.063942978738936</c:v>
                </c:pt>
                <c:pt idx="67">
                  <c:v>45.966942624492205</c:v>
                </c:pt>
                <c:pt idx="68">
                  <c:v>46.306608285849229</c:v>
                </c:pt>
                <c:pt idx="69">
                  <c:v>46.807377733686614</c:v>
                </c:pt>
                <c:pt idx="70">
                  <c:v>46.95065298966859</c:v>
                </c:pt>
                <c:pt idx="71">
                  <c:v>46.497862658628364</c:v>
                </c:pt>
                <c:pt idx="72" formatCode="0.0">
                  <c:v>47.034454032021166</c:v>
                </c:pt>
                <c:pt idx="73">
                  <c:v>46.705892762305901</c:v>
                </c:pt>
                <c:pt idx="74">
                  <c:v>46.839301392575187</c:v>
                </c:pt>
                <c:pt idx="75">
                  <c:v>46.211517807870976</c:v>
                </c:pt>
                <c:pt idx="76">
                  <c:v>46.303984005336297</c:v>
                </c:pt>
                <c:pt idx="77">
                  <c:v>46.363741206943452</c:v>
                </c:pt>
                <c:pt idx="78">
                  <c:v>46.470738994343328</c:v>
                </c:pt>
                <c:pt idx="79">
                  <c:v>46.811737745352886</c:v>
                </c:pt>
                <c:pt idx="80">
                  <c:v>46.100052525356347</c:v>
                </c:pt>
                <c:pt idx="81">
                  <c:v>46.340304001746695</c:v>
                </c:pt>
                <c:pt idx="82">
                  <c:v>45.903391183267111</c:v>
                </c:pt>
                <c:pt idx="83">
                  <c:v>46.094710590201792</c:v>
                </c:pt>
                <c:pt idx="84">
                  <c:v>46.628450782268558</c:v>
                </c:pt>
                <c:pt idx="85">
                  <c:v>46.364178384804035</c:v>
                </c:pt>
                <c:pt idx="86">
                  <c:v>45.481924309547971</c:v>
                </c:pt>
                <c:pt idx="87">
                  <c:v>45.542749922433494</c:v>
                </c:pt>
                <c:pt idx="88">
                  <c:v>45.619517407846331</c:v>
                </c:pt>
                <c:pt idx="89">
                  <c:v>46.619117464265052</c:v>
                </c:pt>
                <c:pt idx="90">
                  <c:v>46.340304001746695</c:v>
                </c:pt>
                <c:pt idx="91">
                  <c:v>46.346270558991741</c:v>
                </c:pt>
                <c:pt idx="92" formatCode="0.0">
                  <c:v>46.107513271863965</c:v>
                </c:pt>
                <c:pt idx="93" formatCode="0.0">
                  <c:v>45.674608335283168</c:v>
                </c:pt>
                <c:pt idx="94" formatCode="0.0">
                  <c:v>46.048054687905086</c:v>
                </c:pt>
                <c:pt idx="95" formatCode="0.0">
                  <c:v>46.249874018228013</c:v>
                </c:pt>
                <c:pt idx="96" formatCode="0.0">
                  <c:v>46.214289065244444</c:v>
                </c:pt>
                <c:pt idx="97" formatCode="0.0">
                  <c:v>46.21894852321654</c:v>
                </c:pt>
                <c:pt idx="98" formatCode="0.0">
                  <c:v>46.141079140164145</c:v>
                </c:pt>
                <c:pt idx="99" formatCode="0.0">
                  <c:v>46.300776164134035</c:v>
                </c:pt>
                <c:pt idx="100" formatCode="0.0">
                  <c:v>46.320986052966042</c:v>
                </c:pt>
                <c:pt idx="101" formatCode="0.0">
                  <c:v>46.396480550884732</c:v>
                </c:pt>
                <c:pt idx="102" formatCode="0.0">
                  <c:v>45.986918446280932</c:v>
                </c:pt>
                <c:pt idx="103" formatCode="0.0">
                  <c:v>46.103274560181063</c:v>
                </c:pt>
                <c:pt idx="104" formatCode="0.0">
                  <c:v>46.326781785960975</c:v>
                </c:pt>
                <c:pt idx="105" formatCode="0.0">
                  <c:v>46.36108901458438</c:v>
                </c:pt>
                <c:pt idx="106" formatCode="0.0">
                  <c:v>46.463792523540533</c:v>
                </c:pt>
                <c:pt idx="107" formatCode="0.0">
                  <c:v>46.30971103020385</c:v>
                </c:pt>
                <c:pt idx="108" formatCode="0.0">
                  <c:v>46.864608594535113</c:v>
                </c:pt>
                <c:pt idx="109" formatCode="0.0">
                  <c:v>46.311342669434865</c:v>
                </c:pt>
                <c:pt idx="110" formatCode="0.0">
                  <c:v>46.544349422902087</c:v>
                </c:pt>
                <c:pt idx="111" formatCode="0.0">
                  <c:v>46.249086511386679</c:v>
                </c:pt>
                <c:pt idx="112" formatCode="0.0">
                  <c:v>46.662486520390303</c:v>
                </c:pt>
                <c:pt idx="113" formatCode="0.0">
                  <c:v>45.205959010893217</c:v>
                </c:pt>
                <c:pt idx="114" formatCode="0.0">
                  <c:v>45.650140593132633</c:v>
                </c:pt>
                <c:pt idx="115" formatCode="0.0">
                  <c:v>45.225485541535029</c:v>
                </c:pt>
                <c:pt idx="116" formatCode="0.0">
                  <c:v>45.466293070147742</c:v>
                </c:pt>
                <c:pt idx="117" formatCode="0.0">
                  <c:v>46.177518108232974</c:v>
                </c:pt>
                <c:pt idx="118" formatCode="0.0">
                  <c:v>45.49274110058289</c:v>
                </c:pt>
                <c:pt idx="119" formatCode="0.0">
                  <c:v>45.286553887781899</c:v>
                </c:pt>
                <c:pt idx="120" formatCode="0.0">
                  <c:v>46.6930719436495</c:v>
                </c:pt>
                <c:pt idx="121" formatCode="0.0">
                  <c:v>46.501958319880295</c:v>
                </c:pt>
                <c:pt idx="122" formatCode="0.0">
                  <c:v>46.783684321022193</c:v>
                </c:pt>
                <c:pt idx="123" formatCode="0.0">
                  <c:v>46.507981699900498</c:v>
                </c:pt>
                <c:pt idx="124" formatCode="0.0">
                  <c:v>46.183756993093603</c:v>
                </c:pt>
                <c:pt idx="125" formatCode="0.0">
                  <c:v>45.812861706681105</c:v>
                </c:pt>
                <c:pt idx="126" formatCode="0.0">
                  <c:v>46.535535862025199</c:v>
                </c:pt>
                <c:pt idx="127" formatCode="0.0">
                  <c:v>46.5788240253681</c:v>
                </c:pt>
                <c:pt idx="128" formatCode="0.0">
                  <c:v>46.313674152871499</c:v>
                </c:pt>
                <c:pt idx="129" formatCode="0.0">
                  <c:v>47.125034518139095</c:v>
                </c:pt>
                <c:pt idx="130" formatCode="0.0">
                  <c:v>46.3216959598617</c:v>
                </c:pt>
                <c:pt idx="131" formatCode="0.0">
                  <c:v>46.743238717129294</c:v>
                </c:pt>
                <c:pt idx="132" formatCode="0.0">
                  <c:v>46.869140977840502</c:v>
                </c:pt>
                <c:pt idx="133" formatCode="0.0">
                  <c:v>46.567842161674506</c:v>
                </c:pt>
                <c:pt idx="134" formatCode="0.0">
                  <c:v>46.521307820924996</c:v>
                </c:pt>
                <c:pt idx="135" formatCode="0.0">
                  <c:v>45.846244587296795</c:v>
                </c:pt>
                <c:pt idx="136" formatCode="0.0">
                  <c:v>46.092314714202502</c:v>
                </c:pt>
                <c:pt idx="137" formatCode="0.0">
                  <c:v>46.9979308617893</c:v>
                </c:pt>
                <c:pt idx="138" formatCode="0.0">
                  <c:v>45.491109713765702</c:v>
                </c:pt>
                <c:pt idx="139" formatCode="0.0">
                  <c:v>45.4687040223601</c:v>
                </c:pt>
                <c:pt idx="140" formatCode="0.0">
                  <c:v>45.772549487483801</c:v>
                </c:pt>
                <c:pt idx="141" formatCode="0.0">
                  <c:v>45.369984984680599</c:v>
                </c:pt>
                <c:pt idx="142" formatCode="0.0">
                  <c:v>46.889598220288597</c:v>
                </c:pt>
                <c:pt idx="143" formatCode="0.0">
                  <c:v>46.066339370888798</c:v>
                </c:pt>
                <c:pt idx="144" formatCode="0.0">
                  <c:v>43.009792494332103</c:v>
                </c:pt>
                <c:pt idx="145" formatCode="0.0">
                  <c:v>0</c:v>
                </c:pt>
                <c:pt idx="146" formatCode="0.0">
                  <c:v>0</c:v>
                </c:pt>
                <c:pt idx="147" formatCode="0.0">
                  <c:v>0</c:v>
                </c:pt>
                <c:pt idx="148" formatCode="0.0">
                  <c:v>0</c:v>
                </c:pt>
                <c:pt idx="149" formatCode="0.0">
                  <c:v>46.581678931063394</c:v>
                </c:pt>
                <c:pt idx="150" formatCode="0.0">
                  <c:v>46.308807397896999</c:v>
                </c:pt>
                <c:pt idx="151" formatCode="0.0">
                  <c:v>45.358990551597898</c:v>
                </c:pt>
                <c:pt idx="152" formatCode="0.0">
                  <c:v>45.304026267780202</c:v>
                </c:pt>
                <c:pt idx="153" formatCode="0.0">
                  <c:v>45.869862551327103</c:v>
                </c:pt>
                <c:pt idx="154" formatCode="0.0">
                  <c:v>46.110211839383702</c:v>
                </c:pt>
                <c:pt idx="155" formatCode="0.0">
                  <c:v>46.804025051513293</c:v>
                </c:pt>
                <c:pt idx="156" formatCode="0.0">
                  <c:v>46.148317593057598</c:v>
                </c:pt>
                <c:pt idx="157" formatCode="0.0">
                  <c:v>46.575451175797298</c:v>
                </c:pt>
                <c:pt idx="158" formatCode="0.0">
                  <c:v>46.306632695969697</c:v>
                </c:pt>
                <c:pt idx="159" formatCode="0.0">
                  <c:v>46.081072936069098</c:v>
                </c:pt>
                <c:pt idx="160" formatCode="0.0">
                  <c:v>46.071765847274804</c:v>
                </c:pt>
                <c:pt idx="161" formatCode="0.0">
                  <c:v>46.527098784626702</c:v>
                </c:pt>
                <c:pt idx="162" formatCode="0.0">
                  <c:v>46.218246999384903</c:v>
                </c:pt>
                <c:pt idx="163" formatCode="0.0">
                  <c:v>45.143464716369095</c:v>
                </c:pt>
                <c:pt idx="164" formatCode="0.0">
                  <c:v>46.380856376138901</c:v>
                </c:pt>
                <c:pt idx="165" formatCode="0.0">
                  <c:v>45.657040616572402</c:v>
                </c:pt>
                <c:pt idx="166" formatCode="0.0">
                  <c:v>46.096873898275099</c:v>
                </c:pt>
                <c:pt idx="167" formatCode="0.0">
                  <c:v>45.604111091386301</c:v>
                </c:pt>
                <c:pt idx="168" formatCode="0.0">
                  <c:v>0</c:v>
                </c:pt>
                <c:pt idx="169" formatCode="0.0">
                  <c:v>44.762209921655</c:v>
                </c:pt>
                <c:pt idx="170" formatCode="0.0">
                  <c:v>45.9345042933613</c:v>
                </c:pt>
                <c:pt idx="171" formatCode="0.0">
                  <c:v>46.08970167549549</c:v>
                </c:pt>
                <c:pt idx="172" formatCode="0.0">
                  <c:v>48.844133205963303</c:v>
                </c:pt>
                <c:pt idx="173" formatCode="0.0">
                  <c:v>45.819273729307497</c:v>
                </c:pt>
                <c:pt idx="174" formatCode="0.0">
                  <c:v>46.079425793882798</c:v>
                </c:pt>
                <c:pt idx="175" formatCode="0.0">
                  <c:v>46.077266168348395</c:v>
                </c:pt>
                <c:pt idx="176" formatCode="0.0">
                  <c:v>46.248807303887901</c:v>
                </c:pt>
                <c:pt idx="177" formatCode="0.0">
                  <c:v>46.189581347083902</c:v>
                </c:pt>
                <c:pt idx="178" formatCode="0.0">
                  <c:v>46.044206005556497</c:v>
                </c:pt>
                <c:pt idx="179" formatCode="0.0">
                  <c:v>46.868820047337813</c:v>
                </c:pt>
                <c:pt idx="180" formatCode="0.0">
                  <c:v>47.240097613873104</c:v>
                </c:pt>
                <c:pt idx="181" formatCode="0.0">
                  <c:v>47.658119052845706</c:v>
                </c:pt>
                <c:pt idx="182" formatCode="0.0">
                  <c:v>47.309292391704389</c:v>
                </c:pt>
                <c:pt idx="183" formatCode="0.0">
                  <c:v>47.227741958677704</c:v>
                </c:pt>
                <c:pt idx="184" formatCode="0.0">
                  <c:v>47.083093467883899</c:v>
                </c:pt>
                <c:pt idx="185" formatCode="0.0">
                  <c:v>45.300000001854301</c:v>
                </c:pt>
                <c:pt idx="186" formatCode="0.0">
                  <c:v>45.353061382583498</c:v>
                </c:pt>
                <c:pt idx="187" formatCode="0.0">
                  <c:v>45.009043335082801</c:v>
                </c:pt>
                <c:pt idx="188" formatCode="0.0">
                  <c:v>45.354054784737102</c:v>
                </c:pt>
                <c:pt idx="189" formatCode="0.0">
                  <c:v>45.1316539538672</c:v>
                </c:pt>
                <c:pt idx="190" formatCode="0.0">
                  <c:v>45.107582338861093</c:v>
                </c:pt>
                <c:pt idx="191" formatCode="0.0">
                  <c:v>45.623444897912897</c:v>
                </c:pt>
                <c:pt idx="192" formatCode="0.0">
                  <c:v>45.107100810538796</c:v>
                </c:pt>
                <c:pt idx="193" formatCode="0.0">
                  <c:v>45.113749909751903</c:v>
                </c:pt>
                <c:pt idx="194" formatCode="0.0">
                  <c:v>45.177093625430601</c:v>
                </c:pt>
                <c:pt idx="195" formatCode="0.0">
                  <c:v>45.382945238340298</c:v>
                </c:pt>
                <c:pt idx="196" formatCode="0.0">
                  <c:v>45.730425421727602</c:v>
                </c:pt>
                <c:pt idx="197" formatCode="0.0">
                  <c:v>45.914819473579499</c:v>
                </c:pt>
                <c:pt idx="198" formatCode="0.0">
                  <c:v>45.955569492193604</c:v>
                </c:pt>
                <c:pt idx="199" formatCode="0.0">
                  <c:v>46.020706957420103</c:v>
                </c:pt>
                <c:pt idx="200" formatCode="0.0">
                  <c:v>45.989374852440704</c:v>
                </c:pt>
                <c:pt idx="201" formatCode="0.0">
                  <c:v>46.665433031632197</c:v>
                </c:pt>
                <c:pt idx="202" formatCode="0.0">
                  <c:v>46.057055301640702</c:v>
                </c:pt>
                <c:pt idx="203" formatCode="0.0">
                  <c:v>45.994433439956303</c:v>
                </c:pt>
                <c:pt idx="204" formatCode="0.0">
                  <c:v>46.272506732128598</c:v>
                </c:pt>
                <c:pt idx="205" formatCode="0.0">
                  <c:v>45.929892725368504</c:v>
                </c:pt>
                <c:pt idx="206" formatCode="0.0">
                  <c:v>45.417404767967902</c:v>
                </c:pt>
                <c:pt idx="207" formatCode="0.0">
                  <c:v>45.108270927401094</c:v>
                </c:pt>
                <c:pt idx="208" formatCode="0.0">
                  <c:v>44.4121093485426</c:v>
                </c:pt>
                <c:pt idx="209" formatCode="0.0">
                  <c:v>45.674957196539701</c:v>
                </c:pt>
                <c:pt idx="210" formatCode="0.0">
                  <c:v>45.7023836203767</c:v>
                </c:pt>
                <c:pt idx="211" formatCode="0.0">
                  <c:v>45.419136499510302</c:v>
                </c:pt>
                <c:pt idx="212" formatCode="0.0">
                  <c:v>45.818608444166699</c:v>
                </c:pt>
                <c:pt idx="213" formatCode="0.0">
                  <c:v>45.2214212990907</c:v>
                </c:pt>
                <c:pt idx="214" formatCode="0.0">
                  <c:v>45.383813467855802</c:v>
                </c:pt>
                <c:pt idx="215" formatCode="0.0">
                  <c:v>45.019240896653699</c:v>
                </c:pt>
                <c:pt idx="216" formatCode="0.0">
                  <c:v>45.620664689858103</c:v>
                </c:pt>
                <c:pt idx="217" formatCode="0.0">
                  <c:v>46.701517076307191</c:v>
                </c:pt>
                <c:pt idx="218" formatCode="0.0">
                  <c:v>45.308915323818695</c:v>
                </c:pt>
                <c:pt idx="219" formatCode="0.0">
                  <c:v>46.147889700020407</c:v>
                </c:pt>
                <c:pt idx="220" formatCode="0.0">
                  <c:v>45.066962761182801</c:v>
                </c:pt>
                <c:pt idx="221" formatCode="0.0">
                  <c:v>45.202013064877001</c:v>
                </c:pt>
                <c:pt idx="222" formatCode="0.0">
                  <c:v>45.579375649495603</c:v>
                </c:pt>
                <c:pt idx="223" formatCode="0.0">
                  <c:v>45.202107419307396</c:v>
                </c:pt>
                <c:pt idx="224" formatCode="0.0">
                  <c:v>45.517395441536607</c:v>
                </c:pt>
                <c:pt idx="225" formatCode="0.0">
                  <c:v>46.242557632790302</c:v>
                </c:pt>
                <c:pt idx="226" formatCode="0.0">
                  <c:v>45.821016086358895</c:v>
                </c:pt>
                <c:pt idx="227" formatCode="0.0">
                  <c:v>45.9177346527213</c:v>
                </c:pt>
                <c:pt idx="228" formatCode="0.0">
                  <c:v>45.520023419141403</c:v>
                </c:pt>
                <c:pt idx="229" formatCode="0.0">
                  <c:v>45.456539825578503</c:v>
                </c:pt>
                <c:pt idx="230" formatCode="0.0">
                  <c:v>45.580889632791198</c:v>
                </c:pt>
                <c:pt idx="231" formatCode="0.0">
                  <c:v>45.862885386767296</c:v>
                </c:pt>
                <c:pt idx="232" formatCode="0.0">
                  <c:v>46.539167044123204</c:v>
                </c:pt>
                <c:pt idx="233" formatCode="0.0">
                  <c:v>46.5939795571608</c:v>
                </c:pt>
                <c:pt idx="234" formatCode="0.0">
                  <c:v>46.914953362855201</c:v>
                </c:pt>
                <c:pt idx="235" formatCode="0.0">
                  <c:v>46.5085661944413</c:v>
                </c:pt>
                <c:pt idx="236" formatCode="0.0">
                  <c:v>45.877262366976701</c:v>
                </c:pt>
                <c:pt idx="237" formatCode="0.0">
                  <c:v>46.504866077731897</c:v>
                </c:pt>
                <c:pt idx="238" formatCode="0.0">
                  <c:v>45.710410449826497</c:v>
                </c:pt>
                <c:pt idx="239" formatCode="0.0">
                  <c:v>46.514679289964398</c:v>
                </c:pt>
                <c:pt idx="240" formatCode="0.0">
                  <c:v>45.347101587935697</c:v>
                </c:pt>
                <c:pt idx="241" formatCode="0.0">
                  <c:v>46.525862627128099</c:v>
                </c:pt>
                <c:pt idx="242" formatCode="0.0">
                  <c:v>46.295053995284398</c:v>
                </c:pt>
                <c:pt idx="243" formatCode="0.0">
                  <c:v>46.177295491472407</c:v>
                </c:pt>
                <c:pt idx="244" formatCode="0.0">
                  <c:v>44.752072312142793</c:v>
                </c:pt>
                <c:pt idx="245" formatCode="0.0">
                  <c:v>46.6432042772486</c:v>
                </c:pt>
                <c:pt idx="246" formatCode="0.0">
                  <c:v>46.531295042765599</c:v>
                </c:pt>
                <c:pt idx="247" formatCode="0.0">
                  <c:v>46.398951601753602</c:v>
                </c:pt>
                <c:pt idx="248" formatCode="0.0">
                  <c:v>45.9435874155173</c:v>
                </c:pt>
                <c:pt idx="249" formatCode="0.0">
                  <c:v>46.515720078433304</c:v>
                </c:pt>
                <c:pt idx="250" formatCode="0.0">
                  <c:v>46.673154636966999</c:v>
                </c:pt>
                <c:pt idx="251" formatCode="0.0">
                  <c:v>46.105316274600298</c:v>
                </c:pt>
                <c:pt idx="252" formatCode="0.0">
                  <c:v>46.1195274258572</c:v>
                </c:pt>
                <c:pt idx="253" formatCode="0.0">
                  <c:v>45.6088229909247</c:v>
                </c:pt>
                <c:pt idx="254" formatCode="0.0">
                  <c:v>45.353813656098197</c:v>
                </c:pt>
                <c:pt idx="255" formatCode="0.0">
                  <c:v>46.3157686982019</c:v>
                </c:pt>
                <c:pt idx="256" formatCode="0.0">
                  <c:v>45.955632919616896</c:v>
                </c:pt>
                <c:pt idx="257" formatCode="0.0">
                  <c:v>46.5600067681886</c:v>
                </c:pt>
                <c:pt idx="258" formatCode="0.0">
                  <c:v>44.4192547250017</c:v>
                </c:pt>
                <c:pt idx="259" formatCode="0.0">
                  <c:v>44.206013980273596</c:v>
                </c:pt>
                <c:pt idx="260" formatCode="0.0">
                  <c:v>47.277469688511104</c:v>
                </c:pt>
                <c:pt idx="261" formatCode="0.0">
                  <c:v>46.130435048071696</c:v>
                </c:pt>
                <c:pt idx="262" formatCode="0.0">
                  <c:v>45.277899478716499</c:v>
                </c:pt>
                <c:pt idx="263" formatCode="0.0">
                  <c:v>45.660055016151503</c:v>
                </c:pt>
                <c:pt idx="264" formatCode="0.0">
                  <c:v>45.722891735880694</c:v>
                </c:pt>
                <c:pt idx="265" formatCode="0.0">
                  <c:v>45.8554251851819</c:v>
                </c:pt>
                <c:pt idx="266" formatCode="0.0">
                  <c:v>45.590306910584104</c:v>
                </c:pt>
                <c:pt idx="267" formatCode="0.0">
                  <c:v>44.266845343978105</c:v>
                </c:pt>
                <c:pt idx="268" formatCode="0.0">
                  <c:v>45.917241357525604</c:v>
                </c:pt>
                <c:pt idx="269" formatCode="0.0">
                  <c:v>45.523880212174397</c:v>
                </c:pt>
                <c:pt idx="270" formatCode="0.0">
                  <c:v>46.340407551902096</c:v>
                </c:pt>
                <c:pt idx="271" formatCode="0.0">
                  <c:v>46.091496609455803</c:v>
                </c:pt>
                <c:pt idx="272" formatCode="0.0">
                  <c:v>46.214527491537396</c:v>
                </c:pt>
                <c:pt idx="273" formatCode="0.0">
                  <c:v>46.335469223217096</c:v>
                </c:pt>
                <c:pt idx="274" formatCode="0.0">
                  <c:v>46.081148138884998</c:v>
                </c:pt>
                <c:pt idx="275" formatCode="0.0">
                  <c:v>45.7595960168236</c:v>
                </c:pt>
                <c:pt idx="276" formatCode="0.0">
                  <c:v>46.025454892225</c:v>
                </c:pt>
                <c:pt idx="277" formatCode="0.0">
                  <c:v>46.013429750930001</c:v>
                </c:pt>
                <c:pt idx="278" formatCode="0.0">
                  <c:v>45.717660824113302</c:v>
                </c:pt>
                <c:pt idx="279" formatCode="0.0">
                  <c:v>44.949309660538205</c:v>
                </c:pt>
                <c:pt idx="280" formatCode="0.0">
                  <c:v>45.059228468485905</c:v>
                </c:pt>
                <c:pt idx="281" formatCode="0.0">
                  <c:v>45.6009142305004</c:v>
                </c:pt>
                <c:pt idx="282" formatCode="0.0">
                  <c:v>45.089478542859702</c:v>
                </c:pt>
                <c:pt idx="283" formatCode="0.0">
                  <c:v>46.035856404615501</c:v>
                </c:pt>
                <c:pt idx="284" formatCode="0.0">
                  <c:v>45.901149606421505</c:v>
                </c:pt>
                <c:pt idx="285" formatCode="0.0">
                  <c:v>46.018774237992702</c:v>
                </c:pt>
                <c:pt idx="286" formatCode="0.0">
                  <c:v>46.774028001830303</c:v>
                </c:pt>
                <c:pt idx="287" formatCode="0.0">
                  <c:v>46.774028001830303</c:v>
                </c:pt>
                <c:pt idx="288" formatCode="0.0">
                  <c:v>45.132599133137703</c:v>
                </c:pt>
                <c:pt idx="289" formatCode="0.0">
                  <c:v>45.821807324360606</c:v>
                </c:pt>
                <c:pt idx="290" formatCode="0.0">
                  <c:v>46.292018580184404</c:v>
                </c:pt>
                <c:pt idx="291" formatCode="0.0">
                  <c:v>46.160366197943794</c:v>
                </c:pt>
                <c:pt idx="292" formatCode="0.0">
                  <c:v>45.375562491652701</c:v>
                </c:pt>
                <c:pt idx="293" formatCode="0.0">
                  <c:v>45.865950648023102</c:v>
                </c:pt>
                <c:pt idx="294" formatCode="0.0">
                  <c:v>45.207451458775701</c:v>
                </c:pt>
                <c:pt idx="295" formatCode="0.0">
                  <c:v>45.532179019028696</c:v>
                </c:pt>
                <c:pt idx="296" formatCode="0.0">
                  <c:v>45.580797264416297</c:v>
                </c:pt>
                <c:pt idx="297" formatCode="0.0">
                  <c:v>45.308839731919903</c:v>
                </c:pt>
                <c:pt idx="298" formatCode="0.0">
                  <c:v>45.453200714461303</c:v>
                </c:pt>
                <c:pt idx="299" formatCode="0.0">
                  <c:v>46.198210720085697</c:v>
                </c:pt>
                <c:pt idx="300" formatCode="0.0">
                  <c:v>45.551088664844599</c:v>
                </c:pt>
                <c:pt idx="301" formatCode="0.0">
                  <c:v>44.615160524289095</c:v>
                </c:pt>
                <c:pt idx="302" formatCode="0.0">
                  <c:v>45.211791460813799</c:v>
                </c:pt>
                <c:pt idx="303" formatCode="0.0">
                  <c:v>45.7596903791461</c:v>
                </c:pt>
                <c:pt idx="304" formatCode="0.0">
                  <c:v>45.299384484081003</c:v>
                </c:pt>
                <c:pt idx="305" formatCode="0.0">
                  <c:v>45.443868595486599</c:v>
                </c:pt>
                <c:pt idx="306" formatCode="0.0">
                  <c:v>45.948026482046401</c:v>
                </c:pt>
                <c:pt idx="307" formatCode="0.0">
                  <c:v>45.872022847446203</c:v>
                </c:pt>
                <c:pt idx="308" formatCode="0.0">
                  <c:v>45.836717516533994</c:v>
                </c:pt>
                <c:pt idx="309" formatCode="0.0">
                  <c:v>46.0126282775433</c:v>
                </c:pt>
                <c:pt idx="310" formatCode="0.0">
                  <c:v>45.234409506551103</c:v>
                </c:pt>
                <c:pt idx="311" formatCode="0.0">
                  <c:v>45.815555463531403</c:v>
                </c:pt>
                <c:pt idx="312" formatCode="0.0">
                  <c:v>46.4934670517478</c:v>
                </c:pt>
                <c:pt idx="313" formatCode="0.0">
                  <c:v>46.229011918780103</c:v>
                </c:pt>
                <c:pt idx="314" formatCode="0.0">
                  <c:v>45.481141368014598</c:v>
                </c:pt>
                <c:pt idx="315" formatCode="0.0">
                  <c:v>44.544970473800007</c:v>
                </c:pt>
                <c:pt idx="316" formatCode="0.0">
                  <c:v>45.441375690775494</c:v>
                </c:pt>
                <c:pt idx="317" formatCode="0.0">
                  <c:v>45.503540364675899</c:v>
                </c:pt>
                <c:pt idx="318" formatCode="0.0">
                  <c:v>45.447456092529293</c:v>
                </c:pt>
                <c:pt idx="319" formatCode="0.0">
                  <c:v>45.848862066709898</c:v>
                </c:pt>
                <c:pt idx="320" formatCode="0.0">
                  <c:v>45.846138929131797</c:v>
                </c:pt>
                <c:pt idx="321" formatCode="0.0">
                  <c:v>46.034130416380293</c:v>
                </c:pt>
                <c:pt idx="322" formatCode="0.0">
                  <c:v>45.859663292224198</c:v>
                </c:pt>
                <c:pt idx="323" formatCode="0.0">
                  <c:v>45.151468300791805</c:v>
                </c:pt>
                <c:pt idx="324" formatCode="0.0">
                  <c:v>45.447863929798601</c:v>
                </c:pt>
                <c:pt idx="325" formatCode="0.0">
                  <c:v>45.778610583355103</c:v>
                </c:pt>
                <c:pt idx="326" formatCode="0.0">
                  <c:v>45.472011844723795</c:v>
                </c:pt>
                <c:pt idx="327" formatCode="0.0">
                  <c:v>45.395917066743095</c:v>
                </c:pt>
                <c:pt idx="328" formatCode="0.0">
                  <c:v>45.066303640417004</c:v>
                </c:pt>
                <c:pt idx="329" formatCode="0.0">
                  <c:v>45.533516847789301</c:v>
                </c:pt>
                <c:pt idx="330" formatCode="0.0">
                  <c:v>45.715941610871802</c:v>
                </c:pt>
                <c:pt idx="331" formatCode="0.0">
                  <c:v>45.498510838015001</c:v>
                </c:pt>
                <c:pt idx="332" formatCode="0.0">
                  <c:v>44.562499394684998</c:v>
                </c:pt>
                <c:pt idx="333" formatCode="0.0">
                  <c:v>44.839096683390906</c:v>
                </c:pt>
                <c:pt idx="334" formatCode="0.0">
                  <c:v>44.010500299645201</c:v>
                </c:pt>
                <c:pt idx="335" formatCode="0.0">
                  <c:v>43.516268869535295</c:v>
                </c:pt>
                <c:pt idx="336" formatCode="0.0">
                  <c:v>44.535482464890904</c:v>
                </c:pt>
                <c:pt idx="337" formatCode="0.0">
                  <c:v>44.186282557474001</c:v>
                </c:pt>
                <c:pt idx="338" formatCode="0.0">
                  <c:v>44.307818074697103</c:v>
                </c:pt>
                <c:pt idx="339" formatCode="0.0">
                  <c:v>44.683019886928093</c:v>
                </c:pt>
                <c:pt idx="340" formatCode="0.0">
                  <c:v>45.1995145464522</c:v>
                </c:pt>
                <c:pt idx="341" formatCode="0.0">
                  <c:v>44.743009122924803</c:v>
                </c:pt>
                <c:pt idx="342" formatCode="0.0">
                  <c:v>45.171127965166406</c:v>
                </c:pt>
                <c:pt idx="343" formatCode="0.0">
                  <c:v>44.806441240068004</c:v>
                </c:pt>
                <c:pt idx="344" formatCode="0.0">
                  <c:v>45.931440633602904</c:v>
                </c:pt>
                <c:pt idx="345" formatCode="0.0">
                  <c:v>45.656575067761594</c:v>
                </c:pt>
                <c:pt idx="346" formatCode="0.0">
                  <c:v>46.2734956189217</c:v>
                </c:pt>
                <c:pt idx="347" formatCode="0.0">
                  <c:v>46.308002261000098</c:v>
                </c:pt>
                <c:pt idx="348" formatCode="0.0">
                  <c:v>45.938127111306002</c:v>
                </c:pt>
                <c:pt idx="349" formatCode="0.0">
                  <c:v>45.779841783117298</c:v>
                </c:pt>
                <c:pt idx="350" formatCode="0.0">
                  <c:v>45.834179167298799</c:v>
                </c:pt>
                <c:pt idx="351" formatCode="0.0">
                  <c:v>44.451710497169302</c:v>
                </c:pt>
                <c:pt idx="352" formatCode="0.0">
                  <c:v>45.542674862149106</c:v>
                </c:pt>
                <c:pt idx="353" formatCode="0.0">
                  <c:v>45.187400852946894</c:v>
                </c:pt>
                <c:pt idx="354" formatCode="0.0">
                  <c:v>44.913008102841701</c:v>
                </c:pt>
                <c:pt idx="355" formatCode="0.0">
                  <c:v>44.690835365991703</c:v>
                </c:pt>
                <c:pt idx="356" formatCode="0.0">
                  <c:v>42.276138246420096</c:v>
                </c:pt>
                <c:pt idx="357" formatCode="0.0">
                  <c:v>44.289166966743792</c:v>
                </c:pt>
                <c:pt idx="358" formatCode="0.0">
                  <c:v>45.296557147288503</c:v>
                </c:pt>
                <c:pt idx="359" formatCode="0.0">
                  <c:v>45.709333934080298</c:v>
                </c:pt>
                <c:pt idx="360" formatCode="0.0">
                  <c:v>44.7725966340968</c:v>
                </c:pt>
                <c:pt idx="361" formatCode="0.0">
                  <c:v>44.754312412638996</c:v>
                </c:pt>
                <c:pt idx="362" formatCode="0.0">
                  <c:v>44.573964203508197</c:v>
                </c:pt>
                <c:pt idx="363" formatCode="0.0">
                  <c:v>44.743074199544701</c:v>
                </c:pt>
                <c:pt idx="364">
                  <c:v>43.993758054827801</c:v>
                </c:pt>
                <c:pt idx="365">
                  <c:v>45.846440573350506</c:v>
                </c:pt>
                <c:pt idx="366">
                  <c:v>45.810900038934705</c:v>
                </c:pt>
                <c:pt idx="367">
                  <c:v>46.214272925824602</c:v>
                </c:pt>
                <c:pt idx="368">
                  <c:v>46.9688351421227</c:v>
                </c:pt>
                <c:pt idx="369">
                  <c:v>46.393614696346297</c:v>
                </c:pt>
                <c:pt idx="370">
                  <c:v>45.884220102188202</c:v>
                </c:pt>
                <c:pt idx="371">
                  <c:v>46.126105299580502</c:v>
                </c:pt>
                <c:pt idx="372">
                  <c:v>44.884656367578899</c:v>
                </c:pt>
                <c:pt idx="373">
                  <c:v>45.108313330381698</c:v>
                </c:pt>
                <c:pt idx="374">
                  <c:v>46.145744263571899</c:v>
                </c:pt>
                <c:pt idx="375">
                  <c:v>45.479578481906799</c:v>
                </c:pt>
                <c:pt idx="376">
                  <c:v>45.423787839555601</c:v>
                </c:pt>
                <c:pt idx="377">
                  <c:v>45.796056947320494</c:v>
                </c:pt>
                <c:pt idx="378">
                  <c:v>46.419407341923701</c:v>
                </c:pt>
                <c:pt idx="379">
                  <c:v>45.401194947210499</c:v>
                </c:pt>
                <c:pt idx="380">
                  <c:v>45.423895031430305</c:v>
                </c:pt>
                <c:pt idx="381">
                  <c:v>45.4609987620669</c:v>
                </c:pt>
                <c:pt idx="382">
                  <c:v>45.499233192576597</c:v>
                </c:pt>
                <c:pt idx="383">
                  <c:v>46.032233350275398</c:v>
                </c:pt>
                <c:pt idx="384">
                  <c:v>45.599129283254697</c:v>
                </c:pt>
                <c:pt idx="385">
                  <c:v>45.661331926539397</c:v>
                </c:pt>
                <c:pt idx="386">
                  <c:v>46.248489184734105</c:v>
                </c:pt>
                <c:pt idx="387">
                  <c:v>46.431859921508298</c:v>
                </c:pt>
                <c:pt idx="388">
                  <c:v>45.7886833637398</c:v>
                </c:pt>
                <c:pt idx="389">
                  <c:v>45.781727136195698</c:v>
                </c:pt>
                <c:pt idx="390">
                  <c:v>46.528115112362499</c:v>
                </c:pt>
                <c:pt idx="391">
                  <c:v>45.813164528806098</c:v>
                </c:pt>
                <c:pt idx="392">
                  <c:v>46.320618167334601</c:v>
                </c:pt>
                <c:pt idx="393">
                  <c:v>45.219519815402698</c:v>
                </c:pt>
                <c:pt idx="394">
                  <c:v>45.696849665504004</c:v>
                </c:pt>
                <c:pt idx="395">
                  <c:v>46.0614627486014</c:v>
                </c:pt>
                <c:pt idx="396">
                  <c:v>45.377815353342896</c:v>
                </c:pt>
                <c:pt idx="397">
                  <c:v>45.717804438383794</c:v>
                </c:pt>
                <c:pt idx="398">
                  <c:v>1018.2034756944399</c:v>
                </c:pt>
                <c:pt idx="399">
                  <c:v>44.960441951761105</c:v>
                </c:pt>
                <c:pt idx="400">
                  <c:v>46.511299892234902</c:v>
                </c:pt>
                <c:pt idx="401">
                  <c:v>45.461693518881397</c:v>
                </c:pt>
                <c:pt idx="402">
                  <c:v>46.3556985775122</c:v>
                </c:pt>
                <c:pt idx="403">
                  <c:v>46.073559246155796</c:v>
                </c:pt>
                <c:pt idx="404">
                  <c:v>45.575764360570602</c:v>
                </c:pt>
                <c:pt idx="405">
                  <c:v>46.324092601074199</c:v>
                </c:pt>
                <c:pt idx="406">
                  <c:v>46.400149103734392</c:v>
                </c:pt>
                <c:pt idx="407">
                  <c:v>45.834511329010297</c:v>
                </c:pt>
                <c:pt idx="408">
                  <c:v>45.401542875087905</c:v>
                </c:pt>
                <c:pt idx="409">
                  <c:v>45.96312799495049</c:v>
                </c:pt>
                <c:pt idx="410">
                  <c:v>46.074013083481702</c:v>
                </c:pt>
                <c:pt idx="411">
                  <c:v>45.218491363081803</c:v>
                </c:pt>
                <c:pt idx="412">
                  <c:v>45.833104182050008</c:v>
                </c:pt>
                <c:pt idx="413">
                  <c:v>45.729564595651404</c:v>
                </c:pt>
                <c:pt idx="414">
                  <c:v>45.054382144240897</c:v>
                </c:pt>
                <c:pt idx="415">
                  <c:v>45.304669875785002</c:v>
                </c:pt>
                <c:pt idx="416">
                  <c:v>45.5114789434381</c:v>
                </c:pt>
                <c:pt idx="417">
                  <c:v>45.520804393431504</c:v>
                </c:pt>
                <c:pt idx="418">
                  <c:v>46.0830356487891</c:v>
                </c:pt>
                <c:pt idx="419">
                  <c:v>46.495301471618603</c:v>
                </c:pt>
                <c:pt idx="420">
                  <c:v>46.801795774594993</c:v>
                </c:pt>
                <c:pt idx="421">
                  <c:v>46.365924568993904</c:v>
                </c:pt>
                <c:pt idx="422">
                  <c:v>47.055911038953695</c:v>
                </c:pt>
                <c:pt idx="423">
                  <c:v>47.265860990477499</c:v>
                </c:pt>
                <c:pt idx="424">
                  <c:v>46.165161707814804</c:v>
                </c:pt>
                <c:pt idx="425">
                  <c:v>45.556864623550801</c:v>
                </c:pt>
                <c:pt idx="426">
                  <c:v>45.3381797991673</c:v>
                </c:pt>
                <c:pt idx="427">
                  <c:v>45.2362357829724</c:v>
                </c:pt>
                <c:pt idx="428">
                  <c:v>45.499282275075501</c:v>
                </c:pt>
                <c:pt idx="429">
                  <c:v>45.642792971164397</c:v>
                </c:pt>
                <c:pt idx="430">
                  <c:v>44.954943780618805</c:v>
                </c:pt>
                <c:pt idx="431">
                  <c:v>45.509383090093898</c:v>
                </c:pt>
                <c:pt idx="432">
                  <c:v>46.644971571896299</c:v>
                </c:pt>
                <c:pt idx="433">
                  <c:v>45.619993996804602</c:v>
                </c:pt>
                <c:pt idx="434">
                  <c:v>46.488778296514106</c:v>
                </c:pt>
                <c:pt idx="435">
                  <c:v>46.299993070882493</c:v>
                </c:pt>
                <c:pt idx="436">
                  <c:v>45.575032210740794</c:v>
                </c:pt>
                <c:pt idx="437">
                  <c:v>44.906301275264198</c:v>
                </c:pt>
                <c:pt idx="438" formatCode="0.0">
                  <c:v>45.353458648932097</c:v>
                </c:pt>
                <c:pt idx="439">
                  <c:v>45.439173533267606</c:v>
                </c:pt>
                <c:pt idx="440">
                  <c:v>0</c:v>
                </c:pt>
                <c:pt idx="441">
                  <c:v>0</c:v>
                </c:pt>
                <c:pt idx="442">
                  <c:v>0</c:v>
                </c:pt>
                <c:pt idx="443">
                  <c:v>46.247688985746798</c:v>
                </c:pt>
                <c:pt idx="444">
                  <c:v>45.033841871732193</c:v>
                </c:pt>
                <c:pt idx="445">
                  <c:v>45.564147789086604</c:v>
                </c:pt>
                <c:pt idx="446">
                  <c:v>45.5</c:v>
                </c:pt>
                <c:pt idx="447">
                  <c:v>45.547246816370695</c:v>
                </c:pt>
                <c:pt idx="448">
                  <c:v>44.857785240324695</c:v>
                </c:pt>
                <c:pt idx="449">
                  <c:v>45.085003448509802</c:v>
                </c:pt>
                <c:pt idx="450">
                  <c:v>45.826948451907299</c:v>
                </c:pt>
                <c:pt idx="451">
                  <c:v>45.940749300505502</c:v>
                </c:pt>
                <c:pt idx="452">
                  <c:v>44.639112154639506</c:v>
                </c:pt>
                <c:pt idx="453">
                  <c:v>44.460261420070907</c:v>
                </c:pt>
                <c:pt idx="454">
                  <c:v>44.192076251843801</c:v>
                </c:pt>
                <c:pt idx="455">
                  <c:v>44.840074475480598</c:v>
                </c:pt>
                <c:pt idx="456">
                  <c:v>44.938956888544688</c:v>
                </c:pt>
                <c:pt idx="457">
                  <c:v>45.425611788559699</c:v>
                </c:pt>
                <c:pt idx="458" formatCode="0.0">
                  <c:v>45.166037924126201</c:v>
                </c:pt>
                <c:pt idx="459" formatCode="0.0">
                  <c:v>44.785650702711699</c:v>
                </c:pt>
                <c:pt idx="460" formatCode="0.0">
                  <c:v>44.526636471323499</c:v>
                </c:pt>
                <c:pt idx="461" formatCode="0.0">
                  <c:v>44.956648592869399</c:v>
                </c:pt>
                <c:pt idx="462" formatCode="0.0">
                  <c:v>44.442657523241294</c:v>
                </c:pt>
                <c:pt idx="463" formatCode="0.0">
                  <c:v>44.936837838265404</c:v>
                </c:pt>
                <c:pt idx="464" formatCode="0.0">
                  <c:v>44.427463461172401</c:v>
                </c:pt>
                <c:pt idx="465" formatCode="0.0">
                  <c:v>45.672774415595796</c:v>
                </c:pt>
                <c:pt idx="466" formatCode="0.0">
                  <c:v>46.165501900826698</c:v>
                </c:pt>
                <c:pt idx="467" formatCode="0.0">
                  <c:v>46.078214294188498</c:v>
                </c:pt>
                <c:pt idx="468" formatCode="0.0">
                  <c:v>44.538405184908299</c:v>
                </c:pt>
                <c:pt idx="469" formatCode="0.0">
                  <c:v>46.454150503378806</c:v>
                </c:pt>
                <c:pt idx="470" formatCode="0.0">
                  <c:v>47.0187658561509</c:v>
                </c:pt>
                <c:pt idx="471" formatCode="0.0">
                  <c:v>46.717028141791495</c:v>
                </c:pt>
                <c:pt idx="472" formatCode="0.0">
                  <c:v>47.063548405395295</c:v>
                </c:pt>
                <c:pt idx="473" formatCode="0.0">
                  <c:v>46.959262321705296</c:v>
                </c:pt>
                <c:pt idx="474" formatCode="0.0">
                  <c:v>46.600862310215803</c:v>
                </c:pt>
                <c:pt idx="475" formatCode="0.0">
                  <c:v>46.653360180862705</c:v>
                </c:pt>
                <c:pt idx="476" formatCode="0.0">
                  <c:v>46.778720581347102</c:v>
                </c:pt>
                <c:pt idx="477" formatCode="0.0">
                  <c:v>46.878655998230499</c:v>
                </c:pt>
                <c:pt idx="478" formatCode="0.0">
                  <c:v>46.382487158793296</c:v>
                </c:pt>
                <c:pt idx="479" formatCode="0.0">
                  <c:v>45.739891039556596</c:v>
                </c:pt>
                <c:pt idx="480" formatCode="0.0">
                  <c:v>46.7371968341456</c:v>
                </c:pt>
                <c:pt idx="481" formatCode="0.0">
                  <c:v>45.640939843351504</c:v>
                </c:pt>
                <c:pt idx="482" formatCode="0.0">
                  <c:v>46.029848573154098</c:v>
                </c:pt>
                <c:pt idx="483" formatCode="0.0">
                  <c:v>46.064859477747497</c:v>
                </c:pt>
                <c:pt idx="484" formatCode="0.0">
                  <c:v>45.497731538937501</c:v>
                </c:pt>
                <c:pt idx="485" formatCode="0.0">
                  <c:v>45.91985526885</c:v>
                </c:pt>
                <c:pt idx="486" formatCode="0.0">
                  <c:v>44.678464807860593</c:v>
                </c:pt>
                <c:pt idx="487" formatCode="0.0">
                  <c:v>44.473240908381598</c:v>
                </c:pt>
                <c:pt idx="488" formatCode="0.0">
                  <c:v>45.480354259730397</c:v>
                </c:pt>
                <c:pt idx="489" formatCode="0.0">
                  <c:v>45.313039618875699</c:v>
                </c:pt>
                <c:pt idx="490" formatCode="0.0">
                  <c:v>45.751956981604998</c:v>
                </c:pt>
                <c:pt idx="491" formatCode="0.0">
                  <c:v>46.374280796500294</c:v>
                </c:pt>
                <c:pt idx="492" formatCode="0.0">
                  <c:v>46.084277382490001</c:v>
                </c:pt>
                <c:pt idx="493" formatCode="0.0">
                  <c:v>46.206412031089002</c:v>
                </c:pt>
                <c:pt idx="494" formatCode="0.0">
                  <c:v>45.104632745185604</c:v>
                </c:pt>
                <c:pt idx="495" formatCode="0.0">
                  <c:v>43.626255104918201</c:v>
                </c:pt>
                <c:pt idx="496" formatCode="0.0">
                  <c:v>43.377027232512503</c:v>
                </c:pt>
                <c:pt idx="497" formatCode="0.0">
                  <c:v>0</c:v>
                </c:pt>
                <c:pt idx="498" formatCode="0.0">
                  <c:v>0</c:v>
                </c:pt>
                <c:pt idx="499" formatCode="0.0">
                  <c:v>44.349995247251101</c:v>
                </c:pt>
                <c:pt idx="500" formatCode="0.0">
                  <c:v>44.526630239257599</c:v>
                </c:pt>
                <c:pt idx="501" formatCode="0.0">
                  <c:v>44.301413322696497</c:v>
                </c:pt>
                <c:pt idx="502" formatCode="0.0">
                  <c:v>44.106122770349401</c:v>
                </c:pt>
                <c:pt idx="503" formatCode="0.0">
                  <c:v>44.497311968566002</c:v>
                </c:pt>
                <c:pt idx="504" formatCode="0.0">
                  <c:v>44.614776007356902</c:v>
                </c:pt>
                <c:pt idx="505" formatCode="0.0">
                  <c:v>44.1768855823168</c:v>
                </c:pt>
                <c:pt idx="506" formatCode="0.0">
                  <c:v>43.780312437961157</c:v>
                </c:pt>
                <c:pt idx="507" formatCode="0.0">
                  <c:v>43.780376216970296</c:v>
                </c:pt>
                <c:pt idx="508" formatCode="0.0">
                  <c:v>43.7031295830121</c:v>
                </c:pt>
                <c:pt idx="509" formatCode="0.0">
                  <c:v>44.267154327801805</c:v>
                </c:pt>
                <c:pt idx="510" formatCode="0.0">
                  <c:v>44.328342317956896</c:v>
                </c:pt>
                <c:pt idx="511" formatCode="0.0">
                  <c:v>44.495806187585103</c:v>
                </c:pt>
                <c:pt idx="512" formatCode="0.0">
                  <c:v>45.315078756676101</c:v>
                </c:pt>
                <c:pt idx="513" formatCode="0.0">
                  <c:v>45.383577723575101</c:v>
                </c:pt>
                <c:pt idx="514" formatCode="0.0">
                  <c:v>45.839378291554894</c:v>
                </c:pt>
                <c:pt idx="515" formatCode="0.0">
                  <c:v>44.822841104792204</c:v>
                </c:pt>
                <c:pt idx="516" formatCode="0.0">
                  <c:v>44.3240420110548</c:v>
                </c:pt>
                <c:pt idx="517" formatCode="0.0">
                  <c:v>44.780158613116001</c:v>
                </c:pt>
                <c:pt idx="518" formatCode="0.0">
                  <c:v>44.832312496656101</c:v>
                </c:pt>
                <c:pt idx="519" formatCode="0.0">
                  <c:v>44.772081111819595</c:v>
                </c:pt>
                <c:pt idx="520" formatCode="0.0">
                  <c:v>44.7278294771193</c:v>
                </c:pt>
                <c:pt idx="521" formatCode="0.0">
                  <c:v>44.368200041169999</c:v>
                </c:pt>
                <c:pt idx="522" formatCode="0.0">
                  <c:v>44.332827529942904</c:v>
                </c:pt>
                <c:pt idx="523" formatCode="0.0">
                  <c:v>44.850487812057594</c:v>
                </c:pt>
                <c:pt idx="524" formatCode="0.0">
                  <c:v>45.485346027979105</c:v>
                </c:pt>
                <c:pt idx="525" formatCode="0.0">
                  <c:v>45.161786718878695</c:v>
                </c:pt>
                <c:pt idx="526" formatCode="0.0">
                  <c:v>46.773661386654702</c:v>
                </c:pt>
                <c:pt idx="527" formatCode="0.0">
                  <c:v>45.020957597348897</c:v>
                </c:pt>
                <c:pt idx="528" formatCode="0.0">
                  <c:v>43.014171455908105</c:v>
                </c:pt>
                <c:pt idx="529" formatCode="0.0">
                  <c:v>43.272371647059906</c:v>
                </c:pt>
                <c:pt idx="530" formatCode="0.0">
                  <c:v>44.931312954729698</c:v>
                </c:pt>
                <c:pt idx="531" formatCode="0.0">
                  <c:v>46</c:v>
                </c:pt>
                <c:pt idx="532" formatCode="0.0">
                  <c:v>46.575073931989095</c:v>
                </c:pt>
                <c:pt idx="533" formatCode="0.0">
                  <c:v>45.088110247653901</c:v>
                </c:pt>
                <c:pt idx="534" formatCode="0.0">
                  <c:v>44.0752681187574</c:v>
                </c:pt>
                <c:pt idx="535" formatCode="0.0">
                  <c:v>44.099874008988806</c:v>
                </c:pt>
                <c:pt idx="536" formatCode="0.0">
                  <c:v>44.729290614763102</c:v>
                </c:pt>
                <c:pt idx="537" formatCode="0.0">
                  <c:v>44.600243671404698</c:v>
                </c:pt>
                <c:pt idx="538" formatCode="0.0">
                  <c:v>44.695732787064799</c:v>
                </c:pt>
                <c:pt idx="539" formatCode="0.0">
                  <c:v>45.860212263990398</c:v>
                </c:pt>
                <c:pt idx="540" formatCode="0.0">
                  <c:v>46.580161230259506</c:v>
                </c:pt>
                <c:pt idx="541" formatCode="0.0">
                  <c:v>45.132180178691705</c:v>
                </c:pt>
                <c:pt idx="542" formatCode="0.0">
                  <c:v>45.689730196338502</c:v>
                </c:pt>
                <c:pt idx="543" formatCode="0.0">
                  <c:v>45.4866099772902</c:v>
                </c:pt>
                <c:pt idx="544" formatCode="0.0">
                  <c:v>45.321289573744295</c:v>
                </c:pt>
                <c:pt idx="545" formatCode="0.0">
                  <c:v>44.503202649079199</c:v>
                </c:pt>
                <c:pt idx="546" formatCode="0.0">
                  <c:v>44.352102975185595</c:v>
                </c:pt>
                <c:pt idx="547" formatCode="0.0">
                  <c:v>43.524493964388604</c:v>
                </c:pt>
                <c:pt idx="548" formatCode="0.0">
                  <c:v>44.332302756541807</c:v>
                </c:pt>
                <c:pt idx="549" formatCode="0.0">
                  <c:v>44.639675262959997</c:v>
                </c:pt>
                <c:pt idx="550" formatCode="0.0">
                  <c:v>44.081958474033399</c:v>
                </c:pt>
                <c:pt idx="551" formatCode="0.0">
                  <c:v>45.175392925408502</c:v>
                </c:pt>
                <c:pt idx="552" formatCode="0.0">
                  <c:v>45.072339931808102</c:v>
                </c:pt>
                <c:pt idx="553" formatCode="0.0">
                  <c:v>45.305573198272896</c:v>
                </c:pt>
                <c:pt idx="554" formatCode="0.0">
                  <c:v>46.226360651876803</c:v>
                </c:pt>
                <c:pt idx="555" formatCode="0.0">
                  <c:v>44.413209425287903</c:v>
                </c:pt>
                <c:pt idx="556" formatCode="0.0">
                  <c:v>45.180387499346104</c:v>
                </c:pt>
                <c:pt idx="557" formatCode="0.0">
                  <c:v>45.1057552642147</c:v>
                </c:pt>
                <c:pt idx="558" formatCode="0.0">
                  <c:v>44.5297277159166</c:v>
                </c:pt>
                <c:pt idx="559" formatCode="0.0">
                  <c:v>44.717555593150699</c:v>
                </c:pt>
                <c:pt idx="560" formatCode="0.0">
                  <c:v>46.047495479805704</c:v>
                </c:pt>
                <c:pt idx="561" formatCode="0.0">
                  <c:v>46.689123902856402</c:v>
                </c:pt>
                <c:pt idx="562" formatCode="0.0">
                  <c:v>44.879987124738314</c:v>
                </c:pt>
                <c:pt idx="563" formatCode="0.0">
                  <c:v>43.7178006859249</c:v>
                </c:pt>
                <c:pt idx="564" formatCode="0.0">
                  <c:v>43.864269029272101</c:v>
                </c:pt>
                <c:pt idx="565" formatCode="0.0">
                  <c:v>45.271096562995801</c:v>
                </c:pt>
                <c:pt idx="566" formatCode="0.0">
                  <c:v>44.632533450882306</c:v>
                </c:pt>
                <c:pt idx="567" formatCode="0.0">
                  <c:v>46.739170062003993</c:v>
                </c:pt>
                <c:pt idx="568" formatCode="0.0">
                  <c:v>47.387240676151393</c:v>
                </c:pt>
                <c:pt idx="569" formatCode="0.0">
                  <c:v>45.867637082767203</c:v>
                </c:pt>
                <c:pt idx="570" formatCode="0.0">
                  <c:v>45.904605457761392</c:v>
                </c:pt>
                <c:pt idx="571" formatCode="0.0">
                  <c:v>45.605783916750504</c:v>
                </c:pt>
                <c:pt idx="572" formatCode="0.0">
                  <c:v>46.130255525167598</c:v>
                </c:pt>
                <c:pt idx="573" formatCode="0.0">
                  <c:v>45.380175221736692</c:v>
                </c:pt>
                <c:pt idx="574" formatCode="0.0">
                  <c:v>46.280672034567999</c:v>
                </c:pt>
                <c:pt idx="575" formatCode="0.0">
                  <c:v>45.960628032925001</c:v>
                </c:pt>
                <c:pt idx="576" formatCode="0.0">
                  <c:v>45.681201666078493</c:v>
                </c:pt>
                <c:pt idx="577" formatCode="0.0">
                  <c:v>45.317520836841602</c:v>
                </c:pt>
                <c:pt idx="578" formatCode="0.0">
                  <c:v>43.588393370705496</c:v>
                </c:pt>
                <c:pt idx="579" formatCode="0.0">
                  <c:v>44.342100087775798</c:v>
                </c:pt>
                <c:pt idx="580" formatCode="0.0">
                  <c:v>44.805934611011502</c:v>
                </c:pt>
                <c:pt idx="581" formatCode="0.0">
                  <c:v>45.248472097333803</c:v>
                </c:pt>
                <c:pt idx="582" formatCode="0.0">
                  <c:v>44.794282073409406</c:v>
                </c:pt>
                <c:pt idx="583" formatCode="0.0">
                  <c:v>44.915687675631006</c:v>
                </c:pt>
                <c:pt idx="584" formatCode="0.0">
                  <c:v>44.303834988516897</c:v>
                </c:pt>
                <c:pt idx="585" formatCode="0.0">
                  <c:v>44.407931995633504</c:v>
                </c:pt>
                <c:pt idx="586" formatCode="0.0">
                  <c:v>43.800336732406706</c:v>
                </c:pt>
                <c:pt idx="587" formatCode="0.0">
                  <c:v>44.733604616113503</c:v>
                </c:pt>
                <c:pt idx="588" formatCode="0.0">
                  <c:v>44.739558659060101</c:v>
                </c:pt>
                <c:pt idx="589" formatCode="0.0">
                  <c:v>44.600614367811801</c:v>
                </c:pt>
                <c:pt idx="590" formatCode="0.0">
                  <c:v>44.931907533378904</c:v>
                </c:pt>
                <c:pt idx="591" formatCode="0.0">
                  <c:v>45.379162921741894</c:v>
                </c:pt>
                <c:pt idx="592" formatCode="0.0">
                  <c:v>44.892698868607503</c:v>
                </c:pt>
                <c:pt idx="593" formatCode="0.0">
                  <c:v>45.167397468874704</c:v>
                </c:pt>
                <c:pt idx="594" formatCode="0.0">
                  <c:v>44.887664161324501</c:v>
                </c:pt>
                <c:pt idx="595" formatCode="0.0">
                  <c:v>44.869248109682196</c:v>
                </c:pt>
                <c:pt idx="596" formatCode="0.0">
                  <c:v>45.566486771792</c:v>
                </c:pt>
                <c:pt idx="597" formatCode="0.0">
                  <c:v>45.899628792383098</c:v>
                </c:pt>
                <c:pt idx="598" formatCode="0.0">
                  <c:v>46.663086018052098</c:v>
                </c:pt>
                <c:pt idx="599" formatCode="0.0">
                  <c:v>47.036693556280596</c:v>
                </c:pt>
                <c:pt idx="600" formatCode="0.0">
                  <c:v>46.266960614689594</c:v>
                </c:pt>
                <c:pt idx="601" formatCode="0.0">
                  <c:v>45.872746407235205</c:v>
                </c:pt>
                <c:pt idx="602" formatCode="0.0">
                  <c:v>44.728758926459406</c:v>
                </c:pt>
                <c:pt idx="603" formatCode="0.0">
                  <c:v>45.4593279602812</c:v>
                </c:pt>
                <c:pt idx="604" formatCode="0.0">
                  <c:v>44.995619159880604</c:v>
                </c:pt>
                <c:pt idx="605" formatCode="0.0">
                  <c:v>45.475845731464304</c:v>
                </c:pt>
                <c:pt idx="606" formatCode="0.0">
                  <c:v>45.017196186225299</c:v>
                </c:pt>
                <c:pt idx="607" formatCode="0.0">
                  <c:v>44.325204310742905</c:v>
                </c:pt>
                <c:pt idx="608" formatCode="0.0">
                  <c:v>45.106280966549399</c:v>
                </c:pt>
                <c:pt idx="609" formatCode="0.0">
                  <c:v>44.8330893901284</c:v>
                </c:pt>
                <c:pt idx="610" formatCode="0.0">
                  <c:v>44.5441103354257</c:v>
                </c:pt>
                <c:pt idx="611" formatCode="0.0">
                  <c:v>46.254847396102605</c:v>
                </c:pt>
                <c:pt idx="612" formatCode="0.0">
                  <c:v>46.468759228918898</c:v>
                </c:pt>
                <c:pt idx="613" formatCode="0.0">
                  <c:v>46.090686043602496</c:v>
                </c:pt>
                <c:pt idx="614" formatCode="0.0">
                  <c:v>46.430590086533996</c:v>
                </c:pt>
                <c:pt idx="615" formatCode="0.0">
                  <c:v>46.403657386281402</c:v>
                </c:pt>
                <c:pt idx="616" formatCode="0.0">
                  <c:v>46.259258358679205</c:v>
                </c:pt>
                <c:pt idx="617" formatCode="0.0">
                  <c:v>46.214767350276496</c:v>
                </c:pt>
                <c:pt idx="618" formatCode="0.0">
                  <c:v>46.529501105328904</c:v>
                </c:pt>
                <c:pt idx="619" formatCode="0.0">
                  <c:v>45.123027396674502</c:v>
                </c:pt>
                <c:pt idx="620" formatCode="0.0">
                  <c:v>45.246048429659204</c:v>
                </c:pt>
                <c:pt idx="621" formatCode="0.0">
                  <c:v>45.196929761312703</c:v>
                </c:pt>
                <c:pt idx="622" formatCode="0.0">
                  <c:v>45.653189327459501</c:v>
                </c:pt>
                <c:pt idx="623" formatCode="0.0">
                  <c:v>45.179056985657596</c:v>
                </c:pt>
                <c:pt idx="624" formatCode="0.0">
                  <c:v>45.549390207048397</c:v>
                </c:pt>
                <c:pt idx="625" formatCode="0.0">
                  <c:v>45.438711135210603</c:v>
                </c:pt>
                <c:pt idx="626" formatCode="0.0">
                  <c:v>45.3655985278236</c:v>
                </c:pt>
                <c:pt idx="627" formatCode="0.0">
                  <c:v>45.689068666267104</c:v>
                </c:pt>
                <c:pt idx="628" formatCode="0.0">
                  <c:v>45.308642647832301</c:v>
                </c:pt>
                <c:pt idx="629" formatCode="0.0">
                  <c:v>45.981602065420802</c:v>
                </c:pt>
                <c:pt idx="630" formatCode="0.0">
                  <c:v>45.762978068721992</c:v>
                </c:pt>
                <c:pt idx="631" formatCode="0.0">
                  <c:v>44.306567630720799</c:v>
                </c:pt>
                <c:pt idx="632" formatCode="0.0">
                  <c:v>44.165694199379701</c:v>
                </c:pt>
                <c:pt idx="633" formatCode="0.0">
                  <c:v>44.334633826997198</c:v>
                </c:pt>
                <c:pt idx="634" formatCode="0.0">
                  <c:v>45.103527874250403</c:v>
                </c:pt>
                <c:pt idx="635" formatCode="0.0">
                  <c:v>45.689920599715407</c:v>
                </c:pt>
                <c:pt idx="636" formatCode="0.0">
                  <c:v>45.410040876103601</c:v>
                </c:pt>
                <c:pt idx="637" formatCode="0.0">
                  <c:v>45.674414438119697</c:v>
                </c:pt>
                <c:pt idx="638" formatCode="0.0">
                  <c:v>45.969041636864205</c:v>
                </c:pt>
                <c:pt idx="639" formatCode="0.0">
                  <c:v>45.577148758350397</c:v>
                </c:pt>
                <c:pt idx="640" formatCode="0.0">
                  <c:v>45.670703480825203</c:v>
                </c:pt>
                <c:pt idx="641" formatCode="0.0">
                  <c:v>43.941353733572797</c:v>
                </c:pt>
                <c:pt idx="642" formatCode="0.0">
                  <c:v>0</c:v>
                </c:pt>
                <c:pt idx="643" formatCode="0.0">
                  <c:v>43.608475632798196</c:v>
                </c:pt>
                <c:pt idx="644" formatCode="0.0">
                  <c:v>45.702997618641703</c:v>
                </c:pt>
                <c:pt idx="645" formatCode="0.0">
                  <c:v>46.040196868803406</c:v>
                </c:pt>
                <c:pt idx="646" formatCode="0.0">
                  <c:v>44.623573253146596</c:v>
                </c:pt>
                <c:pt idx="647" formatCode="0.0">
                  <c:v>44.845854223376698</c:v>
                </c:pt>
                <c:pt idx="648" formatCode="0.0">
                  <c:v>45.093207133277602</c:v>
                </c:pt>
                <c:pt idx="649" formatCode="0.0">
                  <c:v>44.7778505053654</c:v>
                </c:pt>
                <c:pt idx="650" formatCode="0.0">
                  <c:v>43.811131472348805</c:v>
                </c:pt>
                <c:pt idx="651" formatCode="0.0">
                  <c:v>45.281391842543997</c:v>
                </c:pt>
                <c:pt idx="652" formatCode="0.0">
                  <c:v>45.353585789818908</c:v>
                </c:pt>
                <c:pt idx="653" formatCode="0.0">
                  <c:v>45.545575044018406</c:v>
                </c:pt>
                <c:pt idx="654" formatCode="0.0">
                  <c:v>45.4434615560629</c:v>
                </c:pt>
                <c:pt idx="655" formatCode="0.0">
                  <c:v>45.750766935992402</c:v>
                </c:pt>
                <c:pt idx="656" formatCode="0.0">
                  <c:v>46.0891774960253</c:v>
                </c:pt>
                <c:pt idx="657" formatCode="0.0">
                  <c:v>45.738639770934398</c:v>
                </c:pt>
                <c:pt idx="658" formatCode="0.0">
                  <c:v>45.935132657947904</c:v>
                </c:pt>
                <c:pt idx="659" formatCode="0.0">
                  <c:v>45.798099899464901</c:v>
                </c:pt>
                <c:pt idx="660" formatCode="0.0">
                  <c:v>45.823396179262403</c:v>
                </c:pt>
                <c:pt idx="661" formatCode="0.0">
                  <c:v>46.184296095631694</c:v>
                </c:pt>
                <c:pt idx="662" formatCode="0.0">
                  <c:v>45.497876032689405</c:v>
                </c:pt>
                <c:pt idx="663" formatCode="0.0">
                  <c:v>46.641949826918804</c:v>
                </c:pt>
                <c:pt idx="664" formatCode="0.0">
                  <c:v>46.220850767514193</c:v>
                </c:pt>
                <c:pt idx="665" formatCode="0.0">
                  <c:v>45.793351625977898</c:v>
                </c:pt>
                <c:pt idx="666" formatCode="0.0">
                  <c:v>46.551155954388705</c:v>
                </c:pt>
                <c:pt idx="667" formatCode="0.0">
                  <c:v>45.038595212694297</c:v>
                </c:pt>
                <c:pt idx="668" formatCode="0.0">
                  <c:v>45.929391156616603</c:v>
                </c:pt>
                <c:pt idx="669" formatCode="0.0">
                  <c:v>46.202300238499802</c:v>
                </c:pt>
                <c:pt idx="670" formatCode="0.0">
                  <c:v>46.354476734208404</c:v>
                </c:pt>
                <c:pt idx="671" formatCode="0.0">
                  <c:v>45.880586283481094</c:v>
                </c:pt>
                <c:pt idx="672" formatCode="0.0">
                  <c:v>44.7611679841133</c:v>
                </c:pt>
                <c:pt idx="673" formatCode="0.0">
                  <c:v>45.3718825092622</c:v>
                </c:pt>
                <c:pt idx="674" formatCode="0.0">
                  <c:v>45.3655787765139</c:v>
                </c:pt>
                <c:pt idx="675" formatCode="0.0">
                  <c:v>44.655255788425102</c:v>
                </c:pt>
                <c:pt idx="676" formatCode="0.0">
                  <c:v>44.603776282393397</c:v>
                </c:pt>
                <c:pt idx="677" formatCode="0.0">
                  <c:v>44.826425188955596</c:v>
                </c:pt>
                <c:pt idx="678" formatCode="0.0">
                  <c:v>45.003650443638904</c:v>
                </c:pt>
                <c:pt idx="679" formatCode="0.0">
                  <c:v>44.129176968701699</c:v>
                </c:pt>
                <c:pt idx="680" formatCode="0.0">
                  <c:v>45.308975812807901</c:v>
                </c:pt>
                <c:pt idx="681" formatCode="0.0">
                  <c:v>45.485051317921901</c:v>
                </c:pt>
                <c:pt idx="682" formatCode="0.0">
                  <c:v>44.702193146055002</c:v>
                </c:pt>
                <c:pt idx="683" formatCode="0.0">
                  <c:v>45.142570740954106</c:v>
                </c:pt>
                <c:pt idx="684" formatCode="0.0">
                  <c:v>45.379346844018798</c:v>
                </c:pt>
                <c:pt idx="685" formatCode="0.0">
                  <c:v>44.373226846364098</c:v>
                </c:pt>
                <c:pt idx="686" formatCode="0.0">
                  <c:v>44.742505785564603</c:v>
                </c:pt>
                <c:pt idx="687" formatCode="0.0">
                  <c:v>44.292034074716504</c:v>
                </c:pt>
                <c:pt idx="688" formatCode="0.0">
                  <c:v>44.582496055540901</c:v>
                </c:pt>
                <c:pt idx="689" formatCode="0.0">
                  <c:v>45.725794416808505</c:v>
                </c:pt>
                <c:pt idx="690" formatCode="0.0">
                  <c:v>45.290206668117499</c:v>
                </c:pt>
                <c:pt idx="691" formatCode="0.0">
                  <c:v>45.100876343388599</c:v>
                </c:pt>
                <c:pt idx="692" formatCode="0.0">
                  <c:v>45.353583784790395</c:v>
                </c:pt>
                <c:pt idx="693" formatCode="0.0">
                  <c:v>45.315281636028502</c:v>
                </c:pt>
                <c:pt idx="694" formatCode="0.0">
                  <c:v>45.801918900493803</c:v>
                </c:pt>
                <c:pt idx="695" formatCode="0.0">
                  <c:v>45.464548815915897</c:v>
                </c:pt>
                <c:pt idx="696" formatCode="0.0">
                  <c:v>45.582594398911596</c:v>
                </c:pt>
                <c:pt idx="697" formatCode="0.0">
                  <c:v>45.479079879745399</c:v>
                </c:pt>
                <c:pt idx="698" formatCode="0.0">
                  <c:v>46.008236828999898</c:v>
                </c:pt>
                <c:pt idx="699" formatCode="0.0">
                  <c:v>46.1375299302074</c:v>
                </c:pt>
                <c:pt idx="700" formatCode="0.0">
                  <c:v>46.402162065530902</c:v>
                </c:pt>
                <c:pt idx="701" formatCode="0.0">
                  <c:v>45.33019097247</c:v>
                </c:pt>
                <c:pt idx="702" formatCode="0.0">
                  <c:v>45.404899869770794</c:v>
                </c:pt>
                <c:pt idx="703" formatCode="0.0">
                  <c:v>45.699610604922604</c:v>
                </c:pt>
                <c:pt idx="704" formatCode="0.0">
                  <c:v>46.150512612512102</c:v>
                </c:pt>
                <c:pt idx="705" formatCode="0.0">
                  <c:v>45.695505570172699</c:v>
                </c:pt>
                <c:pt idx="706" formatCode="0.0">
                  <c:v>45.078218859101398</c:v>
                </c:pt>
                <c:pt idx="707" formatCode="0.0">
                  <c:v>44.791690051189399</c:v>
                </c:pt>
                <c:pt idx="708" formatCode="0.0">
                  <c:v>44.080397382133789</c:v>
                </c:pt>
                <c:pt idx="709" formatCode="0.0">
                  <c:v>44.480544424388597</c:v>
                </c:pt>
                <c:pt idx="710" formatCode="0.0">
                  <c:v>45.138621137519607</c:v>
                </c:pt>
                <c:pt idx="711" formatCode="0.0">
                  <c:v>44.431909968891397</c:v>
                </c:pt>
                <c:pt idx="712" formatCode="0.0">
                  <c:v>43.805572578012004</c:v>
                </c:pt>
                <c:pt idx="713" formatCode="0.0">
                  <c:v>44.687529413382599</c:v>
                </c:pt>
                <c:pt idx="714" formatCode="0.0">
                  <c:v>44.688513828195099</c:v>
                </c:pt>
                <c:pt idx="715" formatCode="0.0">
                  <c:v>44.496734494361299</c:v>
                </c:pt>
                <c:pt idx="716" formatCode="0.0">
                  <c:v>44.041650168483002</c:v>
                </c:pt>
                <c:pt idx="717" formatCode="0.0">
                  <c:v>44.034798950719704</c:v>
                </c:pt>
                <c:pt idx="718" formatCode="0.0">
                  <c:v>44.218499078355606</c:v>
                </c:pt>
                <c:pt idx="719" formatCode="0.0">
                  <c:v>44.569439644232205</c:v>
                </c:pt>
                <c:pt idx="720" formatCode="0.0">
                  <c:v>45.496355837970199</c:v>
                </c:pt>
                <c:pt idx="721" formatCode="0.0">
                  <c:v>46.094891067333101</c:v>
                </c:pt>
                <c:pt idx="722" formatCode="0.0">
                  <c:v>44.591626227561001</c:v>
                </c:pt>
                <c:pt idx="723" formatCode="0.0">
                  <c:v>45.956781755358698</c:v>
                </c:pt>
                <c:pt idx="724" formatCode="0.0">
                  <c:v>43.918143539288302</c:v>
                </c:pt>
                <c:pt idx="725" formatCode="0.0">
                  <c:v>41.088027979824496</c:v>
                </c:pt>
                <c:pt idx="726" formatCode="General">
                  <c:v>44.465596882350702</c:v>
                </c:pt>
                <c:pt idx="727" formatCode="General">
                  <c:v>45.271258365811001</c:v>
                </c:pt>
                <c:pt idx="728" formatCode="General">
                  <c:v>44.734354910957599</c:v>
                </c:pt>
                <c:pt idx="729" formatCode="General">
                  <c:v>43.562973946795296</c:v>
                </c:pt>
                <c:pt idx="730">
                  <c:v>44.533855043473096</c:v>
                </c:pt>
                <c:pt idx="731">
                  <c:v>44.830281227744621</c:v>
                </c:pt>
                <c:pt idx="732">
                  <c:v>44.696334697704998</c:v>
                </c:pt>
                <c:pt idx="733">
                  <c:v>44.780260320847546</c:v>
                </c:pt>
                <c:pt idx="734">
                  <c:v>45.23918321441257</c:v>
                </c:pt>
                <c:pt idx="735">
                  <c:v>44.674370210938086</c:v>
                </c:pt>
                <c:pt idx="736">
                  <c:v>45.974094557092322</c:v>
                </c:pt>
                <c:pt idx="737">
                  <c:v>45.57295361302959</c:v>
                </c:pt>
                <c:pt idx="738">
                  <c:v>46.089568911323731</c:v>
                </c:pt>
                <c:pt idx="739">
                  <c:v>45.781379254188437</c:v>
                </c:pt>
                <c:pt idx="740">
                  <c:v>45.354644357774163</c:v>
                </c:pt>
                <c:pt idx="741">
                  <c:v>44.961236742079329</c:v>
                </c:pt>
                <c:pt idx="742">
                  <c:v>45.697606204014001</c:v>
                </c:pt>
                <c:pt idx="743">
                  <c:v>44.386097952327376</c:v>
                </c:pt>
                <c:pt idx="744">
                  <c:v>44.067327009277911</c:v>
                </c:pt>
                <c:pt idx="745">
                  <c:v>43.759243448030261</c:v>
                </c:pt>
                <c:pt idx="746">
                  <c:v>44.279019762488041</c:v>
                </c:pt>
                <c:pt idx="747">
                  <c:v>44.132327082417994</c:v>
                </c:pt>
                <c:pt idx="748">
                  <c:v>44.692019493827132</c:v>
                </c:pt>
                <c:pt idx="749">
                  <c:v>43.898087301140293</c:v>
                </c:pt>
                <c:pt idx="750">
                  <c:v>43.626064568402576</c:v>
                </c:pt>
                <c:pt idx="751">
                  <c:v>44.247016631098283</c:v>
                </c:pt>
                <c:pt idx="752">
                  <c:v>45.770331037960197</c:v>
                </c:pt>
                <c:pt idx="753">
                  <c:v>44.996503386255455</c:v>
                </c:pt>
                <c:pt idx="754">
                  <c:v>45.220261463508074</c:v>
                </c:pt>
                <c:pt idx="755">
                  <c:v>45.989133814572867</c:v>
                </c:pt>
                <c:pt idx="756">
                  <c:v>43.734074606633023</c:v>
                </c:pt>
                <c:pt idx="757">
                  <c:v>45.082053373460568</c:v>
                </c:pt>
                <c:pt idx="758">
                  <c:v>46.861459935715757</c:v>
                </c:pt>
                <c:pt idx="759">
                  <c:v>45.783818057102543</c:v>
                </c:pt>
                <c:pt idx="760">
                  <c:v>46.958116542993046</c:v>
                </c:pt>
                <c:pt idx="761">
                  <c:v>46.324937922543484</c:v>
                </c:pt>
                <c:pt idx="762">
                  <c:v>45.453223240299437</c:v>
                </c:pt>
                <c:pt idx="763">
                  <c:v>44.030988701432669</c:v>
                </c:pt>
                <c:pt idx="764">
                  <c:v>45.126579192499619</c:v>
                </c:pt>
                <c:pt idx="765">
                  <c:v>45.498969613996458</c:v>
                </c:pt>
                <c:pt idx="766">
                  <c:v>44.877898825648231</c:v>
                </c:pt>
                <c:pt idx="767">
                  <c:v>44.298960399475561</c:v>
                </c:pt>
                <c:pt idx="768">
                  <c:v>44.106087515281224</c:v>
                </c:pt>
                <c:pt idx="769">
                  <c:v>45.265528368879274</c:v>
                </c:pt>
                <c:pt idx="770">
                  <c:v>44.015974951664617</c:v>
                </c:pt>
                <c:pt idx="771">
                  <c:v>44.939950966712061</c:v>
                </c:pt>
                <c:pt idx="772">
                  <c:v>45.251310895388514</c:v>
                </c:pt>
                <c:pt idx="773">
                  <c:v>45.026383163041004</c:v>
                </c:pt>
                <c:pt idx="774">
                  <c:v>45.166271682047416</c:v>
                </c:pt>
                <c:pt idx="775">
                  <c:v>44.97382459501403</c:v>
                </c:pt>
                <c:pt idx="776">
                  <c:v>45.469087337733257</c:v>
                </c:pt>
                <c:pt idx="777">
                  <c:v>46.361142836733663</c:v>
                </c:pt>
                <c:pt idx="778">
                  <c:v>44.089010173745081</c:v>
                </c:pt>
                <c:pt idx="779">
                  <c:v>43.827671597501123</c:v>
                </c:pt>
                <c:pt idx="780">
                  <c:v>44.182629941549678</c:v>
                </c:pt>
                <c:pt idx="781">
                  <c:v>44.226677849472509</c:v>
                </c:pt>
                <c:pt idx="782">
                  <c:v>45.052618586870764</c:v>
                </c:pt>
                <c:pt idx="783">
                  <c:v>45.512073468744205</c:v>
                </c:pt>
                <c:pt idx="784">
                  <c:v>45.606674788021628</c:v>
                </c:pt>
                <c:pt idx="785">
                  <c:v>44.017829382923438</c:v>
                </c:pt>
                <c:pt idx="786">
                  <c:v>45.467524283396294</c:v>
                </c:pt>
                <c:pt idx="787">
                  <c:v>45.504496006560245</c:v>
                </c:pt>
                <c:pt idx="788">
                  <c:v>45.118479022479924</c:v>
                </c:pt>
                <c:pt idx="789">
                  <c:v>44.937155398600133</c:v>
                </c:pt>
                <c:pt idx="790">
                  <c:v>44.866136214033965</c:v>
                </c:pt>
                <c:pt idx="791">
                  <c:v>44.378288337490879</c:v>
                </c:pt>
                <c:pt idx="792">
                  <c:v>44.407470342544819</c:v>
                </c:pt>
                <c:pt idx="793">
                  <c:v>45.481084656772879</c:v>
                </c:pt>
                <c:pt idx="794">
                  <c:v>45.489739164273409</c:v>
                </c:pt>
                <c:pt idx="795">
                  <c:v>45.625992069199548</c:v>
                </c:pt>
                <c:pt idx="796">
                  <c:v>45.213710996318007</c:v>
                </c:pt>
                <c:pt idx="797">
                  <c:v>44.581783417085454</c:v>
                </c:pt>
                <c:pt idx="798">
                  <c:v>44.935970764198629</c:v>
                </c:pt>
                <c:pt idx="799">
                  <c:v>45.29329989083589</c:v>
                </c:pt>
                <c:pt idx="800">
                  <c:v>45.433292450221728</c:v>
                </c:pt>
                <c:pt idx="801">
                  <c:v>45.313975832861772</c:v>
                </c:pt>
                <c:pt idx="802">
                  <c:v>45.292951244042008</c:v>
                </c:pt>
                <c:pt idx="803">
                  <c:v>43.876736045386821</c:v>
                </c:pt>
                <c:pt idx="804">
                  <c:v>44.871767285759184</c:v>
                </c:pt>
                <c:pt idx="805">
                  <c:v>45.184775512511862</c:v>
                </c:pt>
                <c:pt idx="806">
                  <c:v>45.619630131101246</c:v>
                </c:pt>
                <c:pt idx="807">
                  <c:v>46.370913247460813</c:v>
                </c:pt>
                <c:pt idx="808">
                  <c:v>46.17829553853484</c:v>
                </c:pt>
                <c:pt idx="809">
                  <c:v>44.480519932431839</c:v>
                </c:pt>
                <c:pt idx="810">
                  <c:v>43.938661251271405</c:v>
                </c:pt>
                <c:pt idx="811">
                  <c:v>45.009319794202966</c:v>
                </c:pt>
                <c:pt idx="812">
                  <c:v>45.157595906999219</c:v>
                </c:pt>
                <c:pt idx="813">
                  <c:v>44.854670655832038</c:v>
                </c:pt>
                <c:pt idx="814">
                  <c:v>45.116239363557469</c:v>
                </c:pt>
                <c:pt idx="815">
                  <c:v>45.482040875647428</c:v>
                </c:pt>
                <c:pt idx="816">
                  <c:v>45.256446885051318</c:v>
                </c:pt>
                <c:pt idx="817">
                  <c:v>45.618973497277352</c:v>
                </c:pt>
                <c:pt idx="818">
                  <c:v>45.847520765423546</c:v>
                </c:pt>
                <c:pt idx="819">
                  <c:v>45.556164323252126</c:v>
                </c:pt>
                <c:pt idx="820">
                  <c:v>45.496228157597912</c:v>
                </c:pt>
                <c:pt idx="821">
                  <c:v>46.061839983540679</c:v>
                </c:pt>
                <c:pt idx="822">
                  <c:v>45.914229940899077</c:v>
                </c:pt>
                <c:pt idx="823">
                  <c:v>45.825385332633175</c:v>
                </c:pt>
                <c:pt idx="824" formatCode="0.0">
                  <c:v>45.323554625151026</c:v>
                </c:pt>
                <c:pt idx="825" formatCode="0.0">
                  <c:v>45.081750949513989</c:v>
                </c:pt>
                <c:pt idx="826" formatCode="0.0">
                  <c:v>45.767380172480465</c:v>
                </c:pt>
                <c:pt idx="827" formatCode="0.0">
                  <c:v>46.249569882718077</c:v>
                </c:pt>
                <c:pt idx="828" formatCode="0.0">
                  <c:v>45.590284126935202</c:v>
                </c:pt>
                <c:pt idx="829" formatCode="0.0">
                  <c:v>46.257788360549974</c:v>
                </c:pt>
                <c:pt idx="830" formatCode="0.0">
                  <c:v>45.699571554233515</c:v>
                </c:pt>
                <c:pt idx="831" formatCode="0.0">
                  <c:v>45.865208571968459</c:v>
                </c:pt>
                <c:pt idx="832" formatCode="0.0">
                  <c:v>46.317512245223767</c:v>
                </c:pt>
                <c:pt idx="833" formatCode="0.0">
                  <c:v>44.780300989146767</c:v>
                </c:pt>
                <c:pt idx="834" formatCode="0.0">
                  <c:v>43.975972537082804</c:v>
                </c:pt>
                <c:pt idx="835" formatCode="0.0">
                  <c:v>44.073726552443858</c:v>
                </c:pt>
                <c:pt idx="836" formatCode="0.0">
                  <c:v>43.415845529924688</c:v>
                </c:pt>
                <c:pt idx="837" formatCode="0.0">
                  <c:v>44.170511471014272</c:v>
                </c:pt>
                <c:pt idx="838" formatCode="0.0">
                  <c:v>44.446159013331517</c:v>
                </c:pt>
                <c:pt idx="839" formatCode="0.0">
                  <c:v>44.312307334062638</c:v>
                </c:pt>
                <c:pt idx="840" formatCode="0.0">
                  <c:v>45.571223516141742</c:v>
                </c:pt>
                <c:pt idx="841" formatCode="0.0">
                  <c:v>46.259640160552131</c:v>
                </c:pt>
                <c:pt idx="842" formatCode="0.0">
                  <c:v>46.427487576192078</c:v>
                </c:pt>
                <c:pt idx="843" formatCode="0.0">
                  <c:v>45.046104343017284</c:v>
                </c:pt>
                <c:pt idx="844" formatCode="0.0">
                  <c:v>43.825543684985206</c:v>
                </c:pt>
                <c:pt idx="845" formatCode="0.0">
                  <c:v>44.921502466240526</c:v>
                </c:pt>
                <c:pt idx="846" formatCode="0.0">
                  <c:v>44.706357348443085</c:v>
                </c:pt>
                <c:pt idx="847" formatCode="0.0">
                  <c:v>44.159734592298705</c:v>
                </c:pt>
                <c:pt idx="848" formatCode="0.0">
                  <c:v>44.560160328721039</c:v>
                </c:pt>
                <c:pt idx="849" formatCode="0.0">
                  <c:v>44.27993444768444</c:v>
                </c:pt>
                <c:pt idx="850" formatCode="0.0">
                  <c:v>43.468530007349806</c:v>
                </c:pt>
                <c:pt idx="851" formatCode="0.0">
                  <c:v>45.700119831918869</c:v>
                </c:pt>
                <c:pt idx="852" formatCode="0.0">
                  <c:v>45.606849859795979</c:v>
                </c:pt>
                <c:pt idx="853" formatCode="0.0">
                  <c:v>46.062387109256079</c:v>
                </c:pt>
                <c:pt idx="854" formatCode="0.0">
                  <c:v>44.626897792544753</c:v>
                </c:pt>
                <c:pt idx="855" formatCode="0.0">
                  <c:v>45.139089493657721</c:v>
                </c:pt>
                <c:pt idx="856" formatCode="0.0">
                  <c:v>45.125529573175243</c:v>
                </c:pt>
                <c:pt idx="857" formatCode="0.0">
                  <c:v>43.796358899315521</c:v>
                </c:pt>
                <c:pt idx="858" formatCode="0.0">
                  <c:v>43.770799609633031</c:v>
                </c:pt>
                <c:pt idx="859" formatCode="0.0">
                  <c:v>44.013487317005925</c:v>
                </c:pt>
                <c:pt idx="860" formatCode="0.0">
                  <c:v>43.285923916341901</c:v>
                </c:pt>
                <c:pt idx="861" formatCode="0.0">
                  <c:v>42.497952726506476</c:v>
                </c:pt>
                <c:pt idx="862" formatCode="0.0">
                  <c:v>44.299457077656548</c:v>
                </c:pt>
                <c:pt idx="863" formatCode="0.0">
                  <c:v>45.70786498858142</c:v>
                </c:pt>
                <c:pt idx="864" formatCode="0.0">
                  <c:v>45.699352461654222</c:v>
                </c:pt>
                <c:pt idx="865" formatCode="0.0">
                  <c:v>44.426591506144305</c:v>
                </c:pt>
                <c:pt idx="866" formatCode="0.0">
                  <c:v>45.72198123709812</c:v>
                </c:pt>
                <c:pt idx="867" formatCode="0.0">
                  <c:v>46.489322042772436</c:v>
                </c:pt>
                <c:pt idx="868" formatCode="0.0">
                  <c:v>46.829790966652652</c:v>
                </c:pt>
                <c:pt idx="869" formatCode="0.0">
                  <c:v>46.424173303548429</c:v>
                </c:pt>
                <c:pt idx="870" formatCode="0.0">
                  <c:v>46.176960802927482</c:v>
                </c:pt>
                <c:pt idx="871" formatCode="0.0">
                  <c:v>46.146571773252205</c:v>
                </c:pt>
                <c:pt idx="872" formatCode="0.0">
                  <c:v>46.831356211008355</c:v>
                </c:pt>
                <c:pt idx="873" formatCode="0.0">
                  <c:v>46.352399603527473</c:v>
                </c:pt>
                <c:pt idx="874" formatCode="0.0">
                  <c:v>46.683449037948755</c:v>
                </c:pt>
                <c:pt idx="875" formatCode="0.0">
                  <c:v>46.906862419802906</c:v>
                </c:pt>
                <c:pt idx="876" formatCode="0.0">
                  <c:v>46.537827710621194</c:v>
                </c:pt>
                <c:pt idx="877" formatCode="0.0">
                  <c:v>46.883755937542553</c:v>
                </c:pt>
                <c:pt idx="878" formatCode="0.0">
                  <c:v>46.983863663572777</c:v>
                </c:pt>
                <c:pt idx="879" formatCode="0.0">
                  <c:v>46.493905883277975</c:v>
                </c:pt>
                <c:pt idx="880" formatCode="0.0">
                  <c:v>45.484238515332656</c:v>
                </c:pt>
                <c:pt idx="881" formatCode="0.0">
                  <c:v>45.464600041246769</c:v>
                </c:pt>
                <c:pt idx="882" formatCode="0.0">
                  <c:v>46.299918573978324</c:v>
                </c:pt>
                <c:pt idx="883" formatCode="0.0">
                  <c:v>45.922546732790408</c:v>
                </c:pt>
                <c:pt idx="884" formatCode="0.0">
                  <c:v>45.836003070880729</c:v>
                </c:pt>
                <c:pt idx="885" formatCode="0.0">
                  <c:v>46.000192992322653</c:v>
                </c:pt>
                <c:pt idx="886" formatCode="0.0">
                  <c:v>46.184759918370197</c:v>
                </c:pt>
                <c:pt idx="887" formatCode="0.0">
                  <c:v>46.245350657527439</c:v>
                </c:pt>
                <c:pt idx="888" formatCode="0.0">
                  <c:v>46.230860623086343</c:v>
                </c:pt>
                <c:pt idx="889" formatCode="0.0">
                  <c:v>45.411458329342196</c:v>
                </c:pt>
                <c:pt idx="890" formatCode="0.0">
                  <c:v>45.411458329342196</c:v>
                </c:pt>
                <c:pt idx="891" formatCode="0.0">
                  <c:v>46.473693383663132</c:v>
                </c:pt>
                <c:pt idx="892" formatCode="0.0">
                  <c:v>45.204984120011588</c:v>
                </c:pt>
                <c:pt idx="893" formatCode="0.0">
                  <c:v>46.300406312753537</c:v>
                </c:pt>
                <c:pt idx="894" formatCode="0.0">
                  <c:v>45.818588309409577</c:v>
                </c:pt>
                <c:pt idx="895" formatCode="0.0">
                  <c:v>45.865432151622485</c:v>
                </c:pt>
                <c:pt idx="896" formatCode="0.0">
                  <c:v>46.427870263959804</c:v>
                </c:pt>
                <c:pt idx="897" formatCode="0.0">
                  <c:v>45.708032331625638</c:v>
                </c:pt>
                <c:pt idx="898" formatCode="0.0">
                  <c:v>45.799325212320454</c:v>
                </c:pt>
                <c:pt idx="899" formatCode="0.0">
                  <c:v>44.837134237411014</c:v>
                </c:pt>
                <c:pt idx="900" formatCode="0.0">
                  <c:v>44.255259211572316</c:v>
                </c:pt>
                <c:pt idx="901" formatCode="0.0">
                  <c:v>45.113734369726259</c:v>
                </c:pt>
                <c:pt idx="902" formatCode="0.0">
                  <c:v>45.465561650845878</c:v>
                </c:pt>
                <c:pt idx="903" formatCode="0.0">
                  <c:v>46.044457764673538</c:v>
                </c:pt>
                <c:pt idx="904" formatCode="0.0">
                  <c:v>45.30905806251095</c:v>
                </c:pt>
                <c:pt idx="905" formatCode="0.0">
                  <c:v>44.997210497834608</c:v>
                </c:pt>
                <c:pt idx="906" formatCode="0.0">
                  <c:v>43.864366704626796</c:v>
                </c:pt>
                <c:pt idx="907" formatCode="0.0">
                  <c:v>43.805223942672356</c:v>
                </c:pt>
                <c:pt idx="908" formatCode="0.0">
                  <c:v>45.588370327590667</c:v>
                </c:pt>
                <c:pt idx="909" formatCode="0.0">
                  <c:v>47.046445252057261</c:v>
                </c:pt>
                <c:pt idx="910" formatCode="0.0">
                  <c:v>47.1769139514263</c:v>
                </c:pt>
                <c:pt idx="911" formatCode="0.0">
                  <c:v>46.418772424526054</c:v>
                </c:pt>
                <c:pt idx="912" formatCode="0.0">
                  <c:v>46.256860089676877</c:v>
                </c:pt>
                <c:pt idx="913" formatCode="0.0">
                  <c:v>46.755449672514722</c:v>
                </c:pt>
                <c:pt idx="914" formatCode="0.0">
                  <c:v>46.980966514338775</c:v>
                </c:pt>
                <c:pt idx="915" formatCode="0.0">
                  <c:v>46.383153168720341</c:v>
                </c:pt>
                <c:pt idx="916" formatCode="0.0">
                  <c:v>46.383153168720341</c:v>
                </c:pt>
                <c:pt idx="917" formatCode="0.0">
                  <c:v>45.538835960757766</c:v>
                </c:pt>
                <c:pt idx="918" formatCode="0.0">
                  <c:v>45.110289199189452</c:v>
                </c:pt>
                <c:pt idx="919" formatCode="0.0">
                  <c:v>45.125932541902365</c:v>
                </c:pt>
                <c:pt idx="920" formatCode="0.0">
                  <c:v>46.371683102816419</c:v>
                </c:pt>
                <c:pt idx="921" formatCode="0.0">
                  <c:v>45.41953093195778</c:v>
                </c:pt>
                <c:pt idx="922" formatCode="0.0">
                  <c:v>45.876749662044887</c:v>
                </c:pt>
                <c:pt idx="923" formatCode="0.0">
                  <c:v>46.36287246937141</c:v>
                </c:pt>
                <c:pt idx="924" formatCode="0.0">
                  <c:v>46.200113741358152</c:v>
                </c:pt>
                <c:pt idx="925" formatCode="0.0">
                  <c:v>46.258471029913608</c:v>
                </c:pt>
                <c:pt idx="926" formatCode="0.0">
                  <c:v>46.125681181481596</c:v>
                </c:pt>
                <c:pt idx="927" formatCode="0.0">
                  <c:v>46.125681181481596</c:v>
                </c:pt>
                <c:pt idx="928" formatCode="0.0">
                  <c:v>46.186245044948407</c:v>
                </c:pt>
                <c:pt idx="929" formatCode="0.0">
                  <c:v>45.765162024389447</c:v>
                </c:pt>
                <c:pt idx="930" formatCode="0.0">
                  <c:v>45.489256587510205</c:v>
                </c:pt>
                <c:pt idx="931" formatCode="0.0">
                  <c:v>45.874718089492987</c:v>
                </c:pt>
                <c:pt idx="932" formatCode="0.0">
                  <c:v>46.017646670871613</c:v>
                </c:pt>
                <c:pt idx="933" formatCode="0.0">
                  <c:v>46.082160871206952</c:v>
                </c:pt>
                <c:pt idx="934" formatCode="0.0">
                  <c:v>46.002939474750725</c:v>
                </c:pt>
                <c:pt idx="935" formatCode="0.0">
                  <c:v>46.054174750547773</c:v>
                </c:pt>
                <c:pt idx="936" formatCode="0.0">
                  <c:v>46.335584648125689</c:v>
                </c:pt>
                <c:pt idx="937" formatCode="0.0">
                  <c:v>46.572124891861549</c:v>
                </c:pt>
                <c:pt idx="938" formatCode="0.0">
                  <c:v>45.926076486285112</c:v>
                </c:pt>
                <c:pt idx="939" formatCode="0.0">
                  <c:v>46.22315252851714</c:v>
                </c:pt>
                <c:pt idx="940" formatCode="0.0">
                  <c:v>45.188351370301291</c:v>
                </c:pt>
                <c:pt idx="941" formatCode="0.0">
                  <c:v>45.006154654606661</c:v>
                </c:pt>
                <c:pt idx="942" formatCode="0.0">
                  <c:v>45.982298509041925</c:v>
                </c:pt>
                <c:pt idx="943" formatCode="0.0">
                  <c:v>44.755801501462201</c:v>
                </c:pt>
                <c:pt idx="944" formatCode="0.0">
                  <c:v>45.38105796343882</c:v>
                </c:pt>
                <c:pt idx="945" formatCode="0.0">
                  <c:v>46.290984287585736</c:v>
                </c:pt>
                <c:pt idx="946" formatCode="0.0">
                  <c:v>46.374539823588165</c:v>
                </c:pt>
                <c:pt idx="947" formatCode="0.0">
                  <c:v>46.29299543550944</c:v>
                </c:pt>
                <c:pt idx="948" formatCode="0.0">
                  <c:v>46.287898858410372</c:v>
                </c:pt>
                <c:pt idx="949" formatCode="0.0">
                  <c:v>46.404782030671043</c:v>
                </c:pt>
                <c:pt idx="950" formatCode="0.0">
                  <c:v>46.415590315811627</c:v>
                </c:pt>
                <c:pt idx="951" formatCode="0.0">
                  <c:v>46.203631182347863</c:v>
                </c:pt>
                <c:pt idx="952" formatCode="0.0">
                  <c:v>46.393328004507133</c:v>
                </c:pt>
                <c:pt idx="953" formatCode="0.0">
                  <c:v>45.935058872670737</c:v>
                </c:pt>
                <c:pt idx="954" formatCode="0.0">
                  <c:v>46.351980894941072</c:v>
                </c:pt>
                <c:pt idx="955" formatCode="0.0">
                  <c:v>46.114233763959078</c:v>
                </c:pt>
                <c:pt idx="956" formatCode="0.0">
                  <c:v>43.94202813183658</c:v>
                </c:pt>
                <c:pt idx="957" formatCode="0.0">
                  <c:v>46.315445880882969</c:v>
                </c:pt>
                <c:pt idx="958" formatCode="0.0">
                  <c:v>45.963116542819968</c:v>
                </c:pt>
                <c:pt idx="959" formatCode="0.0">
                  <c:v>45.943788279312642</c:v>
                </c:pt>
                <c:pt idx="960" formatCode="0.0">
                  <c:v>45.997770795775068</c:v>
                </c:pt>
                <c:pt idx="961" formatCode="0.0">
                  <c:v>45.430004219347317</c:v>
                </c:pt>
                <c:pt idx="962" formatCode="0.0">
                  <c:v>46.02072534976044</c:v>
                </c:pt>
                <c:pt idx="963" formatCode="0.0">
                  <c:v>46.823463022725377</c:v>
                </c:pt>
                <c:pt idx="964" formatCode="0.0">
                  <c:v>45.656349271554532</c:v>
                </c:pt>
                <c:pt idx="965" formatCode="0.0">
                  <c:v>46.562615587552202</c:v>
                </c:pt>
                <c:pt idx="966" formatCode="0.0">
                  <c:v>45.891861277258606</c:v>
                </c:pt>
                <c:pt idx="967" formatCode="0.0">
                  <c:v>46.216360875424201</c:v>
                </c:pt>
                <c:pt idx="968" formatCode="0.0">
                  <c:v>46.27352745572675</c:v>
                </c:pt>
                <c:pt idx="969" formatCode="0.0">
                  <c:v>46.274970307992675</c:v>
                </c:pt>
                <c:pt idx="970" formatCode="0.0">
                  <c:v>46.336599350875218</c:v>
                </c:pt>
                <c:pt idx="971" formatCode="0.0">
                  <c:v>46.410445297012011</c:v>
                </c:pt>
                <c:pt idx="972" formatCode="0.0">
                  <c:v>46.144409865714394</c:v>
                </c:pt>
                <c:pt idx="973" formatCode="0.0">
                  <c:v>46.026010190840054</c:v>
                </c:pt>
                <c:pt idx="974" formatCode="0.0">
                  <c:v>46.328423142244645</c:v>
                </c:pt>
                <c:pt idx="975" formatCode="0.0">
                  <c:v>46.488544755976008</c:v>
                </c:pt>
                <c:pt idx="976" formatCode="0.0">
                  <c:v>46.192320657605137</c:v>
                </c:pt>
                <c:pt idx="977" formatCode="0.0">
                  <c:v>45.783097025918053</c:v>
                </c:pt>
                <c:pt idx="978" formatCode="0.0">
                  <c:v>46.380218630894099</c:v>
                </c:pt>
                <c:pt idx="979" formatCode="0.0">
                  <c:v>46.447319085265313</c:v>
                </c:pt>
                <c:pt idx="980" formatCode="0.0">
                  <c:v>46.468575511973675</c:v>
                </c:pt>
                <c:pt idx="981" formatCode="0.0">
                  <c:v>47.020576503511869</c:v>
                </c:pt>
                <c:pt idx="982" formatCode="0.0">
                  <c:v>46.761736866983377</c:v>
                </c:pt>
                <c:pt idx="983" formatCode="0.0">
                  <c:v>46.110799934355462</c:v>
                </c:pt>
                <c:pt idx="984" formatCode="0.0">
                  <c:v>46.373001106647777</c:v>
                </c:pt>
                <c:pt idx="985" formatCode="0.0">
                  <c:v>46.622512886787035</c:v>
                </c:pt>
                <c:pt idx="986" formatCode="0.0">
                  <c:v>45.984181700651696</c:v>
                </c:pt>
                <c:pt idx="987" formatCode="0.0">
                  <c:v>45.836834364189933</c:v>
                </c:pt>
                <c:pt idx="988" formatCode="0.0">
                  <c:v>45.600881460081155</c:v>
                </c:pt>
                <c:pt idx="989" formatCode="0.0">
                  <c:v>45.611558084893282</c:v>
                </c:pt>
                <c:pt idx="990" formatCode="0.0">
                  <c:v>46.371084561855284</c:v>
                </c:pt>
                <c:pt idx="991" formatCode="0.0">
                  <c:v>46.649949582407579</c:v>
                </c:pt>
                <c:pt idx="992" formatCode="0.0">
                  <c:v>46.978642315885928</c:v>
                </c:pt>
                <c:pt idx="993" formatCode="0.0">
                  <c:v>47.070686137409901</c:v>
                </c:pt>
                <c:pt idx="994" formatCode="0.0">
                  <c:v>46.458908054096703</c:v>
                </c:pt>
                <c:pt idx="995" formatCode="0.0">
                  <c:v>46.409505987830435</c:v>
                </c:pt>
                <c:pt idx="996" formatCode="0.0">
                  <c:v>46.208214552794416</c:v>
                </c:pt>
                <c:pt idx="997" formatCode="0.0">
                  <c:v>45.307666765580841</c:v>
                </c:pt>
                <c:pt idx="998" formatCode="0.0">
                  <c:v>46.641806357069022</c:v>
                </c:pt>
                <c:pt idx="999" formatCode="0.0">
                  <c:v>47.088430965432394</c:v>
                </c:pt>
                <c:pt idx="1000" formatCode="0.0">
                  <c:v>46.957247989283772</c:v>
                </c:pt>
                <c:pt idx="1001" formatCode="0.0">
                  <c:v>46.1691327039999</c:v>
                </c:pt>
                <c:pt idx="1002" formatCode="0.0">
                  <c:v>46.300765792190717</c:v>
                </c:pt>
                <c:pt idx="1003" formatCode="0.0">
                  <c:v>46.579017827607871</c:v>
                </c:pt>
                <c:pt idx="1004" formatCode="0.0">
                  <c:v>46.725269403782228</c:v>
                </c:pt>
                <c:pt idx="1005" formatCode="0.0">
                  <c:v>46.547593419179343</c:v>
                </c:pt>
                <c:pt idx="1006" formatCode="0.0">
                  <c:v>46.584523397227116</c:v>
                </c:pt>
                <c:pt idx="1007" formatCode="0.0">
                  <c:v>46.08008718477835</c:v>
                </c:pt>
                <c:pt idx="1008" formatCode="0.0">
                  <c:v>46.016481320780144</c:v>
                </c:pt>
                <c:pt idx="1009" formatCode="0.0">
                  <c:v>46.867417638838511</c:v>
                </c:pt>
                <c:pt idx="1010" formatCode="0.0">
                  <c:v>46.509558999024811</c:v>
                </c:pt>
                <c:pt idx="1011" formatCode="0.0">
                  <c:v>46.226986966580498</c:v>
                </c:pt>
                <c:pt idx="1012" formatCode="0.0">
                  <c:v>46.369544691718502</c:v>
                </c:pt>
                <c:pt idx="1013" formatCode="0.0">
                  <c:v>46.383356372933548</c:v>
                </c:pt>
                <c:pt idx="1014" formatCode="0.0">
                  <c:v>46.314732506641796</c:v>
                </c:pt>
                <c:pt idx="1015" formatCode="0.0">
                  <c:v>46.34855202019304</c:v>
                </c:pt>
                <c:pt idx="1016" formatCode="0.0">
                  <c:v>45.791157394752879</c:v>
                </c:pt>
                <c:pt idx="1017" formatCode="0.0">
                  <c:v>45.533470474712857</c:v>
                </c:pt>
                <c:pt idx="1018" formatCode="0.0">
                  <c:v>46.410793784059649</c:v>
                </c:pt>
                <c:pt idx="1019" formatCode="0.0">
                  <c:v>45.669514257773798</c:v>
                </c:pt>
                <c:pt idx="1020" formatCode="0.0">
                  <c:v>45.251479816122014</c:v>
                </c:pt>
                <c:pt idx="1021" formatCode="0.0">
                  <c:v>46.396356202425686</c:v>
                </c:pt>
                <c:pt idx="1022" formatCode="0.0">
                  <c:v>46.898358679233965</c:v>
                </c:pt>
                <c:pt idx="1023" formatCode="0.0">
                  <c:v>46.469377543530101</c:v>
                </c:pt>
                <c:pt idx="1024" formatCode="0.0">
                  <c:v>46.485853168937183</c:v>
                </c:pt>
                <c:pt idx="1025" formatCode="0.0">
                  <c:v>46.937590251212335</c:v>
                </c:pt>
                <c:pt idx="1026" formatCode="General">
                  <c:v>45.720574539287242</c:v>
                </c:pt>
                <c:pt idx="1027">
                  <c:v>45.958461891026765</c:v>
                </c:pt>
                <c:pt idx="1028">
                  <c:v>46.433468444391551</c:v>
                </c:pt>
                <c:pt idx="1029">
                  <c:v>46.765911317187275</c:v>
                </c:pt>
                <c:pt idx="1030">
                  <c:v>44.476272804922949</c:v>
                </c:pt>
                <c:pt idx="1031" formatCode="General">
                  <c:v>43.791123568790383</c:v>
                </c:pt>
                <c:pt idx="1032" formatCode="0.0">
                  <c:v>46.411392067420792</c:v>
                </c:pt>
                <c:pt idx="1033" formatCode="0.0">
                  <c:v>45.894755954035887</c:v>
                </c:pt>
                <c:pt idx="1034" formatCode="General">
                  <c:v>46.140312632746927</c:v>
                </c:pt>
                <c:pt idx="1035" formatCode="General">
                  <c:v>46.388308364625615</c:v>
                </c:pt>
                <c:pt idx="1036" formatCode="0.0">
                  <c:v>46.29401060445354</c:v>
                </c:pt>
                <c:pt idx="1037" formatCode="General">
                  <c:v>46.065234689017593</c:v>
                </c:pt>
                <c:pt idx="1038" formatCode="General">
                  <c:v>45.003466449551574</c:v>
                </c:pt>
                <c:pt idx="1039">
                  <c:v>45.672399603956613</c:v>
                </c:pt>
                <c:pt idx="1040">
                  <c:v>45.527080669009067</c:v>
                </c:pt>
                <c:pt idx="1041">
                  <c:v>45.037860817871611</c:v>
                </c:pt>
                <c:pt idx="1042">
                  <c:v>45.460473679323421</c:v>
                </c:pt>
                <c:pt idx="1043">
                  <c:v>44.843547279138292</c:v>
                </c:pt>
                <c:pt idx="1044">
                  <c:v>44.990747742003748</c:v>
                </c:pt>
                <c:pt idx="1045">
                  <c:v>45.545408262187898</c:v>
                </c:pt>
                <c:pt idx="1046">
                  <c:v>45.697927877784103</c:v>
                </c:pt>
                <c:pt idx="1047">
                  <c:v>45.546144460372197</c:v>
                </c:pt>
                <c:pt idx="1048">
                  <c:v>44.652869426350883</c:v>
                </c:pt>
                <c:pt idx="1049">
                  <c:v>44.938133663787681</c:v>
                </c:pt>
                <c:pt idx="1050">
                  <c:v>45.114979096032712</c:v>
                </c:pt>
                <c:pt idx="1051">
                  <c:v>46.015404379480351</c:v>
                </c:pt>
                <c:pt idx="1052">
                  <c:v>46.314008372762274</c:v>
                </c:pt>
                <c:pt idx="1053" formatCode="0.0">
                  <c:v>45.935328245178098</c:v>
                </c:pt>
                <c:pt idx="1054" formatCode="General">
                  <c:v>45.275789255749295</c:v>
                </c:pt>
                <c:pt idx="1055">
                  <c:v>45.091592870120174</c:v>
                </c:pt>
                <c:pt idx="1056">
                  <c:v>44.213837149769375</c:v>
                </c:pt>
                <c:pt idx="1057">
                  <c:v>44.985106827548975</c:v>
                </c:pt>
                <c:pt idx="1058">
                  <c:v>45.518965640277344</c:v>
                </c:pt>
                <c:pt idx="1059">
                  <c:v>44.866989170229267</c:v>
                </c:pt>
                <c:pt idx="1060" formatCode="0.0">
                  <c:v>44.760942960547602</c:v>
                </c:pt>
                <c:pt idx="1061" formatCode="0.0">
                  <c:v>44.861698751387664</c:v>
                </c:pt>
                <c:pt idx="1062" formatCode="0.0">
                  <c:v>44.418720967236851</c:v>
                </c:pt>
                <c:pt idx="1063" formatCode="General">
                  <c:v>44.276905632753262</c:v>
                </c:pt>
                <c:pt idx="1064" formatCode="0.0">
                  <c:v>44.120123259185021</c:v>
                </c:pt>
                <c:pt idx="1065" formatCode="General">
                  <c:v>44.024528658026838</c:v>
                </c:pt>
                <c:pt idx="1066" formatCode="General">
                  <c:v>44.437653796381355</c:v>
                </c:pt>
                <c:pt idx="1067" formatCode="General">
                  <c:v>46.719038400642248</c:v>
                </c:pt>
                <c:pt idx="1068" formatCode="General">
                  <c:v>45.320311193712911</c:v>
                </c:pt>
                <c:pt idx="1069" formatCode="General">
                  <c:v>46.320108503945036</c:v>
                </c:pt>
                <c:pt idx="1070" formatCode="General">
                  <c:v>46.205811330793573</c:v>
                </c:pt>
                <c:pt idx="1071" formatCode="General">
                  <c:v>45.682757625860347</c:v>
                </c:pt>
                <c:pt idx="1072" formatCode="General">
                  <c:v>45.755307043648763</c:v>
                </c:pt>
                <c:pt idx="1073" formatCode="0.0">
                  <c:v>46.070832276802022</c:v>
                </c:pt>
                <c:pt idx="1074" formatCode="0.0">
                  <c:v>46.439555769768305</c:v>
                </c:pt>
                <c:pt idx="1075" formatCode="General">
                  <c:v>46.628454730531423</c:v>
                </c:pt>
                <c:pt idx="1076" formatCode="General">
                  <c:v>46.535999973671537</c:v>
                </c:pt>
                <c:pt idx="1077" formatCode="0.0">
                  <c:v>45.965403947885093</c:v>
                </c:pt>
                <c:pt idx="1078" formatCode="General">
                  <c:v>46.328005085488314</c:v>
                </c:pt>
                <c:pt idx="1079" formatCode="General">
                  <c:v>46.478633497327586</c:v>
                </c:pt>
                <c:pt idx="1080" formatCode="General">
                  <c:v>45.875189964765859</c:v>
                </c:pt>
                <c:pt idx="1081" formatCode="General">
                  <c:v>46.011463928610617</c:v>
                </c:pt>
                <c:pt idx="1082" formatCode="General">
                  <c:v>46.247144398409219</c:v>
                </c:pt>
                <c:pt idx="1083" formatCode="General">
                  <c:v>46.143018372904976</c:v>
                </c:pt>
                <c:pt idx="1084" formatCode="General">
                  <c:v>46.46922314606114</c:v>
                </c:pt>
                <c:pt idx="1085" formatCode="General">
                  <c:v>46.002580188401481</c:v>
                </c:pt>
                <c:pt idx="1086" formatCode="General">
                  <c:v>45.958622362885926</c:v>
                </c:pt>
                <c:pt idx="1087" formatCode="General">
                  <c:v>46.56786760770909</c:v>
                </c:pt>
                <c:pt idx="1088" formatCode="General">
                  <c:v>46.62399492242929</c:v>
                </c:pt>
                <c:pt idx="1089" formatCode="General">
                  <c:v>46.875968828063044</c:v>
                </c:pt>
                <c:pt idx="1090" formatCode="General">
                  <c:v>46.687247338193302</c:v>
                </c:pt>
                <c:pt idx="1091" formatCode="General">
                  <c:v>46.472341416565122</c:v>
                </c:pt>
                <c:pt idx="1092" formatCode="General">
                  <c:v>46.229256452676751</c:v>
                </c:pt>
                <c:pt idx="1093" formatCode="General">
                  <c:v>46.062360536715786</c:v>
                </c:pt>
                <c:pt idx="1094" formatCode="General">
                  <c:v>46.58072533962806</c:v>
                </c:pt>
                <c:pt idx="1095" formatCode="General">
                  <c:v>46.225730096131407</c:v>
                </c:pt>
              </c:numCache>
            </c:numRef>
          </c:xVal>
          <c:yVal>
            <c:numRef>
              <c:f>'Parameters ranges for ANN step1'!$AJ$3:$AJ$1137</c:f>
              <c:numCache>
                <c:formatCode>0</c:formatCode>
                <c:ptCount val="1135"/>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320.22627222790391</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327.73110998308101</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353.38815353065985</c:v>
                </c:pt>
                <c:pt idx="28">
                  <c:v>321.99861002954611</c:v>
                </c:pt>
                <c:pt idx="29">
                  <c:v>320.95747258053484</c:v>
                </c:pt>
                <c:pt idx="30">
                  <c:v>327.66673615498394</c:v>
                </c:pt>
                <c:pt idx="31">
                  <c:v>313.46570329571915</c:v>
                </c:pt>
                <c:pt idx="32">
                  <c:v>319.77386497872101</c:v>
                </c:pt>
                <c:pt idx="33">
                  <c:v>328.82618267854872</c:v>
                </c:pt>
                <c:pt idx="34">
                  <c:v>348.10495342262442</c:v>
                </c:pt>
                <c:pt idx="35">
                  <c:v>341.28146249310817</c:v>
                </c:pt>
                <c:pt idx="36">
                  <c:v>331.3983381867933</c:v>
                </c:pt>
                <c:pt idx="37">
                  <c:v>322.0289674859049</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332.90284188019041</c:v>
                </c:pt>
                <c:pt idx="51">
                  <c:v>335.52875809093149</c:v>
                </c:pt>
                <c:pt idx="52">
                  <c:v>334.58874258599309</c:v>
                </c:pt>
                <c:pt idx="53">
                  <c:v>318.02931924876447</c:v>
                </c:pt>
                <c:pt idx="54">
                  <c:v>317.42375919289793</c:v>
                </c:pt>
                <c:pt idx="55">
                  <c:v>320.25120076963969</c:v>
                </c:pt>
                <c:pt idx="56">
                  <c:v>313.35240736514118</c:v>
                </c:pt>
                <c:pt idx="57">
                  <c:v>328.8608730893763</c:v>
                </c:pt>
                <c:pt idx="58">
                  <c:v>325.68842389334611</c:v>
                </c:pt>
                <c:pt idx="59">
                  <c:v>328.00983483047673</c:v>
                </c:pt>
                <c:pt idx="60">
                  <c:v>304.78893267734338</c:v>
                </c:pt>
                <c:pt idx="61">
                  <c:v>317.7817483222637</c:v>
                </c:pt>
                <c:pt idx="62">
                  <c:v>320.3107889527152</c:v>
                </c:pt>
                <c:pt idx="63">
                  <c:v>314.07674731811966</c:v>
                </c:pt>
                <c:pt idx="64">
                  <c:v>309.10775694536147</c:v>
                </c:pt>
                <c:pt idx="65">
                  <c:v>317.66522659276092</c:v>
                </c:pt>
                <c:pt idx="66">
                  <c:v>316.1875597670886</c:v>
                </c:pt>
                <c:pt idx="67">
                  <c:v>328.3129893324504</c:v>
                </c:pt>
                <c:pt idx="68">
                  <c:v>337.06732556173142</c:v>
                </c:pt>
                <c:pt idx="69">
                  <c:v>338.74328092915368</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349.31556995306283</c:v>
                </c:pt>
                <c:pt idx="116">
                  <c:v>322.34680747192402</c:v>
                </c:pt>
                <c:pt idx="117">
                  <c:v>328.60453751817124</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704.82408268098902</c:v>
                </c:pt>
                <c:pt idx="145">
                  <c:v>3293.1266070691199</c:v>
                </c:pt>
                <c:pt idx="149">
                  <c:v>708.14507490127403</c:v>
                </c:pt>
                <c:pt idx="150">
                  <c:v>498.06724427458897</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341.48506096046799</c:v>
                </c:pt>
                <c:pt idx="160">
                  <c:v>346.40747457987698</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336.95154947493199</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340.98608478616097</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339.39163349474001</c:v>
                </c:pt>
                <c:pt idx="218">
                  <c:v>327.29307991113097</c:v>
                </c:pt>
                <c:pt idx="219">
                  <c:v>357.173656061884</c:v>
                </c:pt>
                <c:pt idx="220">
                  <c:v>312.42925506017798</c:v>
                </c:pt>
                <c:pt idx="221">
                  <c:v>318.19970673388701</c:v>
                </c:pt>
                <c:pt idx="222">
                  <c:v>323.57573683888899</c:v>
                </c:pt>
                <c:pt idx="223">
                  <c:v>315.55895851083602</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346.869065644903</c:v>
                </c:pt>
                <c:pt idx="233">
                  <c:v>331.85880609668902</c:v>
                </c:pt>
                <c:pt idx="234">
                  <c:v>321.76254188779097</c:v>
                </c:pt>
                <c:pt idx="235">
                  <c:v>354.22415309327499</c:v>
                </c:pt>
                <c:pt idx="236">
                  <c:v>342.54850082921701</c:v>
                </c:pt>
                <c:pt idx="237">
                  <c:v>330.08522026962299</c:v>
                </c:pt>
                <c:pt idx="238">
                  <c:v>325.74425234078802</c:v>
                </c:pt>
                <c:pt idx="239">
                  <c:v>338.60152162625798</c:v>
                </c:pt>
                <c:pt idx="240">
                  <c:v>369.86289738117603</c:v>
                </c:pt>
                <c:pt idx="241">
                  <c:v>374.497493299572</c:v>
                </c:pt>
                <c:pt idx="242">
                  <c:v>362.04070426256698</c:v>
                </c:pt>
                <c:pt idx="243">
                  <c:v>362.776355234373</c:v>
                </c:pt>
                <c:pt idx="244">
                  <c:v>365.10704820643099</c:v>
                </c:pt>
                <c:pt idx="245">
                  <c:v>421.56297591179498</c:v>
                </c:pt>
                <c:pt idx="246">
                  <c:v>419.37320932385302</c:v>
                </c:pt>
                <c:pt idx="247">
                  <c:v>435.05910903021902</c:v>
                </c:pt>
                <c:pt idx="248">
                  <c:v>391.14175188551002</c:v>
                </c:pt>
                <c:pt idx="249">
                  <c:v>385.95309696167197</c:v>
                </c:pt>
                <c:pt idx="250">
                  <c:v>385.03601752360697</c:v>
                </c:pt>
                <c:pt idx="251">
                  <c:v>375.25896736175099</c:v>
                </c:pt>
                <c:pt idx="252">
                  <c:v>360.390360058738</c:v>
                </c:pt>
                <c:pt idx="253">
                  <c:v>364.68058703493898</c:v>
                </c:pt>
                <c:pt idx="254">
                  <c:v>349.28731702461903</c:v>
                </c:pt>
                <c:pt idx="255">
                  <c:v>359.32329715198699</c:v>
                </c:pt>
                <c:pt idx="256">
                  <c:v>321.38215214328198</c:v>
                </c:pt>
                <c:pt idx="257">
                  <c:v>314.81158570599098</c:v>
                </c:pt>
                <c:pt idx="258">
                  <c:v>351.80198103419201</c:v>
                </c:pt>
                <c:pt idx="259">
                  <c:v>473.16824585154802</c:v>
                </c:pt>
                <c:pt idx="260">
                  <c:v>484.49553178660898</c:v>
                </c:pt>
                <c:pt idx="261">
                  <c:v>376.65248520298098</c:v>
                </c:pt>
                <c:pt idx="262">
                  <c:v>354.30427381673701</c:v>
                </c:pt>
                <c:pt idx="263">
                  <c:v>360.58366318272601</c:v>
                </c:pt>
                <c:pt idx="264">
                  <c:v>341.84967443437898</c:v>
                </c:pt>
                <c:pt idx="265">
                  <c:v>346.65324472884498</c:v>
                </c:pt>
                <c:pt idx="266">
                  <c:v>347.22410243016998</c:v>
                </c:pt>
                <c:pt idx="267">
                  <c:v>385.28038821798901</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355.27677014739697</c:v>
                </c:pt>
                <c:pt idx="294">
                  <c:v>350.420980002492</c:v>
                </c:pt>
                <c:pt idx="295">
                  <c:v>340.49514659784103</c:v>
                </c:pt>
                <c:pt idx="296">
                  <c:v>339.93567129670799</c:v>
                </c:pt>
                <c:pt idx="297">
                  <c:v>341.97971700350098</c:v>
                </c:pt>
                <c:pt idx="298">
                  <c:v>342.58145664481799</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392.06318297830097</c:v>
                </c:pt>
                <c:pt idx="336">
                  <c:v>343.77895889730001</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333.12707547053299</c:v>
                </c:pt>
                <c:pt idx="357">
                  <c:v>321.58453554188799</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formatCode="General">
                  <c:v>330.375167010106</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311.46844598658402</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337.13218234211899</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345.528500432952</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301.883458266861</c:v>
                </c:pt>
                <c:pt idx="456">
                  <c:v>306.46632943287102</c:v>
                </c:pt>
                <c:pt idx="457">
                  <c:v>314.48239256563397</c:v>
                </c:pt>
                <c:pt idx="458">
                  <c:v>311.48692196015702</c:v>
                </c:pt>
                <c:pt idx="459">
                  <c:v>307.04196447501602</c:v>
                </c:pt>
                <c:pt idx="460">
                  <c:v>306.96544039396298</c:v>
                </c:pt>
                <c:pt idx="461">
                  <c:v>304.15757241272001</c:v>
                </c:pt>
                <c:pt idx="462">
                  <c:v>258.95672483594097</c:v>
                </c:pt>
                <c:pt idx="463">
                  <c:v>260.23618212396502</c:v>
                </c:pt>
                <c:pt idx="464">
                  <c:v>310.454165951449</c:v>
                </c:pt>
                <c:pt idx="465">
                  <c:v>311.52208531027202</c:v>
                </c:pt>
                <c:pt idx="466">
                  <c:v>322.19591128932899</c:v>
                </c:pt>
                <c:pt idx="467">
                  <c:v>412.82721945799</c:v>
                </c:pt>
                <c:pt idx="468">
                  <c:v>609.38380791153497</c:v>
                </c:pt>
                <c:pt idx="469">
                  <c:v>347.82884289336999</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8">
                  <c:v>539.70220978651901</c:v>
                </c:pt>
                <c:pt idx="499">
                  <c:v>315.49397526620697</c:v>
                </c:pt>
                <c:pt idx="500">
                  <c:v>312.07996479633601</c:v>
                </c:pt>
                <c:pt idx="501">
                  <c:v>319.97306717480399</c:v>
                </c:pt>
                <c:pt idx="502">
                  <c:v>321.439479877633</c:v>
                </c:pt>
                <c:pt idx="503">
                  <c:v>324.17536956196301</c:v>
                </c:pt>
                <c:pt idx="504">
                  <c:v>330.90906156137299</c:v>
                </c:pt>
                <c:pt idx="505">
                  <c:v>323.59973608442698</c:v>
                </c:pt>
                <c:pt idx="506">
                  <c:v>400.52931078400701</c:v>
                </c:pt>
                <c:pt idx="507">
                  <c:v>328.79389443008603</c:v>
                </c:pt>
                <c:pt idx="508">
                  <c:v>326.99348832417002</c:v>
                </c:pt>
                <c:pt idx="509">
                  <c:v>317.78521970650098</c:v>
                </c:pt>
                <c:pt idx="510">
                  <c:v>317.50748363236698</c:v>
                </c:pt>
                <c:pt idx="511">
                  <c:v>318.457762005706</c:v>
                </c:pt>
                <c:pt idx="512">
                  <c:v>319.10751635077202</c:v>
                </c:pt>
                <c:pt idx="513">
                  <c:v>309.61478917023197</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308.33318559646801</c:v>
                </c:pt>
                <c:pt idx="523">
                  <c:v>309.93127246608998</c:v>
                </c:pt>
                <c:pt idx="524">
                  <c:v>309.71001228537398</c:v>
                </c:pt>
                <c:pt idx="525">
                  <c:v>318.40501555290803</c:v>
                </c:pt>
                <c:pt idx="526">
                  <c:v>332.64397949796199</c:v>
                </c:pt>
                <c:pt idx="527">
                  <c:v>349.90620809152398</c:v>
                </c:pt>
                <c:pt idx="528">
                  <c:v>344.88001614199601</c:v>
                </c:pt>
                <c:pt idx="529">
                  <c:v>371.82995923431201</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349.97792455766898</c:v>
                </c:pt>
                <c:pt idx="571">
                  <c:v>340.10627176837698</c:v>
                </c:pt>
                <c:pt idx="572">
                  <c:v>338.900481463809</c:v>
                </c:pt>
                <c:pt idx="573">
                  <c:v>322.75720855810698</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315.64168769378102</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345.19159196177799</c:v>
                </c:pt>
                <c:pt idx="607">
                  <c:v>405.26449101922901</c:v>
                </c:pt>
                <c:pt idx="608">
                  <c:v>325.76070001360898</c:v>
                </c:pt>
                <c:pt idx="609">
                  <c:v>327.66351813619701</c:v>
                </c:pt>
                <c:pt idx="610">
                  <c:v>348.03888514141403</c:v>
                </c:pt>
                <c:pt idx="611">
                  <c:v>355.35273207570299</c:v>
                </c:pt>
                <c:pt idx="612">
                  <c:v>360.248403459359</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3">
                  <c:v>480.37554908220397</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380.89927233364102</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328.80482800572901</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387.45453960211</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323.57713049668502</c:v>
                </c:pt>
                <c:pt idx="719">
                  <c:v>324.77705518667801</c:v>
                </c:pt>
                <c:pt idx="720">
                  <c:v>325.00218155725003</c:v>
                </c:pt>
                <c:pt idx="721">
                  <c:v>323.64730670914003</c:v>
                </c:pt>
                <c:pt idx="722">
                  <c:v>326.67519612125199</c:v>
                </c:pt>
                <c:pt idx="723">
                  <c:v>331.171647625898</c:v>
                </c:pt>
                <c:pt idx="724">
                  <c:v>383.85692345414998</c:v>
                </c:pt>
                <c:pt idx="725">
                  <c:v>776.214396611967</c:v>
                </c:pt>
                <c:pt idx="726">
                  <c:v>503.48229673947901</c:v>
                </c:pt>
                <c:pt idx="727">
                  <c:v>349.46074446929202</c:v>
                </c:pt>
                <c:pt idx="728">
                  <c:v>328.00880830653898</c:v>
                </c:pt>
                <c:pt idx="729">
                  <c:v>325.92545019233103</c:v>
                </c:pt>
                <c:pt idx="730">
                  <c:v>327.02947503205201</c:v>
                </c:pt>
                <c:pt idx="731">
                  <c:v>327.98615324554419</c:v>
                </c:pt>
                <c:pt idx="732">
                  <c:v>331.91309908129693</c:v>
                </c:pt>
                <c:pt idx="733">
                  <c:v>329.6986942958232</c:v>
                </c:pt>
                <c:pt idx="734">
                  <c:v>329.24764649261476</c:v>
                </c:pt>
                <c:pt idx="735">
                  <c:v>329.82358255706964</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473.90302123035792</c:v>
                </c:pt>
                <c:pt idx="790">
                  <c:v>342.66852826155377</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355.26915643573199</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348.94536427810925</c:v>
                </c:pt>
                <c:pt idx="822">
                  <c:v>350.83738063171626</c:v>
                </c:pt>
                <c:pt idx="823">
                  <c:v>341.92197502049447</c:v>
                </c:pt>
                <c:pt idx="824">
                  <c:v>343.38293211347377</c:v>
                </c:pt>
                <c:pt idx="825">
                  <c:v>363.58016395842861</c:v>
                </c:pt>
                <c:pt idx="826">
                  <c:v>355.25297275573467</c:v>
                </c:pt>
                <c:pt idx="827">
                  <c:v>361.94962313714211</c:v>
                </c:pt>
                <c:pt idx="828">
                  <c:v>374.27984581025544</c:v>
                </c:pt>
                <c:pt idx="829">
                  <c:v>368.69039623856355</c:v>
                </c:pt>
                <c:pt idx="830">
                  <c:v>372.28030575262954</c:v>
                </c:pt>
                <c:pt idx="831">
                  <c:v>371.95859079410673</c:v>
                </c:pt>
                <c:pt idx="832">
                  <c:v>370.44087348814605</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365.98254032217886</c:v>
                </c:pt>
                <c:pt idx="863">
                  <c:v>326.29273330156695</c:v>
                </c:pt>
                <c:pt idx="864">
                  <c:v>395.2899164046629</c:v>
                </c:pt>
                <c:pt idx="865">
                  <c:v>414.88814777455678</c:v>
                </c:pt>
                <c:pt idx="866">
                  <c:v>320.60833294332588</c:v>
                </c:pt>
                <c:pt idx="867">
                  <c:v>326.80509471935807</c:v>
                </c:pt>
                <c:pt idx="868">
                  <c:v>330.47581519905521</c:v>
                </c:pt>
                <c:pt idx="869">
                  <c:v>327.06853372497204</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333.78090297889003</c:v>
                </c:pt>
                <c:pt idx="895">
                  <c:v>333.41031652830816</c:v>
                </c:pt>
                <c:pt idx="896">
                  <c:v>326.7529679040133</c:v>
                </c:pt>
                <c:pt idx="897">
                  <c:v>334.11796074721224</c:v>
                </c:pt>
                <c:pt idx="898">
                  <c:v>344.59181760332194</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353.19861986281086</c:v>
                </c:pt>
                <c:pt idx="912">
                  <c:v>340.1854532472413</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355.51007941237225</c:v>
                </c:pt>
                <c:pt idx="930">
                  <c:v>326.87332932214554</c:v>
                </c:pt>
                <c:pt idx="931">
                  <c:v>337.72147928552641</c:v>
                </c:pt>
                <c:pt idx="932">
                  <c:v>338.93044935057816</c:v>
                </c:pt>
                <c:pt idx="933">
                  <c:v>330.64095321197073</c:v>
                </c:pt>
                <c:pt idx="934">
                  <c:v>330.63106979033455</c:v>
                </c:pt>
                <c:pt idx="935">
                  <c:v>329.33624238794351</c:v>
                </c:pt>
                <c:pt idx="936">
                  <c:v>314.61707909566741</c:v>
                </c:pt>
                <c:pt idx="937">
                  <c:v>314.61707909566741</c:v>
                </c:pt>
                <c:pt idx="938">
                  <c:v>314.61707909566741</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425.53884555956148</c:v>
                </c:pt>
                <c:pt idx="956">
                  <c:v>795.39222084912046</c:v>
                </c:pt>
                <c:pt idx="957">
                  <c:v>656.68215345676424</c:v>
                </c:pt>
                <c:pt idx="958">
                  <c:v>409.33789222248492</c:v>
                </c:pt>
                <c:pt idx="959">
                  <c:v>333.93752689854387</c:v>
                </c:pt>
                <c:pt idx="960">
                  <c:v>337.87627851981443</c:v>
                </c:pt>
                <c:pt idx="961">
                  <c:v>327.78756702676435</c:v>
                </c:pt>
                <c:pt idx="962">
                  <c:v>330.32509742135778</c:v>
                </c:pt>
                <c:pt idx="963">
                  <c:v>349.89483709475655</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360.88397277898116</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345.79715514895054</c:v>
                </c:pt>
                <c:pt idx="1021">
                  <c:v>356.52261310398018</c:v>
                </c:pt>
                <c:pt idx="1022">
                  <c:v>347.84077861051901</c:v>
                </c:pt>
                <c:pt idx="1023">
                  <c:v>331.16903810579339</c:v>
                </c:pt>
                <c:pt idx="1024">
                  <c:v>335.83703901038825</c:v>
                </c:pt>
                <c:pt idx="1025">
                  <c:v>336.48519496856159</c:v>
                </c:pt>
                <c:pt idx="1026">
                  <c:v>348.24742261529042</c:v>
                </c:pt>
                <c:pt idx="1027">
                  <c:v>361.50285620174219</c:v>
                </c:pt>
                <c:pt idx="1028">
                  <c:v>378.32964523916695</c:v>
                </c:pt>
                <c:pt idx="1029">
                  <c:v>374.12804840324281</c:v>
                </c:pt>
                <c:pt idx="1030">
                  <c:v>540.57366857199781</c:v>
                </c:pt>
                <c:pt idx="1031">
                  <c:v>704.73520826378831</c:v>
                </c:pt>
                <c:pt idx="1032">
                  <c:v>361.79238092835726</c:v>
                </c:pt>
                <c:pt idx="1033">
                  <c:v>336.01052771939192</c:v>
                </c:pt>
                <c:pt idx="1034">
                  <c:v>333.51737568989569</c:v>
                </c:pt>
                <c:pt idx="1035">
                  <c:v>338.16422492104437</c:v>
                </c:pt>
                <c:pt idx="1036">
                  <c:v>350.44286895935409</c:v>
                </c:pt>
                <c:pt idx="1037">
                  <c:v>342.36819553646353</c:v>
                </c:pt>
                <c:pt idx="1038">
                  <c:v>400.95527467153158</c:v>
                </c:pt>
                <c:pt idx="1039">
                  <c:v>361.44849577341745</c:v>
                </c:pt>
                <c:pt idx="1040">
                  <c:v>387.06407833988203</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365.46750765533733</c:v>
                </c:pt>
                <c:pt idx="1055">
                  <c:v>353.04299201971264</c:v>
                </c:pt>
                <c:pt idx="1056">
                  <c:v>337.21069877279018</c:v>
                </c:pt>
                <c:pt idx="1057">
                  <c:v>331.21521874770593</c:v>
                </c:pt>
                <c:pt idx="1058">
                  <c:v>355.21684603228073</c:v>
                </c:pt>
                <c:pt idx="1059">
                  <c:v>349.82540556863262</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374.93964682002809</c:v>
                </c:pt>
                <c:pt idx="1078">
                  <c:v>350.72047525203755</c:v>
                </c:pt>
                <c:pt idx="1079">
                  <c:v>351.69506062914365</c:v>
                </c:pt>
                <c:pt idx="1080">
                  <c:v>355.27732637670118</c:v>
                </c:pt>
                <c:pt idx="1081">
                  <c:v>363.04657958196015</c:v>
                </c:pt>
                <c:pt idx="1082">
                  <c:v>365.50324513548878</c:v>
                </c:pt>
                <c:pt idx="1083">
                  <c:v>394.41894427389457</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916C-4509-AD7C-FD12A06E88E8}"/>
            </c:ext>
          </c:extLst>
        </c:ser>
        <c:dLbls>
          <c:showLegendKey val="0"/>
          <c:showVal val="0"/>
          <c:showCatName val="0"/>
          <c:showSerName val="0"/>
          <c:showPercent val="0"/>
          <c:showBubbleSize val="0"/>
        </c:dLbls>
        <c:axId val="1844349279"/>
        <c:axId val="1844348447"/>
      </c:scatterChart>
      <c:valAx>
        <c:axId val="1844349279"/>
        <c:scaling>
          <c:orientation val="minMax"/>
          <c:max val="47.5"/>
          <c:min val="43.5"/>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4348447"/>
        <c:crosses val="autoZero"/>
        <c:crossBetween val="midCat"/>
      </c:valAx>
      <c:valAx>
        <c:axId val="1844348447"/>
        <c:scaling>
          <c:orientation val="minMax"/>
          <c:max val="350"/>
          <c:min val="3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4349279"/>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0" i="0" baseline="0">
                <a:effectLst/>
              </a:rPr>
              <a:t>Coke (kg) v/s Hot Metal Production tons/day</a:t>
            </a:r>
            <a:endParaRPr lang="en-US">
              <a:effectLst/>
            </a:endParaRPr>
          </a:p>
        </c:rich>
      </c:tx>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2!$D$3:$D$1098</c:f>
              <c:numCache>
                <c:formatCode>0</c:formatCode>
                <c:ptCount val="1096"/>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Sheet2!$F$3:$F$1098</c:f>
              <c:numCache>
                <c:formatCode>General</c:formatCode>
                <c:ptCount val="1096"/>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N/A</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N/A</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N/A</c:v>
                </c:pt>
                <c:pt idx="28">
                  <c:v>321.99861002954611</c:v>
                </c:pt>
                <c:pt idx="29">
                  <c:v>320.95747258053484</c:v>
                </c:pt>
                <c:pt idx="30">
                  <c:v>327.66673615498394</c:v>
                </c:pt>
                <c:pt idx="31">
                  <c:v>313.46570329571915</c:v>
                </c:pt>
                <c:pt idx="32">
                  <c:v>#N/A</c:v>
                </c:pt>
                <c:pt idx="33">
                  <c:v>328.82618267854872</c:v>
                </c:pt>
                <c:pt idx="34">
                  <c:v>348.10495342262442</c:v>
                </c:pt>
                <c:pt idx="35">
                  <c:v>341.28146249310817</c:v>
                </c:pt>
                <c:pt idx="36">
                  <c:v>331.3983381867933</c:v>
                </c:pt>
                <c:pt idx="37">
                  <c:v>#N/A</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N/A</c:v>
                </c:pt>
                <c:pt idx="51">
                  <c:v>335.52875809093149</c:v>
                </c:pt>
                <c:pt idx="52">
                  <c:v>334.58874258599309</c:v>
                </c:pt>
                <c:pt idx="53">
                  <c:v>318.02931924876447</c:v>
                </c:pt>
                <c:pt idx="54">
                  <c:v>#N/A</c:v>
                </c:pt>
                <c:pt idx="55">
                  <c:v>320.25120076963969</c:v>
                </c:pt>
                <c:pt idx="56">
                  <c:v>313.35240736514118</c:v>
                </c:pt>
                <c:pt idx="57">
                  <c:v>328.8608730893763</c:v>
                </c:pt>
                <c:pt idx="58">
                  <c:v>325.68842389334611</c:v>
                </c:pt>
                <c:pt idx="59">
                  <c:v>328.00983483047673</c:v>
                </c:pt>
                <c:pt idx="60">
                  <c:v>#N/A</c:v>
                </c:pt>
                <c:pt idx="61">
                  <c:v>317.7817483222637</c:v>
                </c:pt>
                <c:pt idx="62">
                  <c:v>320.3107889527152</c:v>
                </c:pt>
                <c:pt idx="63">
                  <c:v>314.07674731811966</c:v>
                </c:pt>
                <c:pt idx="64">
                  <c:v>309.10775694536147</c:v>
                </c:pt>
                <c:pt idx="65">
                  <c:v>317.66522659276092</c:v>
                </c:pt>
                <c:pt idx="66">
                  <c:v>316.1875597670886</c:v>
                </c:pt>
                <c:pt idx="67">
                  <c:v>328.3129893324504</c:v>
                </c:pt>
                <c:pt idx="68">
                  <c:v>#N/A</c:v>
                </c:pt>
                <c:pt idx="69">
                  <c:v>#N/A</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N/A</c:v>
                </c:pt>
                <c:pt idx="116">
                  <c:v>322.34680747192402</c:v>
                </c:pt>
                <c:pt idx="117">
                  <c:v>#N/A</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N/A</c:v>
                </c:pt>
                <c:pt idx="145">
                  <c:v>#N/A</c:v>
                </c:pt>
                <c:pt idx="146">
                  <c:v>#N/A</c:v>
                </c:pt>
                <c:pt idx="147">
                  <c:v>#N/A</c:v>
                </c:pt>
                <c:pt idx="148">
                  <c:v>#N/A</c:v>
                </c:pt>
                <c:pt idx="149">
                  <c:v>#N/A</c:v>
                </c:pt>
                <c:pt idx="150">
                  <c:v>#N/A</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N/A</c:v>
                </c:pt>
                <c:pt idx="160">
                  <c:v>#N/A</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N/A</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N/A</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N/A</c:v>
                </c:pt>
                <c:pt idx="218">
                  <c:v>327.29307991113097</c:v>
                </c:pt>
                <c:pt idx="219">
                  <c:v>#N/A</c:v>
                </c:pt>
                <c:pt idx="220">
                  <c:v>312.42925506017798</c:v>
                </c:pt>
                <c:pt idx="221">
                  <c:v>318.19970673388701</c:v>
                </c:pt>
                <c:pt idx="222">
                  <c:v>323.57573683888899</c:v>
                </c:pt>
                <c:pt idx="223">
                  <c:v>#N/A</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N/A</c:v>
                </c:pt>
                <c:pt idx="233">
                  <c:v>331.85880609668902</c:v>
                </c:pt>
                <c:pt idx="234">
                  <c:v>321.76254188779097</c:v>
                </c:pt>
                <c:pt idx="235">
                  <c:v>#N/A</c:v>
                </c:pt>
                <c:pt idx="236">
                  <c:v>#N/A</c:v>
                </c:pt>
                <c:pt idx="237">
                  <c:v>330.08522026962299</c:v>
                </c:pt>
                <c:pt idx="238">
                  <c:v>325.74425234078802</c:v>
                </c:pt>
                <c:pt idx="239">
                  <c:v>338.60152162625798</c:v>
                </c:pt>
                <c:pt idx="240">
                  <c:v>#N/A</c:v>
                </c:pt>
                <c:pt idx="241">
                  <c:v>#N/A</c:v>
                </c:pt>
                <c:pt idx="242">
                  <c:v>362.04070426256698</c:v>
                </c:pt>
                <c:pt idx="243">
                  <c:v>362.776355234373</c:v>
                </c:pt>
                <c:pt idx="244">
                  <c:v>365.10704820643099</c:v>
                </c:pt>
                <c:pt idx="245">
                  <c:v>421.56297591179498</c:v>
                </c:pt>
                <c:pt idx="246">
                  <c:v>419.37320932385302</c:v>
                </c:pt>
                <c:pt idx="247">
                  <c:v>435.05910903021902</c:v>
                </c:pt>
                <c:pt idx="248">
                  <c:v>#N/A</c:v>
                </c:pt>
                <c:pt idx="249">
                  <c:v>385.95309696167197</c:v>
                </c:pt>
                <c:pt idx="250">
                  <c:v>385.03601752360697</c:v>
                </c:pt>
                <c:pt idx="251">
                  <c:v>375.25896736175099</c:v>
                </c:pt>
                <c:pt idx="252">
                  <c:v>360.390360058738</c:v>
                </c:pt>
                <c:pt idx="253">
                  <c:v>364.68058703493898</c:v>
                </c:pt>
                <c:pt idx="254">
                  <c:v>349.28731702461903</c:v>
                </c:pt>
                <c:pt idx="255">
                  <c:v>359.32329715198699</c:v>
                </c:pt>
                <c:pt idx="256">
                  <c:v>#N/A</c:v>
                </c:pt>
                <c:pt idx="257">
                  <c:v>314.81158570599098</c:v>
                </c:pt>
                <c:pt idx="258">
                  <c:v>351.80198103419201</c:v>
                </c:pt>
                <c:pt idx="259">
                  <c:v>473.16824585154802</c:v>
                </c:pt>
                <c:pt idx="260">
                  <c:v>#N/A</c:v>
                </c:pt>
                <c:pt idx="261">
                  <c:v>#N/A</c:v>
                </c:pt>
                <c:pt idx="262">
                  <c:v>354.30427381673701</c:v>
                </c:pt>
                <c:pt idx="263">
                  <c:v>360.58366318272601</c:v>
                </c:pt>
                <c:pt idx="264">
                  <c:v>341.84967443437898</c:v>
                </c:pt>
                <c:pt idx="265">
                  <c:v>346.65324472884498</c:v>
                </c:pt>
                <c:pt idx="266">
                  <c:v>347.22410243016998</c:v>
                </c:pt>
                <c:pt idx="267">
                  <c:v>#N/A</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N/A</c:v>
                </c:pt>
                <c:pt idx="294">
                  <c:v>#N/A</c:v>
                </c:pt>
                <c:pt idx="295">
                  <c:v>340.49514659784103</c:v>
                </c:pt>
                <c:pt idx="296">
                  <c:v>339.93567129670799</c:v>
                </c:pt>
                <c:pt idx="297">
                  <c:v>341.97971700350098</c:v>
                </c:pt>
                <c:pt idx="298">
                  <c:v>#N/A</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N/A</c:v>
                </c:pt>
                <c:pt idx="336">
                  <c:v>#N/A</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N/A</c:v>
                </c:pt>
                <c:pt idx="357">
                  <c:v>#N/A</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c:v>#N/A</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N/A</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N/A</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N/A</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N/A</c:v>
                </c:pt>
                <c:pt idx="456">
                  <c:v>#N/A</c:v>
                </c:pt>
                <c:pt idx="457">
                  <c:v>314.48239256563397</c:v>
                </c:pt>
                <c:pt idx="458">
                  <c:v>311.48692196015702</c:v>
                </c:pt>
                <c:pt idx="459">
                  <c:v>#N/A</c:v>
                </c:pt>
                <c:pt idx="460">
                  <c:v>#N/A</c:v>
                </c:pt>
                <c:pt idx="461">
                  <c:v>#N/A</c:v>
                </c:pt>
                <c:pt idx="462">
                  <c:v>#N/A</c:v>
                </c:pt>
                <c:pt idx="463">
                  <c:v>#N/A</c:v>
                </c:pt>
                <c:pt idx="464">
                  <c:v>310.454165951449</c:v>
                </c:pt>
                <c:pt idx="465">
                  <c:v>311.52208531027202</c:v>
                </c:pt>
                <c:pt idx="466">
                  <c:v>322.19591128932899</c:v>
                </c:pt>
                <c:pt idx="467">
                  <c:v>412.82721945799</c:v>
                </c:pt>
                <c:pt idx="468">
                  <c:v>609.38380791153497</c:v>
                </c:pt>
                <c:pt idx="469">
                  <c:v>#N/A</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7">
                  <c:v>#N/A</c:v>
                </c:pt>
                <c:pt idx="498">
                  <c:v>#N/A</c:v>
                </c:pt>
                <c:pt idx="499">
                  <c:v>#N/A</c:v>
                </c:pt>
                <c:pt idx="500">
                  <c:v>312.07996479633601</c:v>
                </c:pt>
                <c:pt idx="501">
                  <c:v>319.97306717480399</c:v>
                </c:pt>
                <c:pt idx="502">
                  <c:v>321.439479877633</c:v>
                </c:pt>
                <c:pt idx="503">
                  <c:v>324.17536956196301</c:v>
                </c:pt>
                <c:pt idx="504">
                  <c:v>330.90906156137299</c:v>
                </c:pt>
                <c:pt idx="505">
                  <c:v>323.59973608442698</c:v>
                </c:pt>
                <c:pt idx="506">
                  <c:v>#N/A</c:v>
                </c:pt>
                <c:pt idx="507">
                  <c:v>328.79389443008603</c:v>
                </c:pt>
                <c:pt idx="508">
                  <c:v>326.99348832417002</c:v>
                </c:pt>
                <c:pt idx="509">
                  <c:v>317.78521970650098</c:v>
                </c:pt>
                <c:pt idx="510">
                  <c:v>317.50748363236698</c:v>
                </c:pt>
                <c:pt idx="511">
                  <c:v>318.457762005706</c:v>
                </c:pt>
                <c:pt idx="512">
                  <c:v>319.10751635077202</c:v>
                </c:pt>
                <c:pt idx="513">
                  <c:v>#N/A</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N/A</c:v>
                </c:pt>
                <c:pt idx="523">
                  <c:v>#N/A</c:v>
                </c:pt>
                <c:pt idx="524">
                  <c:v>#N/A</c:v>
                </c:pt>
                <c:pt idx="525">
                  <c:v>318.40501555290803</c:v>
                </c:pt>
                <c:pt idx="526">
                  <c:v>332.64397949796199</c:v>
                </c:pt>
                <c:pt idx="527">
                  <c:v>349.90620809152398</c:v>
                </c:pt>
                <c:pt idx="528">
                  <c:v>344.88001614199601</c:v>
                </c:pt>
                <c:pt idx="529">
                  <c:v>#N/A</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N/A</c:v>
                </c:pt>
                <c:pt idx="571">
                  <c:v>#N/A</c:v>
                </c:pt>
                <c:pt idx="572">
                  <c:v>#N/A</c:v>
                </c:pt>
                <c:pt idx="573">
                  <c:v>#N/A</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N/A</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N/A</c:v>
                </c:pt>
                <c:pt idx="607">
                  <c:v>#N/A</c:v>
                </c:pt>
                <c:pt idx="608">
                  <c:v>325.76070001360898</c:v>
                </c:pt>
                <c:pt idx="609">
                  <c:v>327.66351813619701</c:v>
                </c:pt>
                <c:pt idx="610">
                  <c:v>348.03888514141403</c:v>
                </c:pt>
                <c:pt idx="611">
                  <c:v>#N/A</c:v>
                </c:pt>
                <c:pt idx="612">
                  <c:v>#N/A</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2">
                  <c:v>#N/A</c:v>
                </c:pt>
                <c:pt idx="643">
                  <c:v>#N/A</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N/A</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N/A</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N/A</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N/A</c:v>
                </c:pt>
                <c:pt idx="719">
                  <c:v>324.77705518667801</c:v>
                </c:pt>
                <c:pt idx="720">
                  <c:v>325.00218155725003</c:v>
                </c:pt>
                <c:pt idx="721">
                  <c:v>323.64730670914003</c:v>
                </c:pt>
                <c:pt idx="722">
                  <c:v>326.67519612125199</c:v>
                </c:pt>
                <c:pt idx="723">
                  <c:v>331.171647625898</c:v>
                </c:pt>
                <c:pt idx="724">
                  <c:v>383.85692345414998</c:v>
                </c:pt>
                <c:pt idx="725">
                  <c:v>#N/A</c:v>
                </c:pt>
                <c:pt idx="726">
                  <c:v>#N/A</c:v>
                </c:pt>
                <c:pt idx="727">
                  <c:v>#N/A</c:v>
                </c:pt>
                <c:pt idx="728">
                  <c:v>328.00880830653898</c:v>
                </c:pt>
                <c:pt idx="729">
                  <c:v>325.92545019233103</c:v>
                </c:pt>
                <c:pt idx="730">
                  <c:v>327.02947503205201</c:v>
                </c:pt>
                <c:pt idx="731">
                  <c:v>327.98615324554419</c:v>
                </c:pt>
                <c:pt idx="732">
                  <c:v>331.91309908129693</c:v>
                </c:pt>
                <c:pt idx="733">
                  <c:v>329.6986942958232</c:v>
                </c:pt>
                <c:pt idx="734">
                  <c:v>329.24764649261476</c:v>
                </c:pt>
                <c:pt idx="735">
                  <c:v>#N/A</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N/A</c:v>
                </c:pt>
                <c:pt idx="790">
                  <c:v>#N/A</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N/A</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N/A</c:v>
                </c:pt>
                <c:pt idx="822">
                  <c:v>#N/A</c:v>
                </c:pt>
                <c:pt idx="823">
                  <c:v>341.92197502049447</c:v>
                </c:pt>
                <c:pt idx="824">
                  <c:v>343.38293211347377</c:v>
                </c:pt>
                <c:pt idx="825">
                  <c:v>363.58016395842861</c:v>
                </c:pt>
                <c:pt idx="826">
                  <c:v>355.25297275573467</c:v>
                </c:pt>
                <c:pt idx="827">
                  <c:v>361.94962313714211</c:v>
                </c:pt>
                <c:pt idx="828">
                  <c:v>#N/A</c:v>
                </c:pt>
                <c:pt idx="829">
                  <c:v>368.69039623856355</c:v>
                </c:pt>
                <c:pt idx="830">
                  <c:v>372.28030575262954</c:v>
                </c:pt>
                <c:pt idx="831">
                  <c:v>371.95859079410673</c:v>
                </c:pt>
                <c:pt idx="832">
                  <c:v>#N/A</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N/A</c:v>
                </c:pt>
                <c:pt idx="863">
                  <c:v>326.29273330156695</c:v>
                </c:pt>
                <c:pt idx="864">
                  <c:v>395.2899164046629</c:v>
                </c:pt>
                <c:pt idx="865">
                  <c:v>414.88814777455678</c:v>
                </c:pt>
                <c:pt idx="866">
                  <c:v>320.60833294332588</c:v>
                </c:pt>
                <c:pt idx="867">
                  <c:v>326.80509471935807</c:v>
                </c:pt>
                <c:pt idx="868">
                  <c:v>330.47581519905521</c:v>
                </c:pt>
                <c:pt idx="869">
                  <c:v>#N/A</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N/A</c:v>
                </c:pt>
                <c:pt idx="895">
                  <c:v>333.41031652830816</c:v>
                </c:pt>
                <c:pt idx="896">
                  <c:v>326.7529679040133</c:v>
                </c:pt>
                <c:pt idx="897">
                  <c:v>334.11796074721224</c:v>
                </c:pt>
                <c:pt idx="898">
                  <c:v>#N/A</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N/A</c:v>
                </c:pt>
                <c:pt idx="912">
                  <c:v>#N/A</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N/A</c:v>
                </c:pt>
                <c:pt idx="930">
                  <c:v>326.87332932214554</c:v>
                </c:pt>
                <c:pt idx="931">
                  <c:v>337.72147928552641</c:v>
                </c:pt>
                <c:pt idx="932">
                  <c:v>338.93044935057816</c:v>
                </c:pt>
                <c:pt idx="933">
                  <c:v>330.64095321197073</c:v>
                </c:pt>
                <c:pt idx="934">
                  <c:v>330.63106979033455</c:v>
                </c:pt>
                <c:pt idx="935">
                  <c:v>329.33624238794351</c:v>
                </c:pt>
                <c:pt idx="936">
                  <c:v>#N/A</c:v>
                </c:pt>
                <c:pt idx="937">
                  <c:v>#N/A</c:v>
                </c:pt>
                <c:pt idx="938">
                  <c:v>#N/A</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N/A</c:v>
                </c:pt>
                <c:pt idx="956">
                  <c:v>#N/A</c:v>
                </c:pt>
                <c:pt idx="957">
                  <c:v>656.68215345676424</c:v>
                </c:pt>
                <c:pt idx="958">
                  <c:v>#N/A</c:v>
                </c:pt>
                <c:pt idx="959">
                  <c:v>333.93752689854387</c:v>
                </c:pt>
                <c:pt idx="960">
                  <c:v>#N/A</c:v>
                </c:pt>
                <c:pt idx="961">
                  <c:v>327.78756702676435</c:v>
                </c:pt>
                <c:pt idx="962">
                  <c:v>#N/A</c:v>
                </c:pt>
                <c:pt idx="963">
                  <c:v>#N/A</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N/A</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N/A</c:v>
                </c:pt>
                <c:pt idx="1021">
                  <c:v>#N/A</c:v>
                </c:pt>
                <c:pt idx="1022">
                  <c:v>#N/A</c:v>
                </c:pt>
                <c:pt idx="1023">
                  <c:v>331.16903810579339</c:v>
                </c:pt>
                <c:pt idx="1024">
                  <c:v>335.83703901038825</c:v>
                </c:pt>
                <c:pt idx="1025">
                  <c:v>336.48519496856159</c:v>
                </c:pt>
                <c:pt idx="1026">
                  <c:v>348.24742261529042</c:v>
                </c:pt>
                <c:pt idx="1027">
                  <c:v>361.50285620174219</c:v>
                </c:pt>
                <c:pt idx="1028">
                  <c:v>#N/A</c:v>
                </c:pt>
                <c:pt idx="1029">
                  <c:v>374.12804840324281</c:v>
                </c:pt>
                <c:pt idx="1030">
                  <c:v>540.57366857199781</c:v>
                </c:pt>
                <c:pt idx="1031">
                  <c:v>#N/A</c:v>
                </c:pt>
                <c:pt idx="1032">
                  <c:v>361.79238092835726</c:v>
                </c:pt>
                <c:pt idx="1033">
                  <c:v>336.01052771939192</c:v>
                </c:pt>
                <c:pt idx="1034">
                  <c:v>333.51737568989569</c:v>
                </c:pt>
                <c:pt idx="1035">
                  <c:v>338.16422492104437</c:v>
                </c:pt>
                <c:pt idx="1036">
                  <c:v>350.44286895935409</c:v>
                </c:pt>
                <c:pt idx="1037">
                  <c:v>#N/A</c:v>
                </c:pt>
                <c:pt idx="1038">
                  <c:v>#N/A</c:v>
                </c:pt>
                <c:pt idx="1039">
                  <c:v>#N/A</c:v>
                </c:pt>
                <c:pt idx="1040">
                  <c:v>#N/A</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N/A</c:v>
                </c:pt>
                <c:pt idx="1055">
                  <c:v>353.04299201971264</c:v>
                </c:pt>
                <c:pt idx="1056">
                  <c:v>337.21069877279018</c:v>
                </c:pt>
                <c:pt idx="1057">
                  <c:v>331.21521874770593</c:v>
                </c:pt>
                <c:pt idx="1058">
                  <c:v>#N/A</c:v>
                </c:pt>
                <c:pt idx="1059">
                  <c:v>#N/A</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N/A</c:v>
                </c:pt>
                <c:pt idx="1078">
                  <c:v>350.72047525203755</c:v>
                </c:pt>
                <c:pt idx="1079">
                  <c:v>351.69506062914365</c:v>
                </c:pt>
                <c:pt idx="1080">
                  <c:v>#N/A</c:v>
                </c:pt>
                <c:pt idx="1081">
                  <c:v>#N/A</c:v>
                </c:pt>
                <c:pt idx="1082">
                  <c:v>#N/A</c:v>
                </c:pt>
                <c:pt idx="1083">
                  <c:v>#N/A</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D0FE-4244-8AC7-207473661B6C}"/>
            </c:ext>
          </c:extLst>
        </c:ser>
        <c:dLbls>
          <c:showLegendKey val="0"/>
          <c:showVal val="0"/>
          <c:showCatName val="0"/>
          <c:showSerName val="0"/>
          <c:showPercent val="0"/>
          <c:showBubbleSize val="0"/>
        </c:dLbls>
        <c:axId val="1271908127"/>
        <c:axId val="1271904383"/>
      </c:scatterChart>
      <c:valAx>
        <c:axId val="1271908127"/>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4383"/>
        <c:crosses val="autoZero"/>
        <c:crossBetween val="midCat"/>
      </c:valAx>
      <c:valAx>
        <c:axId val="1271904383"/>
        <c:scaling>
          <c:orientation val="minMax"/>
          <c:max val="360"/>
          <c:min val="2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8127"/>
        <c:crosses val="autoZero"/>
        <c:crossBetween val="midCat"/>
      </c:valAx>
      <c:spPr>
        <a:noFill/>
        <a:ln>
          <a:noFill/>
        </a:ln>
        <a:effectLst/>
      </c:spPr>
    </c:plotArea>
    <c:plotVisOnly val="1"/>
    <c:dispBlanksAs val="gap"/>
    <c:showDLblsOverMax val="0"/>
  </c:chart>
  <c:spPr>
    <a:noFill/>
    <a:ln w="19050">
      <a:solidFill>
        <a:schemeClr val="tx2"/>
      </a:solid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Coke (kg) v/s ETA CO</a:t>
            </a:r>
            <a:endParaRPr lang="en-US">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2!$H$1</c:f>
              <c:strCache>
                <c:ptCount val="1"/>
                <c:pt idx="0">
                  <c:v>coke for eta co</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2!$A$2:$A$1131</c:f>
              <c:numCache>
                <c:formatCode>General</c:formatCode>
                <c:ptCount val="1130"/>
                <c:pt idx="1">
                  <c:v>#N/A</c:v>
                </c:pt>
                <c:pt idx="2">
                  <c:v>#N/A</c:v>
                </c:pt>
                <c:pt idx="3">
                  <c:v>0.519213141325092</c:v>
                </c:pt>
                <c:pt idx="4">
                  <c:v>0.50730858408022572</c:v>
                </c:pt>
                <c:pt idx="5">
                  <c:v>0.50416659520414131</c:v>
                </c:pt>
                <c:pt idx="6">
                  <c:v>0.51059923955978881</c:v>
                </c:pt>
                <c:pt idx="7">
                  <c:v>0.50914034555171117</c:v>
                </c:pt>
                <c:pt idx="8">
                  <c:v>0.51115461362300241</c:v>
                </c:pt>
                <c:pt idx="9">
                  <c:v>0.50491303077040672</c:v>
                </c:pt>
                <c:pt idx="10">
                  <c:v>0.51703197429369807</c:v>
                </c:pt>
                <c:pt idx="11">
                  <c:v>0.51652745680419621</c:v>
                </c:pt>
                <c:pt idx="12">
                  <c:v>0.51055732263936937</c:v>
                </c:pt>
                <c:pt idx="13">
                  <c:v>0.50595222104700965</c:v>
                </c:pt>
                <c:pt idx="14">
                  <c:v>0.50773566238194578</c:v>
                </c:pt>
                <c:pt idx="15">
                  <c:v>0.50407606672947547</c:v>
                </c:pt>
                <c:pt idx="16">
                  <c:v>0.50677715510528698</c:v>
                </c:pt>
                <c:pt idx="17">
                  <c:v>0.50277971785589792</c:v>
                </c:pt>
                <c:pt idx="18">
                  <c:v>0.50223851350524151</c:v>
                </c:pt>
                <c:pt idx="19">
                  <c:v>0.50799838472148151</c:v>
                </c:pt>
                <c:pt idx="20">
                  <c:v>0.51163197470040711</c:v>
                </c:pt>
                <c:pt idx="21">
                  <c:v>0.50664407228033437</c:v>
                </c:pt>
                <c:pt idx="22">
                  <c:v>0.50936320108218791</c:v>
                </c:pt>
                <c:pt idx="23">
                  <c:v>0.50528599264191087</c:v>
                </c:pt>
                <c:pt idx="24">
                  <c:v>0.50285066764845843</c:v>
                </c:pt>
                <c:pt idx="25">
                  <c:v>0.50490561093921393</c:v>
                </c:pt>
                <c:pt idx="26">
                  <c:v>0.5043299298713213</c:v>
                </c:pt>
                <c:pt idx="27">
                  <c:v>0.50043511781749705</c:v>
                </c:pt>
                <c:pt idx="28">
                  <c:v>0.4995882454720259</c:v>
                </c:pt>
                <c:pt idx="29">
                  <c:v>0.50422084722571026</c:v>
                </c:pt>
                <c:pt idx="30">
                  <c:v>0.51393310684319127</c:v>
                </c:pt>
                <c:pt idx="31">
                  <c:v>0.51356718649202016</c:v>
                </c:pt>
                <c:pt idx="32">
                  <c:v>#N/A</c:v>
                </c:pt>
                <c:pt idx="33">
                  <c:v>0.51943131047074054</c:v>
                </c:pt>
                <c:pt idx="34">
                  <c:v>0.5160222559131018</c:v>
                </c:pt>
                <c:pt idx="35">
                  <c:v>0.51655008352916809</c:v>
                </c:pt>
                <c:pt idx="36">
                  <c:v>0.50828954124933823</c:v>
                </c:pt>
                <c:pt idx="37">
                  <c:v>0.50725341656633649</c:v>
                </c:pt>
                <c:pt idx="38">
                  <c:v>0.50949373455468905</c:v>
                </c:pt>
                <c:pt idx="39">
                  <c:v>0.51592892871640283</c:v>
                </c:pt>
                <c:pt idx="40">
                  <c:v>0.51990821623909611</c:v>
                </c:pt>
                <c:pt idx="41">
                  <c:v>0.51234142885665124</c:v>
                </c:pt>
                <c:pt idx="42">
                  <c:v>0.51732377134319762</c:v>
                </c:pt>
                <c:pt idx="43">
                  <c:v>0.5094435095577885</c:v>
                </c:pt>
                <c:pt idx="44">
                  <c:v>0.51549203596224447</c:v>
                </c:pt>
                <c:pt idx="45">
                  <c:v>0.51821195033945444</c:v>
                </c:pt>
                <c:pt idx="46">
                  <c:v>0.51528232239683802</c:v>
                </c:pt>
                <c:pt idx="47">
                  <c:v>0.51172579365622162</c:v>
                </c:pt>
                <c:pt idx="48">
                  <c:v>0.51143668370228823</c:v>
                </c:pt>
                <c:pt idx="49">
                  <c:v>#N/A</c:v>
                </c:pt>
                <c:pt idx="50">
                  <c:v>0.5197585133007816</c:v>
                </c:pt>
                <c:pt idx="51">
                  <c:v>0.50916219524865891</c:v>
                </c:pt>
                <c:pt idx="52">
                  <c:v>0.51129979467596509</c:v>
                </c:pt>
                <c:pt idx="53">
                  <c:v>#N/A</c:v>
                </c:pt>
                <c:pt idx="54">
                  <c:v>0.51309529193552483</c:v>
                </c:pt>
                <c:pt idx="55">
                  <c:v>0.51871709234820995</c:v>
                </c:pt>
                <c:pt idx="56">
                  <c:v>0.51252658447403909</c:v>
                </c:pt>
                <c:pt idx="57">
                  <c:v>0.51361456956032425</c:v>
                </c:pt>
                <c:pt idx="58">
                  <c:v>0.50787869976372435</c:v>
                </c:pt>
                <c:pt idx="59">
                  <c:v>0.51504770946492495</c:v>
                </c:pt>
                <c:pt idx="60">
                  <c:v>0.51390234907872456</c:v>
                </c:pt>
                <c:pt idx="61">
                  <c:v>0.51385754958464691</c:v>
                </c:pt>
                <c:pt idx="62">
                  <c:v>0.51054617475820385</c:v>
                </c:pt>
                <c:pt idx="63">
                  <c:v>0.5084377975476303</c:v>
                </c:pt>
                <c:pt idx="64">
                  <c:v>0.52002459900737963</c:v>
                </c:pt>
                <c:pt idx="65">
                  <c:v>#N/A</c:v>
                </c:pt>
                <c:pt idx="66">
                  <c:v>#N/A</c:v>
                </c:pt>
                <c:pt idx="67">
                  <c:v>0.52078013058132067</c:v>
                </c:pt>
                <c:pt idx="68">
                  <c:v>0.51143138543318822</c:v>
                </c:pt>
                <c:pt idx="69">
                  <c:v>0.51125220998327969</c:v>
                </c:pt>
                <c:pt idx="70">
                  <c:v>0.51541361719232237</c:v>
                </c:pt>
                <c:pt idx="71">
                  <c:v>0.51928027746282701</c:v>
                </c:pt>
                <c:pt idx="72">
                  <c:v>#N/A</c:v>
                </c:pt>
                <c:pt idx="73">
                  <c:v>0.51876494354151947</c:v>
                </c:pt>
                <c:pt idx="74">
                  <c:v>#N/A</c:v>
                </c:pt>
                <c:pt idx="75">
                  <c:v>0.51955549517760979</c:v>
                </c:pt>
                <c:pt idx="76">
                  <c:v>0.51594114943614344</c:v>
                </c:pt>
                <c:pt idx="77">
                  <c:v>0.5198376905432166</c:v>
                </c:pt>
                <c:pt idx="78">
                  <c:v>0.51433715794204926</c:v>
                </c:pt>
                <c:pt idx="79">
                  <c:v>0.51596146919688701</c:v>
                </c:pt>
                <c:pt idx="80">
                  <c:v>0.5177466552390565</c:v>
                </c:pt>
                <c:pt idx="81">
                  <c:v>0.51427380895778374</c:v>
                </c:pt>
                <c:pt idx="82">
                  <c:v>0.5098411040022397</c:v>
                </c:pt>
                <c:pt idx="83">
                  <c:v>0.50853073088034662</c:v>
                </c:pt>
                <c:pt idx="84">
                  <c:v>0.50899124799719531</c:v>
                </c:pt>
                <c:pt idx="85">
                  <c:v>0.51845291795783843</c:v>
                </c:pt>
                <c:pt idx="86">
                  <c:v>0.51719990708060581</c:v>
                </c:pt>
                <c:pt idx="87">
                  <c:v>0.51777380125639394</c:v>
                </c:pt>
                <c:pt idx="88">
                  <c:v>#N/A</c:v>
                </c:pt>
                <c:pt idx="89">
                  <c:v>0.51697055616128651</c:v>
                </c:pt>
                <c:pt idx="90">
                  <c:v>#N/A</c:v>
                </c:pt>
                <c:pt idx="91">
                  <c:v>#N/A</c:v>
                </c:pt>
                <c:pt idx="92">
                  <c:v>#N/A</c:v>
                </c:pt>
                <c:pt idx="93">
                  <c:v>0.51857566391598586</c:v>
                </c:pt>
                <c:pt idx="94">
                  <c:v>0.51328868615536816</c:v>
                </c:pt>
                <c:pt idx="95">
                  <c:v>0.51382384568937967</c:v>
                </c:pt>
                <c:pt idx="96">
                  <c:v>0.52039972980852156</c:v>
                </c:pt>
                <c:pt idx="97">
                  <c:v>0.51694020349956105</c:v>
                </c:pt>
                <c:pt idx="98">
                  <c:v>0.51642118986354635</c:v>
                </c:pt>
                <c:pt idx="99">
                  <c:v>0.52077454526253819</c:v>
                </c:pt>
                <c:pt idx="100">
                  <c:v>#N/A</c:v>
                </c:pt>
                <c:pt idx="101">
                  <c:v>#N/A</c:v>
                </c:pt>
                <c:pt idx="102">
                  <c:v>#N/A</c:v>
                </c:pt>
                <c:pt idx="103">
                  <c:v>#N/A</c:v>
                </c:pt>
                <c:pt idx="104">
                  <c:v>#N/A</c:v>
                </c:pt>
                <c:pt idx="105">
                  <c:v>0.51936249840042437</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0.51692113932386652</c:v>
                </c:pt>
                <c:pt idx="128">
                  <c:v>0.51236981413131755</c:v>
                </c:pt>
                <c:pt idx="129">
                  <c:v>0.51617168930486124</c:v>
                </c:pt>
                <c:pt idx="130">
                  <c:v>0.51922841245753082</c:v>
                </c:pt>
                <c:pt idx="131">
                  <c:v>#N/A</c:v>
                </c:pt>
                <c:pt idx="132">
                  <c:v>0.51980511836977761</c:v>
                </c:pt>
                <c:pt idx="133">
                  <c:v>0.51842304155105834</c:v>
                </c:pt>
                <c:pt idx="134">
                  <c:v>#N/A</c:v>
                </c:pt>
                <c:pt idx="135">
                  <c:v>0.5204595853018722</c:v>
                </c:pt>
                <c:pt idx="136">
                  <c:v>0.51267844774715077</c:v>
                </c:pt>
                <c:pt idx="137">
                  <c:v>0.51408643311399227</c:v>
                </c:pt>
                <c:pt idx="138">
                  <c:v>0.51456044071099272</c:v>
                </c:pt>
                <c:pt idx="139">
                  <c:v>0.50542669354309255</c:v>
                </c:pt>
                <c:pt idx="140">
                  <c:v>0.50542669354309255</c:v>
                </c:pt>
                <c:pt idx="141">
                  <c:v>0.50155508103319146</c:v>
                </c:pt>
                <c:pt idx="142">
                  <c:v>0.51257504483192484</c:v>
                </c:pt>
                <c:pt idx="143">
                  <c:v>0.51841019119742937</c:v>
                </c:pt>
                <c:pt idx="144">
                  <c:v>0.51467597115738772</c:v>
                </c:pt>
                <c:pt idx="145">
                  <c:v>#N/A</c:v>
                </c:pt>
                <c:pt idx="146">
                  <c:v>#N/A</c:v>
                </c:pt>
                <c:pt idx="147">
                  <c:v>0.5174322862880546</c:v>
                </c:pt>
                <c:pt idx="148">
                  <c:v>#N/A</c:v>
                </c:pt>
                <c:pt idx="149">
                  <c:v>#N/A</c:v>
                </c:pt>
                <c:pt idx="150">
                  <c:v>#N/A</c:v>
                </c:pt>
                <c:pt idx="151">
                  <c:v>#N/A</c:v>
                </c:pt>
                <c:pt idx="152">
                  <c:v>#N/A</c:v>
                </c:pt>
                <c:pt idx="153">
                  <c:v>#N/A</c:v>
                </c:pt>
                <c:pt idx="154">
                  <c:v>#N/A</c:v>
                </c:pt>
                <c:pt idx="155">
                  <c:v>0.52021846733758403</c:v>
                </c:pt>
                <c:pt idx="156">
                  <c:v>0.51922276050210447</c:v>
                </c:pt>
                <c:pt idx="157">
                  <c:v>#N/A</c:v>
                </c:pt>
                <c:pt idx="158">
                  <c:v>#N/A</c:v>
                </c:pt>
                <c:pt idx="159">
                  <c:v>#N/A</c:v>
                </c:pt>
                <c:pt idx="160">
                  <c:v>#N/A</c:v>
                </c:pt>
                <c:pt idx="161">
                  <c:v>#N/A</c:v>
                </c:pt>
                <c:pt idx="162">
                  <c:v>#N/A</c:v>
                </c:pt>
                <c:pt idx="163">
                  <c:v>#N/A</c:v>
                </c:pt>
                <c:pt idx="164">
                  <c:v>#N/A</c:v>
                </c:pt>
                <c:pt idx="165">
                  <c:v>#N/A</c:v>
                </c:pt>
                <c:pt idx="166">
                  <c:v>0.51629334179280928</c:v>
                </c:pt>
                <c:pt idx="167">
                  <c:v>#N/A</c:v>
                </c:pt>
                <c:pt idx="168">
                  <c:v>0.52012685300983708</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0</c:v>
                </c:pt>
                <c:pt idx="219">
                  <c:v>0</c:v>
                </c:pt>
                <c:pt idx="220">
                  <c:v>0</c:v>
                </c:pt>
                <c:pt idx="221">
                  <c:v>#N/A</c:v>
                </c:pt>
                <c:pt idx="222">
                  <c:v>#N/A</c:v>
                </c:pt>
                <c:pt idx="223">
                  <c:v>#N/A</c:v>
                </c:pt>
                <c:pt idx="224">
                  <c:v>#N/A</c:v>
                </c:pt>
                <c:pt idx="225">
                  <c:v>#N/A</c:v>
                </c:pt>
                <c:pt idx="226">
                  <c:v>#N/A</c:v>
                </c:pt>
                <c:pt idx="227">
                  <c:v>#N/A</c:v>
                </c:pt>
                <c:pt idx="228">
                  <c:v>0.51860561693415352</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0.5209815618843513</c:v>
                </c:pt>
                <c:pt idx="345">
                  <c:v>#N/A</c:v>
                </c:pt>
                <c:pt idx="346">
                  <c:v>#N/A</c:v>
                </c:pt>
                <c:pt idx="347">
                  <c:v>#N/A</c:v>
                </c:pt>
                <c:pt idx="348">
                  <c:v>0.51889270371018503</c:v>
                </c:pt>
                <c:pt idx="349">
                  <c:v>0.51928256243776161</c:v>
                </c:pt>
                <c:pt idx="350">
                  <c:v>0.51950421659752333</c:v>
                </c:pt>
                <c:pt idx="351">
                  <c:v>#N/A</c:v>
                </c:pt>
                <c:pt idx="352">
                  <c:v>#N/A</c:v>
                </c:pt>
                <c:pt idx="353">
                  <c:v>#N/A</c:v>
                </c:pt>
                <c:pt idx="354">
                  <c:v>#N/A</c:v>
                </c:pt>
                <c:pt idx="355">
                  <c:v>#N/A</c:v>
                </c:pt>
                <c:pt idx="356">
                  <c:v>0.51857894854487785</c:v>
                </c:pt>
                <c:pt idx="357">
                  <c:v>0.51868155047966447</c:v>
                </c:pt>
                <c:pt idx="358">
                  <c:v>#N/A</c:v>
                </c:pt>
                <c:pt idx="359">
                  <c:v>#N/A</c:v>
                </c:pt>
                <c:pt idx="360">
                  <c:v>#N/A</c:v>
                </c:pt>
                <c:pt idx="361">
                  <c:v>#N/A</c:v>
                </c:pt>
                <c:pt idx="362">
                  <c:v>0.51758971990813119</c:v>
                </c:pt>
                <c:pt idx="363">
                  <c:v>0.51242668337841701</c:v>
                </c:pt>
                <c:pt idx="364">
                  <c:v>0.51517019522952534</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0.51968145802208343</c:v>
                </c:pt>
                <c:pt idx="378">
                  <c:v>0.51889171921490118</c:v>
                </c:pt>
                <c:pt idx="379">
                  <c:v>0.51714328520487884</c:v>
                </c:pt>
                <c:pt idx="380">
                  <c:v>#N/A</c:v>
                </c:pt>
                <c:pt idx="381">
                  <c:v>#N/A</c:v>
                </c:pt>
                <c:pt idx="382">
                  <c:v>#N/A</c:v>
                </c:pt>
                <c:pt idx="383">
                  <c:v>0.52096192630920868</c:v>
                </c:pt>
                <c:pt idx="384">
                  <c:v>#N/A</c:v>
                </c:pt>
                <c:pt idx="385">
                  <c:v>#N/A</c:v>
                </c:pt>
                <c:pt idx="386">
                  <c:v>#N/A</c:v>
                </c:pt>
                <c:pt idx="387">
                  <c:v>#N/A</c:v>
                </c:pt>
                <c:pt idx="388">
                  <c:v>#N/A</c:v>
                </c:pt>
                <c:pt idx="389">
                  <c:v>#N/A</c:v>
                </c:pt>
                <c:pt idx="390">
                  <c:v>#N/A</c:v>
                </c:pt>
                <c:pt idx="391">
                  <c:v>0.52063979752580936</c:v>
                </c:pt>
                <c:pt idx="392">
                  <c:v>#N/A</c:v>
                </c:pt>
                <c:pt idx="393">
                  <c:v>#N/A</c:v>
                </c:pt>
                <c:pt idx="394">
                  <c:v>#N/A</c:v>
                </c:pt>
                <c:pt idx="395">
                  <c:v>#N/A</c:v>
                </c:pt>
                <c:pt idx="396">
                  <c:v>#N/A</c:v>
                </c:pt>
                <c:pt idx="397">
                  <c:v>#N/A</c:v>
                </c:pt>
                <c:pt idx="398">
                  <c:v>#N/A</c:v>
                </c:pt>
                <c:pt idx="399">
                  <c:v>#N/A</c:v>
                </c:pt>
                <c:pt idx="400">
                  <c:v>#N/A</c:v>
                </c:pt>
                <c:pt idx="401">
                  <c:v>0.52046365869717459</c:v>
                </c:pt>
                <c:pt idx="402">
                  <c:v>0.51868352818648022</c:v>
                </c:pt>
                <c:pt idx="403">
                  <c:v>0.51695574734020655</c:v>
                </c:pt>
                <c:pt idx="404">
                  <c:v>#N/A</c:v>
                </c:pt>
                <c:pt idx="405">
                  <c:v>#N/A</c:v>
                </c:pt>
                <c:pt idx="406">
                  <c:v>0.51699418921050289</c:v>
                </c:pt>
                <c:pt idx="407">
                  <c:v>0.51950588978441159</c:v>
                </c:pt>
                <c:pt idx="408">
                  <c:v>#N/A</c:v>
                </c:pt>
                <c:pt idx="409">
                  <c:v>#N/A</c:v>
                </c:pt>
                <c:pt idx="410">
                  <c:v>0.51970739222493223</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0.51579757489537936</c:v>
                </c:pt>
                <c:pt idx="433">
                  <c:v>0.51791073579783276</c:v>
                </c:pt>
                <c:pt idx="434">
                  <c:v>0.51812407371818503</c:v>
                </c:pt>
                <c:pt idx="435">
                  <c:v>#N/A</c:v>
                </c:pt>
                <c:pt idx="436">
                  <c:v>#N/A</c:v>
                </c:pt>
                <c:pt idx="437">
                  <c:v>#N/A</c:v>
                </c:pt>
                <c:pt idx="438">
                  <c:v>#N/A</c:v>
                </c:pt>
                <c:pt idx="439">
                  <c:v>#N/A</c:v>
                </c:pt>
                <c:pt idx="440">
                  <c:v>#N/A</c:v>
                </c:pt>
                <c:pt idx="441">
                  <c:v>#N/A</c:v>
                </c:pt>
                <c:pt idx="442">
                  <c:v>#N/A</c:v>
                </c:pt>
                <c:pt idx="443">
                  <c:v>#N/A</c:v>
                </c:pt>
                <c:pt idx="444">
                  <c:v>0.51958605729797269</c:v>
                </c:pt>
                <c:pt idx="445">
                  <c:v>#N/A</c:v>
                </c:pt>
                <c:pt idx="446">
                  <c:v>#N/A</c:v>
                </c:pt>
                <c:pt idx="447">
                  <c:v>#N/A</c:v>
                </c:pt>
                <c:pt idx="448">
                  <c:v>#N/A</c:v>
                </c:pt>
                <c:pt idx="449">
                  <c:v>#N/A</c:v>
                </c:pt>
                <c:pt idx="450">
                  <c:v>#N/A</c:v>
                </c:pt>
                <c:pt idx="451">
                  <c:v>#N/A</c:v>
                </c:pt>
                <c:pt idx="452">
                  <c:v>#N/A</c:v>
                </c:pt>
                <c:pt idx="453">
                  <c:v>#N/A</c:v>
                </c:pt>
                <c:pt idx="454">
                  <c:v>#N/A</c:v>
                </c:pt>
                <c:pt idx="455">
                  <c:v>0</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0.51767368343824294</c:v>
                </c:pt>
                <c:pt idx="478">
                  <c:v>#N/A</c:v>
                </c:pt>
                <c:pt idx="479">
                  <c:v>0.51921175993864466</c:v>
                </c:pt>
                <c:pt idx="480">
                  <c:v>#N/A</c:v>
                </c:pt>
                <c:pt idx="481">
                  <c:v>#N/A</c:v>
                </c:pt>
                <c:pt idx="482">
                  <c:v>#N/A</c:v>
                </c:pt>
                <c:pt idx="483">
                  <c:v>#N/A</c:v>
                </c:pt>
                <c:pt idx="484">
                  <c:v>#N/A</c:v>
                </c:pt>
                <c:pt idx="485">
                  <c:v>#N/A</c:v>
                </c:pt>
                <c:pt idx="486">
                  <c:v>#N/A</c:v>
                </c:pt>
                <c:pt idx="487">
                  <c:v>#N/A</c:v>
                </c:pt>
                <c:pt idx="488">
                  <c:v>0.51842964501714395</c:v>
                </c:pt>
                <c:pt idx="489">
                  <c:v>0.51662018232065543</c:v>
                </c:pt>
                <c:pt idx="490">
                  <c:v>#N/A</c:v>
                </c:pt>
                <c:pt idx="491">
                  <c:v>#N/A</c:v>
                </c:pt>
                <c:pt idx="492">
                  <c:v>#N/A</c:v>
                </c:pt>
                <c:pt idx="493">
                  <c:v>0.52081347254107868</c:v>
                </c:pt>
                <c:pt idx="494">
                  <c:v>0.51991981517473751</c:v>
                </c:pt>
                <c:pt idx="495">
                  <c:v>#N/A</c:v>
                </c:pt>
                <c:pt idx="496">
                  <c:v>#N/A</c:v>
                </c:pt>
                <c:pt idx="497">
                  <c:v>#N/A</c:v>
                </c:pt>
                <c:pt idx="498">
                  <c:v>#N/A</c:v>
                </c:pt>
                <c:pt idx="499">
                  <c:v>#N/A</c:v>
                </c:pt>
                <c:pt idx="500">
                  <c:v>0.51387876047321723</c:v>
                </c:pt>
                <c:pt idx="501">
                  <c:v>0.51319018548364803</c:v>
                </c:pt>
                <c:pt idx="502">
                  <c:v>0.51836231873044614</c:v>
                </c:pt>
                <c:pt idx="503">
                  <c:v>0.51603692555574121</c:v>
                </c:pt>
                <c:pt idx="504">
                  <c:v>0.51935917777210905</c:v>
                </c:pt>
                <c:pt idx="505">
                  <c:v>#N/A</c:v>
                </c:pt>
                <c:pt idx="506">
                  <c:v>#N/A</c:v>
                </c:pt>
                <c:pt idx="507">
                  <c:v>#N/A</c:v>
                </c:pt>
                <c:pt idx="508">
                  <c:v>#N/A</c:v>
                </c:pt>
                <c:pt idx="509">
                  <c:v>#N/A</c:v>
                </c:pt>
                <c:pt idx="510">
                  <c:v>#N/A</c:v>
                </c:pt>
                <c:pt idx="511">
                  <c:v>#N/A</c:v>
                </c:pt>
                <c:pt idx="512">
                  <c:v>0.51794117738121115</c:v>
                </c:pt>
                <c:pt idx="513">
                  <c:v>#N/A</c:v>
                </c:pt>
                <c:pt idx="514">
                  <c:v>0.51244738106990717</c:v>
                </c:pt>
                <c:pt idx="515">
                  <c:v>0.51836209711517622</c:v>
                </c:pt>
                <c:pt idx="516">
                  <c:v>#N/A</c:v>
                </c:pt>
                <c:pt idx="517">
                  <c:v>0.51709108311340479</c:v>
                </c:pt>
                <c:pt idx="518">
                  <c:v>0.52020165677519459</c:v>
                </c:pt>
                <c:pt idx="519">
                  <c:v>0.51326004733986297</c:v>
                </c:pt>
                <c:pt idx="520">
                  <c:v>#N/A</c:v>
                </c:pt>
                <c:pt idx="521">
                  <c:v>0.51861490302690405</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0.51893188761453879</c:v>
                </c:pt>
                <c:pt idx="535">
                  <c:v>0.51006690258522247</c:v>
                </c:pt>
                <c:pt idx="536">
                  <c:v>0.51184529204528939</c:v>
                </c:pt>
                <c:pt idx="537">
                  <c:v>0.51165821610428952</c:v>
                </c:pt>
                <c:pt idx="538">
                  <c:v>0.51442293345377266</c:v>
                </c:pt>
                <c:pt idx="539">
                  <c:v>0.51633801727010475</c:v>
                </c:pt>
                <c:pt idx="540">
                  <c:v>0.51922675051706357</c:v>
                </c:pt>
                <c:pt idx="541">
                  <c:v>0.52079810423456074</c:v>
                </c:pt>
                <c:pt idx="542">
                  <c:v>0.51208706004656235</c:v>
                </c:pt>
                <c:pt idx="543">
                  <c:v>0.50443454356149287</c:v>
                </c:pt>
                <c:pt idx="544">
                  <c:v>0.51113507750665454</c:v>
                </c:pt>
                <c:pt idx="545">
                  <c:v>0.5130584183998087</c:v>
                </c:pt>
                <c:pt idx="546">
                  <c:v>0.5153087184304288</c:v>
                </c:pt>
                <c:pt idx="547">
                  <c:v>0.51811571468763828</c:v>
                </c:pt>
                <c:pt idx="548">
                  <c:v>#N/A</c:v>
                </c:pt>
                <c:pt idx="549">
                  <c:v>#N/A</c:v>
                </c:pt>
                <c:pt idx="550">
                  <c:v>#N/A</c:v>
                </c:pt>
                <c:pt idx="551">
                  <c:v>0.52095675868778712</c:v>
                </c:pt>
                <c:pt idx="552">
                  <c:v>#N/A</c:v>
                </c:pt>
                <c:pt idx="553">
                  <c:v>#N/A</c:v>
                </c:pt>
                <c:pt idx="554">
                  <c:v>#N/A</c:v>
                </c:pt>
                <c:pt idx="555">
                  <c:v>#N/A</c:v>
                </c:pt>
                <c:pt idx="556">
                  <c:v>#N/A</c:v>
                </c:pt>
                <c:pt idx="557">
                  <c:v>#N/A</c:v>
                </c:pt>
                <c:pt idx="558">
                  <c:v>#N/A</c:v>
                </c:pt>
                <c:pt idx="559">
                  <c:v>0.52093323153518556</c:v>
                </c:pt>
                <c:pt idx="560">
                  <c:v>0.51898570128395494</c:v>
                </c:pt>
                <c:pt idx="561">
                  <c:v>0.51420915530156042</c:v>
                </c:pt>
                <c:pt idx="562">
                  <c:v>0.51105381666297178</c:v>
                </c:pt>
                <c:pt idx="563">
                  <c:v>0.52086836222200161</c:v>
                </c:pt>
                <c:pt idx="564">
                  <c:v>#N/A</c:v>
                </c:pt>
                <c:pt idx="565">
                  <c:v>#N/A</c:v>
                </c:pt>
                <c:pt idx="566">
                  <c:v>0.5131313131313131</c:v>
                </c:pt>
                <c:pt idx="567">
                  <c:v>0.51928335406307491</c:v>
                </c:pt>
                <c:pt idx="568">
                  <c:v>#N/A</c:v>
                </c:pt>
                <c:pt idx="569">
                  <c:v>0.51238057321304264</c:v>
                </c:pt>
                <c:pt idx="570">
                  <c:v>#N/A</c:v>
                </c:pt>
                <c:pt idx="571">
                  <c:v>0.51578321214235001</c:v>
                </c:pt>
                <c:pt idx="572">
                  <c:v>0.51676918186728704</c:v>
                </c:pt>
                <c:pt idx="573">
                  <c:v>0.51629514814368804</c:v>
                </c:pt>
                <c:pt idx="574">
                  <c:v>0.51304171109086594</c:v>
                </c:pt>
                <c:pt idx="575">
                  <c:v>0.51731293389956756</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0</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0.51087244972942425</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0.51744733269499321</c:v>
                </c:pt>
                <c:pt idx="633">
                  <c:v>0.51528675203588004</c:v>
                </c:pt>
                <c:pt idx="634">
                  <c:v>0.5152968149574324</c:v>
                </c:pt>
                <c:pt idx="635">
                  <c:v>0.51395260676390619</c:v>
                </c:pt>
                <c:pt idx="636">
                  <c:v>0.51767416176797576</c:v>
                </c:pt>
                <c:pt idx="637">
                  <c:v>0.51453439304214788</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0.51972541645943293</c:v>
                </c:pt>
                <c:pt idx="664">
                  <c:v>#N/A</c:v>
                </c:pt>
                <c:pt idx="665">
                  <c:v>#N/A</c:v>
                </c:pt>
                <c:pt idx="666">
                  <c:v>0.51877562873465655</c:v>
                </c:pt>
                <c:pt idx="667">
                  <c:v>0.52077312118203523</c:v>
                </c:pt>
                <c:pt idx="668">
                  <c:v>0.51638056987928793</c:v>
                </c:pt>
                <c:pt idx="669">
                  <c:v>0.50968206644271163</c:v>
                </c:pt>
                <c:pt idx="670">
                  <c:v>0.50939348660199113</c:v>
                </c:pt>
                <c:pt idx="671">
                  <c:v>0.51508746260056582</c:v>
                </c:pt>
                <c:pt idx="672">
                  <c:v>#N/A</c:v>
                </c:pt>
                <c:pt idx="673">
                  <c:v>0.51894072186532914</c:v>
                </c:pt>
                <c:pt idx="674">
                  <c:v>0.52047198941402895</c:v>
                </c:pt>
                <c:pt idx="675">
                  <c:v>#N/A</c:v>
                </c:pt>
                <c:pt idx="676">
                  <c:v>#N/A</c:v>
                </c:pt>
                <c:pt idx="677">
                  <c:v>0.51995411096768607</c:v>
                </c:pt>
                <c:pt idx="678">
                  <c:v>0.51678724292702594</c:v>
                </c:pt>
                <c:pt idx="679">
                  <c:v>0.51487958240425313</c:v>
                </c:pt>
                <c:pt idx="680">
                  <c:v>#N/A</c:v>
                </c:pt>
                <c:pt idx="681">
                  <c:v>#N/A</c:v>
                </c:pt>
                <c:pt idx="682">
                  <c:v>#N/A</c:v>
                </c:pt>
                <c:pt idx="683">
                  <c:v>#N/A</c:v>
                </c:pt>
                <c:pt idx="684">
                  <c:v>#N/A</c:v>
                </c:pt>
                <c:pt idx="685">
                  <c:v>#N/A</c:v>
                </c:pt>
                <c:pt idx="686">
                  <c:v>0.52052806809790797</c:v>
                </c:pt>
                <c:pt idx="687">
                  <c:v>#N/A</c:v>
                </c:pt>
                <c:pt idx="688">
                  <c:v>#N/A</c:v>
                </c:pt>
                <c:pt idx="689">
                  <c:v>0.51860177719621448</c:v>
                </c:pt>
                <c:pt idx="690">
                  <c:v>0.51683811837546434</c:v>
                </c:pt>
                <c:pt idx="691">
                  <c:v>0.51590968726835706</c:v>
                </c:pt>
                <c:pt idx="692">
                  <c:v>#N/A</c:v>
                </c:pt>
                <c:pt idx="693">
                  <c:v>0.52079330173301497</c:v>
                </c:pt>
                <c:pt idx="694">
                  <c:v>0.51915130698675638</c:v>
                </c:pt>
                <c:pt idx="695">
                  <c:v>0.51797349054329689</c:v>
                </c:pt>
                <c:pt idx="696">
                  <c:v>0.51740034068295704</c:v>
                </c:pt>
                <c:pt idx="697">
                  <c:v>0.51757912513152482</c:v>
                </c:pt>
                <c:pt idx="698">
                  <c:v>0.51649247556212508</c:v>
                </c:pt>
                <c:pt idx="699">
                  <c:v>0.51549496891771496</c:v>
                </c:pt>
                <c:pt idx="700">
                  <c:v>0.51350890364813429</c:v>
                </c:pt>
                <c:pt idx="701">
                  <c:v>0.51312006955987111</c:v>
                </c:pt>
                <c:pt idx="702">
                  <c:v>0.51194538731242045</c:v>
                </c:pt>
                <c:pt idx="703">
                  <c:v>0.51305516997699274</c:v>
                </c:pt>
                <c:pt idx="704">
                  <c:v>0.50488719185451647</c:v>
                </c:pt>
                <c:pt idx="705">
                  <c:v>0.50680306765788452</c:v>
                </c:pt>
                <c:pt idx="706">
                  <c:v>0.50591976438689468</c:v>
                </c:pt>
                <c:pt idx="707">
                  <c:v>0.50650631474457886</c:v>
                </c:pt>
                <c:pt idx="708">
                  <c:v>0.51618409833945311</c:v>
                </c:pt>
                <c:pt idx="709">
                  <c:v>0.5160818295079046</c:v>
                </c:pt>
                <c:pt idx="710">
                  <c:v>0.51174251838103413</c:v>
                </c:pt>
                <c:pt idx="711">
                  <c:v>0.50830789261236298</c:v>
                </c:pt>
                <c:pt idx="712">
                  <c:v>0.5054958481416193</c:v>
                </c:pt>
                <c:pt idx="713">
                  <c:v>0.50174669071549338</c:v>
                </c:pt>
                <c:pt idx="714">
                  <c:v>0.50079215955638667</c:v>
                </c:pt>
                <c:pt idx="715">
                  <c:v>0.50203783558566539</c:v>
                </c:pt>
                <c:pt idx="716">
                  <c:v>0.49974004775421121</c:v>
                </c:pt>
                <c:pt idx="717">
                  <c:v>0.50458900770735071</c:v>
                </c:pt>
                <c:pt idx="718">
                  <c:v>0.50584619811589127</c:v>
                </c:pt>
                <c:pt idx="719">
                  <c:v>0.51074578765862488</c:v>
                </c:pt>
                <c:pt idx="720">
                  <c:v>0.51668100087097557</c:v>
                </c:pt>
                <c:pt idx="721">
                  <c:v>0.51270593243573426</c:v>
                </c:pt>
                <c:pt idx="722">
                  <c:v>0.51171988491522402</c:v>
                </c:pt>
                <c:pt idx="723">
                  <c:v>0.50522738788091426</c:v>
                </c:pt>
                <c:pt idx="724">
                  <c:v>0.50585636858690408</c:v>
                </c:pt>
                <c:pt idx="725">
                  <c:v>0.50478362263122878</c:v>
                </c:pt>
                <c:pt idx="726">
                  <c:v>0.50384138150568791</c:v>
                </c:pt>
                <c:pt idx="727">
                  <c:v>0.50734333878962956</c:v>
                </c:pt>
                <c:pt idx="728">
                  <c:v>0.50908154264486682</c:v>
                </c:pt>
                <c:pt idx="729">
                  <c:v>0.50798267664272012</c:v>
                </c:pt>
                <c:pt idx="730">
                  <c:v>0.51033212523159954</c:v>
                </c:pt>
                <c:pt idx="731">
                  <c:v>0.51342293253068094</c:v>
                </c:pt>
                <c:pt idx="732">
                  <c:v>0.50742934077548896</c:v>
                </c:pt>
                <c:pt idx="733">
                  <c:v>0.51481288592277796</c:v>
                </c:pt>
                <c:pt idx="734">
                  <c:v>0.51207583051663264</c:v>
                </c:pt>
                <c:pt idx="735">
                  <c:v>0.51530519180480505</c:v>
                </c:pt>
                <c:pt idx="736">
                  <c:v>0.5107570377906846</c:v>
                </c:pt>
                <c:pt idx="737">
                  <c:v>0.511132247180623</c:v>
                </c:pt>
                <c:pt idx="738">
                  <c:v>0.50914483477156114</c:v>
                </c:pt>
                <c:pt idx="739">
                  <c:v>0.50613755858833187</c:v>
                </c:pt>
                <c:pt idx="740">
                  <c:v>0.51695435835555426</c:v>
                </c:pt>
                <c:pt idx="741">
                  <c:v>#N/A</c:v>
                </c:pt>
                <c:pt idx="742">
                  <c:v>#N/A</c:v>
                </c:pt>
                <c:pt idx="743">
                  <c:v>#N/A</c:v>
                </c:pt>
                <c:pt idx="744">
                  <c:v>0.52009012893266515</c:v>
                </c:pt>
                <c:pt idx="745">
                  <c:v>0.52031510289428662</c:v>
                </c:pt>
                <c:pt idx="746">
                  <c:v>0.52040077772824178</c:v>
                </c:pt>
                <c:pt idx="747">
                  <c:v>0.51333376398885455</c:v>
                </c:pt>
                <c:pt idx="748">
                  <c:v>0.5096453527904703</c:v>
                </c:pt>
                <c:pt idx="749">
                  <c:v>0.51504158205691719</c:v>
                </c:pt>
                <c:pt idx="750">
                  <c:v>#N/A</c:v>
                </c:pt>
                <c:pt idx="751">
                  <c:v>#N/A</c:v>
                </c:pt>
                <c:pt idx="752">
                  <c:v>0.51810043885694712</c:v>
                </c:pt>
                <c:pt idx="753">
                  <c:v>0.51715882569515026</c:v>
                </c:pt>
                <c:pt idx="754">
                  <c:v>0.50551764385904963</c:v>
                </c:pt>
                <c:pt idx="755">
                  <c:v>0.51314586132489659</c:v>
                </c:pt>
                <c:pt idx="756">
                  <c:v>0.51799500032462864</c:v>
                </c:pt>
                <c:pt idx="757">
                  <c:v>#N/A</c:v>
                </c:pt>
                <c:pt idx="758">
                  <c:v>#N/A</c:v>
                </c:pt>
                <c:pt idx="759">
                  <c:v>#N/A</c:v>
                </c:pt>
                <c:pt idx="760">
                  <c:v>0.51679386513704173</c:v>
                </c:pt>
                <c:pt idx="761">
                  <c:v>0.51866786801986542</c:v>
                </c:pt>
                <c:pt idx="762">
                  <c:v>#N/A</c:v>
                </c:pt>
                <c:pt idx="763">
                  <c:v>#N/A</c:v>
                </c:pt>
                <c:pt idx="764">
                  <c:v>#N/A</c:v>
                </c:pt>
                <c:pt idx="765">
                  <c:v>#N/A</c:v>
                </c:pt>
                <c:pt idx="766">
                  <c:v>#N/A</c:v>
                </c:pt>
                <c:pt idx="767">
                  <c:v>#N/A</c:v>
                </c:pt>
                <c:pt idx="768">
                  <c:v>#N/A</c:v>
                </c:pt>
                <c:pt idx="769">
                  <c:v>#N/A</c:v>
                </c:pt>
                <c:pt idx="770">
                  <c:v>#N/A</c:v>
                </c:pt>
                <c:pt idx="771">
                  <c:v>0.52009456349872907</c:v>
                </c:pt>
                <c:pt idx="772">
                  <c:v>#N/A</c:v>
                </c:pt>
                <c:pt idx="773">
                  <c:v>#N/A</c:v>
                </c:pt>
                <c:pt idx="774">
                  <c:v>0.51715266075743038</c:v>
                </c:pt>
                <c:pt idx="775">
                  <c:v>0.51658259629233605</c:v>
                </c:pt>
                <c:pt idx="776">
                  <c:v>0.51851742842174042</c:v>
                </c:pt>
                <c:pt idx="777">
                  <c:v>#N/A</c:v>
                </c:pt>
                <c:pt idx="778">
                  <c:v>#N/A</c:v>
                </c:pt>
                <c:pt idx="779">
                  <c:v>#N/A</c:v>
                </c:pt>
                <c:pt idx="780">
                  <c:v>0.52003819342395341</c:v>
                </c:pt>
                <c:pt idx="781">
                  <c:v>0.51755090704587292</c:v>
                </c:pt>
                <c:pt idx="782">
                  <c:v>0.51356381988119015</c:v>
                </c:pt>
                <c:pt idx="783">
                  <c:v>0.51892952108414991</c:v>
                </c:pt>
                <c:pt idx="784">
                  <c:v>#N/A</c:v>
                </c:pt>
                <c:pt idx="785">
                  <c:v>#N/A</c:v>
                </c:pt>
                <c:pt idx="786">
                  <c:v>0.51719434737790249</c:v>
                </c:pt>
                <c:pt idx="787">
                  <c:v>#N/A</c:v>
                </c:pt>
                <c:pt idx="788">
                  <c:v>#N/A</c:v>
                </c:pt>
                <c:pt idx="789">
                  <c:v>0.51956390379451922</c:v>
                </c:pt>
                <c:pt idx="790">
                  <c:v>0.51888216025914469</c:v>
                </c:pt>
                <c:pt idx="791">
                  <c:v>0.51826895513525995</c:v>
                </c:pt>
                <c:pt idx="792">
                  <c:v>0.51003249964867647</c:v>
                </c:pt>
                <c:pt idx="793">
                  <c:v>0.51699519568515151</c:v>
                </c:pt>
                <c:pt idx="794">
                  <c:v>0.51182173070144987</c:v>
                </c:pt>
                <c:pt idx="795">
                  <c:v>0.51111502711578305</c:v>
                </c:pt>
                <c:pt idx="796">
                  <c:v>#N/A</c:v>
                </c:pt>
                <c:pt idx="797">
                  <c:v>#N/A</c:v>
                </c:pt>
                <c:pt idx="798">
                  <c:v>#N/A</c:v>
                </c:pt>
                <c:pt idx="799">
                  <c:v>#N/A</c:v>
                </c:pt>
                <c:pt idx="800">
                  <c:v>#N/A</c:v>
                </c:pt>
                <c:pt idx="801">
                  <c:v>#N/A</c:v>
                </c:pt>
                <c:pt idx="802">
                  <c:v>0.51869198759732238</c:v>
                </c:pt>
                <c:pt idx="803">
                  <c:v>0.51915726098403292</c:v>
                </c:pt>
                <c:pt idx="804">
                  <c:v>0.51743421370616161</c:v>
                </c:pt>
                <c:pt idx="805">
                  <c:v>0.51893446404789667</c:v>
                </c:pt>
                <c:pt idx="806">
                  <c:v>#N/A</c:v>
                </c:pt>
                <c:pt idx="807">
                  <c:v>#N/A</c:v>
                </c:pt>
                <c:pt idx="808">
                  <c:v>#N/A</c:v>
                </c:pt>
                <c:pt idx="809">
                  <c:v>0.51036077513147549</c:v>
                </c:pt>
                <c:pt idx="810">
                  <c:v>0.51945121135999639</c:v>
                </c:pt>
                <c:pt idx="811">
                  <c:v>0.51689399999784957</c:v>
                </c:pt>
                <c:pt idx="812">
                  <c:v>0.51699216958044381</c:v>
                </c:pt>
                <c:pt idx="813">
                  <c:v>#N/A</c:v>
                </c:pt>
                <c:pt idx="814">
                  <c:v>#N/A</c:v>
                </c:pt>
                <c:pt idx="815">
                  <c:v>#N/A</c:v>
                </c:pt>
                <c:pt idx="816">
                  <c:v>#N/A</c:v>
                </c:pt>
                <c:pt idx="817">
                  <c:v>0.5121328373686046</c:v>
                </c:pt>
                <c:pt idx="818">
                  <c:v>0.51112379438316891</c:v>
                </c:pt>
                <c:pt idx="819">
                  <c:v>0.51494862558493104</c:v>
                </c:pt>
                <c:pt idx="820">
                  <c:v>0.51097583826373472</c:v>
                </c:pt>
                <c:pt idx="821">
                  <c:v>0.5131247481669422</c:v>
                </c:pt>
                <c:pt idx="822">
                  <c:v>#N/A</c:v>
                </c:pt>
                <c:pt idx="823">
                  <c:v>#N/A</c:v>
                </c:pt>
                <c:pt idx="824">
                  <c:v>0.52026568206736024</c:v>
                </c:pt>
                <c:pt idx="825">
                  <c:v>0.51569640465383215</c:v>
                </c:pt>
                <c:pt idx="826">
                  <c:v>#N/A</c:v>
                </c:pt>
                <c:pt idx="827">
                  <c:v>#N/A</c:v>
                </c:pt>
                <c:pt idx="828">
                  <c:v>#N/A</c:v>
                </c:pt>
                <c:pt idx="829">
                  <c:v>#N/A</c:v>
                </c:pt>
                <c:pt idx="830">
                  <c:v>#N/A</c:v>
                </c:pt>
                <c:pt idx="831">
                  <c:v>#N/A</c:v>
                </c:pt>
                <c:pt idx="832">
                  <c:v>#N/A</c:v>
                </c:pt>
                <c:pt idx="833">
                  <c:v>#N/A</c:v>
                </c:pt>
                <c:pt idx="834">
                  <c:v>0.52064995775005096</c:v>
                </c:pt>
                <c:pt idx="835">
                  <c:v>#N/A</c:v>
                </c:pt>
                <c:pt idx="836">
                  <c:v>#N/A</c:v>
                </c:pt>
                <c:pt idx="837">
                  <c:v>#N/A</c:v>
                </c:pt>
                <c:pt idx="838">
                  <c:v>0.52037627219941285</c:v>
                </c:pt>
                <c:pt idx="839">
                  <c:v>0.52087221472608136</c:v>
                </c:pt>
                <c:pt idx="840">
                  <c:v>#N/A</c:v>
                </c:pt>
                <c:pt idx="841">
                  <c:v>#N/A</c:v>
                </c:pt>
                <c:pt idx="842">
                  <c:v>#N/A</c:v>
                </c:pt>
                <c:pt idx="843">
                  <c:v>#N/A</c:v>
                </c:pt>
                <c:pt idx="844">
                  <c:v>#N/A</c:v>
                </c:pt>
                <c:pt idx="845">
                  <c:v>#N/A</c:v>
                </c:pt>
                <c:pt idx="846">
                  <c:v>0.51797565981072657</c:v>
                </c:pt>
                <c:pt idx="847">
                  <c:v>0.51394087594279791</c:v>
                </c:pt>
                <c:pt idx="848">
                  <c:v>0.50922321164471041</c:v>
                </c:pt>
                <c:pt idx="849">
                  <c:v>0.51191123355701529</c:v>
                </c:pt>
                <c:pt idx="850">
                  <c:v>0.50854892044045164</c:v>
                </c:pt>
                <c:pt idx="851">
                  <c:v>0.51292750696526934</c:v>
                </c:pt>
                <c:pt idx="852">
                  <c:v>0.51972418416739119</c:v>
                </c:pt>
                <c:pt idx="853">
                  <c:v>0.51920928775854325</c:v>
                </c:pt>
                <c:pt idx="854">
                  <c:v>#N/A</c:v>
                </c:pt>
                <c:pt idx="855">
                  <c:v>0.51330862707910685</c:v>
                </c:pt>
                <c:pt idx="856">
                  <c:v>0.51282095611417045</c:v>
                </c:pt>
                <c:pt idx="857">
                  <c:v>0.51734626733338418</c:v>
                </c:pt>
                <c:pt idx="858">
                  <c:v>0.51267797465881537</c:v>
                </c:pt>
                <c:pt idx="859">
                  <c:v>0.50911830602117503</c:v>
                </c:pt>
                <c:pt idx="860">
                  <c:v>0.50704773911315604</c:v>
                </c:pt>
                <c:pt idx="861">
                  <c:v>0.50780070144303424</c:v>
                </c:pt>
                <c:pt idx="862">
                  <c:v>0.51093269782901229</c:v>
                </c:pt>
                <c:pt idx="863">
                  <c:v>0.51988349127565714</c:v>
                </c:pt>
                <c:pt idx="864">
                  <c:v>#N/A</c:v>
                </c:pt>
                <c:pt idx="865">
                  <c:v>#N/A</c:v>
                </c:pt>
                <c:pt idx="866">
                  <c:v>#N/A</c:v>
                </c:pt>
                <c:pt idx="867">
                  <c:v>#N/A</c:v>
                </c:pt>
                <c:pt idx="868">
                  <c:v>0.5169366992733655</c:v>
                </c:pt>
                <c:pt idx="869">
                  <c:v>#N/A</c:v>
                </c:pt>
                <c:pt idx="870">
                  <c:v>#N/A</c:v>
                </c:pt>
                <c:pt idx="871">
                  <c:v>#N/A</c:v>
                </c:pt>
                <c:pt idx="872">
                  <c:v>#N/A</c:v>
                </c:pt>
                <c:pt idx="873">
                  <c:v>0.51940703327818027</c:v>
                </c:pt>
                <c:pt idx="874">
                  <c:v>0.51618836631495535</c:v>
                </c:pt>
                <c:pt idx="875">
                  <c:v>0.51306377491369759</c:v>
                </c:pt>
                <c:pt idx="876">
                  <c:v>#N/A</c:v>
                </c:pt>
                <c:pt idx="877">
                  <c:v>0.5173225331544079</c:v>
                </c:pt>
                <c:pt idx="878">
                  <c:v>0.52049167411031294</c:v>
                </c:pt>
                <c:pt idx="879">
                  <c:v>0.5141844238308646</c:v>
                </c:pt>
                <c:pt idx="880">
                  <c:v>0.50725834957743676</c:v>
                </c:pt>
                <c:pt idx="881">
                  <c:v>0.51305311731722769</c:v>
                </c:pt>
                <c:pt idx="882">
                  <c:v>0.51549058403225856</c:v>
                </c:pt>
                <c:pt idx="883">
                  <c:v>0.51932342896829053</c:v>
                </c:pt>
                <c:pt idx="884">
                  <c:v>#N/A</c:v>
                </c:pt>
                <c:pt idx="885">
                  <c:v>#N/A</c:v>
                </c:pt>
                <c:pt idx="886">
                  <c:v>0.51228223100544923</c:v>
                </c:pt>
                <c:pt idx="887">
                  <c:v>0.51246044457613205</c:v>
                </c:pt>
                <c:pt idx="888">
                  <c:v>0.50982681424496434</c:v>
                </c:pt>
                <c:pt idx="889">
                  <c:v>0.51932609267116614</c:v>
                </c:pt>
                <c:pt idx="890">
                  <c:v>0.51887740583032982</c:v>
                </c:pt>
                <c:pt idx="891">
                  <c:v>0.51712476251968953</c:v>
                </c:pt>
                <c:pt idx="892">
                  <c:v>0.51829132467070871</c:v>
                </c:pt>
                <c:pt idx="893">
                  <c:v>0.51984442873008974</c:v>
                </c:pt>
                <c:pt idx="894">
                  <c:v>0.52065434608975902</c:v>
                </c:pt>
                <c:pt idx="895">
                  <c:v>0.51922882262229719</c:v>
                </c:pt>
                <c:pt idx="896">
                  <c:v>#N/A</c:v>
                </c:pt>
                <c:pt idx="897">
                  <c:v>#N/A</c:v>
                </c:pt>
                <c:pt idx="898">
                  <c:v>0.51972993002823886</c:v>
                </c:pt>
                <c:pt idx="899">
                  <c:v>0.51209884400311778</c:v>
                </c:pt>
                <c:pt idx="900">
                  <c:v>0.51595132942903499</c:v>
                </c:pt>
                <c:pt idx="901">
                  <c:v>#N/A</c:v>
                </c:pt>
                <c:pt idx="902">
                  <c:v>0.52093141995841463</c:v>
                </c:pt>
                <c:pt idx="903">
                  <c:v>#N/A</c:v>
                </c:pt>
                <c:pt idx="904">
                  <c:v>0.51898491924208989</c:v>
                </c:pt>
                <c:pt idx="905">
                  <c:v>0.5161049698263116</c:v>
                </c:pt>
                <c:pt idx="906">
                  <c:v>0.51899346074748298</c:v>
                </c:pt>
                <c:pt idx="907">
                  <c:v>0.5179525643261681</c:v>
                </c:pt>
                <c:pt idx="908">
                  <c:v>0.51837307733754123</c:v>
                </c:pt>
                <c:pt idx="909">
                  <c:v>#N/A</c:v>
                </c:pt>
                <c:pt idx="910">
                  <c:v>#N/A</c:v>
                </c:pt>
                <c:pt idx="911">
                  <c:v>#N/A</c:v>
                </c:pt>
                <c:pt idx="912">
                  <c:v>#N/A</c:v>
                </c:pt>
                <c:pt idx="913">
                  <c:v>0.51796800443372637</c:v>
                </c:pt>
                <c:pt idx="914">
                  <c:v>0.51221607659322832</c:v>
                </c:pt>
                <c:pt idx="915">
                  <c:v>0.51575802447694441</c:v>
                </c:pt>
                <c:pt idx="916">
                  <c:v>#N/A</c:v>
                </c:pt>
                <c:pt idx="917">
                  <c:v>#N/A</c:v>
                </c:pt>
                <c:pt idx="918">
                  <c:v>#N/A</c:v>
                </c:pt>
                <c:pt idx="919">
                  <c:v>#N/A</c:v>
                </c:pt>
                <c:pt idx="920">
                  <c:v>#N/A</c:v>
                </c:pt>
                <c:pt idx="921">
                  <c:v>#N/A</c:v>
                </c:pt>
                <c:pt idx="922">
                  <c:v>#N/A</c:v>
                </c:pt>
                <c:pt idx="923">
                  <c:v>#N/A</c:v>
                </c:pt>
                <c:pt idx="924">
                  <c:v>0.51538053913988846</c:v>
                </c:pt>
                <c:pt idx="925">
                  <c:v>0.51315313826399367</c:v>
                </c:pt>
                <c:pt idx="926">
                  <c:v>0.51989146551325649</c:v>
                </c:pt>
                <c:pt idx="927">
                  <c:v>#N/A</c:v>
                </c:pt>
                <c:pt idx="928">
                  <c:v>0.5116369921528755</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0.51887354737800129</c:v>
                </c:pt>
                <c:pt idx="946">
                  <c:v>#N/A</c:v>
                </c:pt>
                <c:pt idx="947">
                  <c:v>#N/A</c:v>
                </c:pt>
                <c:pt idx="948">
                  <c:v>#N/A</c:v>
                </c:pt>
                <c:pt idx="949">
                  <c:v>0.51943127945842027</c:v>
                </c:pt>
                <c:pt idx="950">
                  <c:v>0.52076262707304322</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0.5195305737546928</c:v>
                </c:pt>
                <c:pt idx="983">
                  <c:v>#N/A</c:v>
                </c:pt>
                <c:pt idx="984">
                  <c:v>0.51774984789311951</c:v>
                </c:pt>
                <c:pt idx="985">
                  <c:v>#N/A</c:v>
                </c:pt>
                <c:pt idx="986">
                  <c:v>0.51670650513818894</c:v>
                </c:pt>
                <c:pt idx="987">
                  <c:v>0.51626330739626825</c:v>
                </c:pt>
                <c:pt idx="988">
                  <c:v>0.51476007424965742</c:v>
                </c:pt>
                <c:pt idx="989">
                  <c:v>0.51816795837896623</c:v>
                </c:pt>
                <c:pt idx="990">
                  <c:v>0.51555430279108572</c:v>
                </c:pt>
                <c:pt idx="991">
                  <c:v>0.51165411327804766</c:v>
                </c:pt>
                <c:pt idx="992">
                  <c:v>0.51325083426646356</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0.51978403237571758</c:v>
                </c:pt>
                <c:pt idx="1071">
                  <c:v>#N/A</c:v>
                </c:pt>
                <c:pt idx="1072">
                  <c:v>#N/A</c:v>
                </c:pt>
                <c:pt idx="1073">
                  <c:v>#N/A</c:v>
                </c:pt>
                <c:pt idx="1074">
                  <c:v>#N/A</c:v>
                </c:pt>
                <c:pt idx="1075">
                  <c:v>0.51834323492667556</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numCache>
            </c:numRef>
          </c:xVal>
          <c:yVal>
            <c:numRef>
              <c:f>Sheet2!$H$2:$H$1131</c:f>
              <c:numCache>
                <c:formatCode>General</c:formatCode>
                <c:ptCount val="1130"/>
                <c:pt idx="1">
                  <c:v>#N/A</c:v>
                </c:pt>
                <c:pt idx="2">
                  <c:v>#N/A</c:v>
                </c:pt>
                <c:pt idx="3">
                  <c:v>318.33032846354649</c:v>
                </c:pt>
                <c:pt idx="4">
                  <c:v>315.22631688355369</c:v>
                </c:pt>
                <c:pt idx="5">
                  <c:v>316.78579005761446</c:v>
                </c:pt>
                <c:pt idx="6">
                  <c:v>323.54749737742918</c:v>
                </c:pt>
                <c:pt idx="7">
                  <c:v>#N/A</c:v>
                </c:pt>
                <c:pt idx="8">
                  <c:v>323.61511199105757</c:v>
                </c:pt>
                <c:pt idx="9">
                  <c:v>320.22627222790391</c:v>
                </c:pt>
                <c:pt idx="10">
                  <c:v>318.67737385443758</c:v>
                </c:pt>
                <c:pt idx="11">
                  <c:v>314.41040471783202</c:v>
                </c:pt>
                <c:pt idx="12">
                  <c:v>315.77631771214749</c:v>
                </c:pt>
                <c:pt idx="13">
                  <c:v>325.22395307396999</c:v>
                </c:pt>
                <c:pt idx="14">
                  <c:v>#N/A</c:v>
                </c:pt>
                <c:pt idx="15">
                  <c:v>326.68633965469473</c:v>
                </c:pt>
                <c:pt idx="16">
                  <c:v>313.46520313753177</c:v>
                </c:pt>
                <c:pt idx="17">
                  <c:v>310.931175431236</c:v>
                </c:pt>
                <c:pt idx="18">
                  <c:v>320.54243239691482</c:v>
                </c:pt>
                <c:pt idx="19">
                  <c:v>327.73110998308101</c:v>
                </c:pt>
                <c:pt idx="20">
                  <c:v>322.19262601025451</c:v>
                </c:pt>
                <c:pt idx="21">
                  <c:v>320.27299213302769</c:v>
                </c:pt>
                <c:pt idx="22">
                  <c:v>317.57939742664161</c:v>
                </c:pt>
                <c:pt idx="23">
                  <c:v>316.19461332211716</c:v>
                </c:pt>
                <c:pt idx="24">
                  <c:v>315.39532354709354</c:v>
                </c:pt>
                <c:pt idx="25">
                  <c:v>315.66248545074939</c:v>
                </c:pt>
                <c:pt idx="26">
                  <c:v>316.82270630319232</c:v>
                </c:pt>
                <c:pt idx="27">
                  <c:v>#N/A</c:v>
                </c:pt>
                <c:pt idx="28">
                  <c:v>#N/A</c:v>
                </c:pt>
                <c:pt idx="29">
                  <c:v>321.99861002954611</c:v>
                </c:pt>
                <c:pt idx="30">
                  <c:v>320.95747258053484</c:v>
                </c:pt>
                <c:pt idx="31">
                  <c:v>327.66673615498394</c:v>
                </c:pt>
                <c:pt idx="32">
                  <c:v>#N/A</c:v>
                </c:pt>
                <c:pt idx="33">
                  <c:v>319.77386497872101</c:v>
                </c:pt>
                <c:pt idx="34">
                  <c:v>328.82618267854872</c:v>
                </c:pt>
                <c:pt idx="35">
                  <c:v>348.10495342262442</c:v>
                </c:pt>
                <c:pt idx="36">
                  <c:v>341.28146249310817</c:v>
                </c:pt>
                <c:pt idx="37">
                  <c:v>331.3983381867933</c:v>
                </c:pt>
                <c:pt idx="38">
                  <c:v>322.0289674859049</c:v>
                </c:pt>
                <c:pt idx="39">
                  <c:v>318.09428792925155</c:v>
                </c:pt>
                <c:pt idx="40">
                  <c:v>323.96783007459743</c:v>
                </c:pt>
                <c:pt idx="41">
                  <c:v>323.36990345280844</c:v>
                </c:pt>
                <c:pt idx="42">
                  <c:v>331.90886404149273</c:v>
                </c:pt>
                <c:pt idx="43">
                  <c:v>342.8987538193432</c:v>
                </c:pt>
                <c:pt idx="44">
                  <c:v>355.19064044996173</c:v>
                </c:pt>
                <c:pt idx="45">
                  <c:v>#N/A</c:v>
                </c:pt>
                <c:pt idx="46">
                  <c:v>#N/A</c:v>
                </c:pt>
                <c:pt idx="47">
                  <c:v>#N/A</c:v>
                </c:pt>
                <c:pt idx="48">
                  <c:v>#N/A</c:v>
                </c:pt>
                <c:pt idx="49">
                  <c:v>#N/A</c:v>
                </c:pt>
                <c:pt idx="50">
                  <c:v>339.59597646070989</c:v>
                </c:pt>
                <c:pt idx="51">
                  <c:v>332.90284188019041</c:v>
                </c:pt>
                <c:pt idx="52">
                  <c:v>335.52875809093149</c:v>
                </c:pt>
                <c:pt idx="53">
                  <c:v>#N/A</c:v>
                </c:pt>
                <c:pt idx="54">
                  <c:v>318.02931924876447</c:v>
                </c:pt>
                <c:pt idx="55">
                  <c:v>317.42375919289793</c:v>
                </c:pt>
                <c:pt idx="56">
                  <c:v>320.25120076963969</c:v>
                </c:pt>
                <c:pt idx="57">
                  <c:v>313.35240736514118</c:v>
                </c:pt>
                <c:pt idx="58">
                  <c:v>328.8608730893763</c:v>
                </c:pt>
                <c:pt idx="59">
                  <c:v>325.68842389334611</c:v>
                </c:pt>
                <c:pt idx="60">
                  <c:v>328.00983483047673</c:v>
                </c:pt>
                <c:pt idx="61">
                  <c:v>304.78893267734338</c:v>
                </c:pt>
                <c:pt idx="62">
                  <c:v>317.7817483222637</c:v>
                </c:pt>
                <c:pt idx="63">
                  <c:v>320.3107889527152</c:v>
                </c:pt>
                <c:pt idx="64">
                  <c:v>314.07674731811966</c:v>
                </c:pt>
                <c:pt idx="65">
                  <c:v>#N/A</c:v>
                </c:pt>
                <c:pt idx="66">
                  <c:v>#N/A</c:v>
                </c:pt>
                <c:pt idx="67">
                  <c:v>316.1875597670886</c:v>
                </c:pt>
                <c:pt idx="68">
                  <c:v>328.3129893324504</c:v>
                </c:pt>
                <c:pt idx="69">
                  <c:v>337.06732556173142</c:v>
                </c:pt>
                <c:pt idx="70">
                  <c:v>338.74328092915368</c:v>
                </c:pt>
                <c:pt idx="71">
                  <c:v>328.58394945045683</c:v>
                </c:pt>
                <c:pt idx="72">
                  <c:v>#N/A</c:v>
                </c:pt>
                <c:pt idx="73">
                  <c:v>321.35877472493996</c:v>
                </c:pt>
                <c:pt idx="74">
                  <c:v>#N/A</c:v>
                </c:pt>
                <c:pt idx="75">
                  <c:v>325.23343229685139</c:v>
                </c:pt>
                <c:pt idx="76">
                  <c:v>315.38908113759834</c:v>
                </c:pt>
                <c:pt idx="77">
                  <c:v>320.10153354299092</c:v>
                </c:pt>
                <c:pt idx="78">
                  <c:v>315.19110605743055</c:v>
                </c:pt>
                <c:pt idx="79">
                  <c:v>317.34545917843752</c:v>
                </c:pt>
                <c:pt idx="80">
                  <c:v>318.55722577993112</c:v>
                </c:pt>
                <c:pt idx="81">
                  <c:v>317.13878261026883</c:v>
                </c:pt>
                <c:pt idx="82">
                  <c:v>322.59032616974935</c:v>
                </c:pt>
                <c:pt idx="83">
                  <c:v>316.77833496965678</c:v>
                </c:pt>
                <c:pt idx="84">
                  <c:v>317.52101688661992</c:v>
                </c:pt>
                <c:pt idx="85">
                  <c:v>332.94922727766851</c:v>
                </c:pt>
                <c:pt idx="86">
                  <c:v>331.76081720662955</c:v>
                </c:pt>
                <c:pt idx="87">
                  <c:v>331.37686375835676</c:v>
                </c:pt>
                <c:pt idx="88">
                  <c:v>#N/A</c:v>
                </c:pt>
                <c:pt idx="89">
                  <c:v>315.97751665886943</c:v>
                </c:pt>
                <c:pt idx="90">
                  <c:v>#N/A</c:v>
                </c:pt>
                <c:pt idx="91">
                  <c:v>#N/A</c:v>
                </c:pt>
                <c:pt idx="92">
                  <c:v>#N/A</c:v>
                </c:pt>
                <c:pt idx="93">
                  <c:v>324.96286933642233</c:v>
                </c:pt>
                <c:pt idx="94">
                  <c:v>316.4492511485094</c:v>
                </c:pt>
                <c:pt idx="95">
                  <c:v>322.13989970149845</c:v>
                </c:pt>
                <c:pt idx="96">
                  <c:v>324.63999968729377</c:v>
                </c:pt>
                <c:pt idx="97">
                  <c:v>323.56756104121939</c:v>
                </c:pt>
                <c:pt idx="98">
                  <c:v>330.37511344686726</c:v>
                </c:pt>
                <c:pt idx="99">
                  <c:v>321.59066376974386</c:v>
                </c:pt>
                <c:pt idx="100">
                  <c:v>#N/A</c:v>
                </c:pt>
                <c:pt idx="101">
                  <c:v>#N/A</c:v>
                </c:pt>
                <c:pt idx="102">
                  <c:v>#N/A</c:v>
                </c:pt>
                <c:pt idx="103">
                  <c:v>#N/A</c:v>
                </c:pt>
                <c:pt idx="104">
                  <c:v>#N/A</c:v>
                </c:pt>
                <c:pt idx="105">
                  <c:v>335.74172964614786</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321.54125846701697</c:v>
                </c:pt>
                <c:pt idx="128">
                  <c:v>320.91609050390599</c:v>
                </c:pt>
                <c:pt idx="129">
                  <c:v>332.400657410512</c:v>
                </c:pt>
                <c:pt idx="130">
                  <c:v>322.03233298226399</c:v>
                </c:pt>
                <c:pt idx="131">
                  <c:v>#N/A</c:v>
                </c:pt>
                <c:pt idx="132">
                  <c:v>337.46054325825099</c:v>
                </c:pt>
                <c:pt idx="133">
                  <c:v>335.877824393026</c:v>
                </c:pt>
                <c:pt idx="134">
                  <c:v>#N/A</c:v>
                </c:pt>
                <c:pt idx="135">
                  <c:v>339.90714011490502</c:v>
                </c:pt>
                <c:pt idx="136">
                  <c:v>335.04607123188299</c:v>
                </c:pt>
                <c:pt idx="137">
                  <c:v>319.25645078917699</c:v>
                </c:pt>
                <c:pt idx="138">
                  <c:v>326.22836976685602</c:v>
                </c:pt>
                <c:pt idx="139">
                  <c:v>329.26429957669802</c:v>
                </c:pt>
                <c:pt idx="140">
                  <c:v>330.12719044600198</c:v>
                </c:pt>
                <c:pt idx="141">
                  <c:v>#N/A</c:v>
                </c:pt>
                <c:pt idx="142">
                  <c:v>#N/A</c:v>
                </c:pt>
                <c:pt idx="143">
                  <c:v>#N/A</c:v>
                </c:pt>
                <c:pt idx="144">
                  <c:v>#N/A</c:v>
                </c:pt>
                <c:pt idx="145">
                  <c:v>#N/A</c:v>
                </c:pt>
                <c:pt idx="146">
                  <c:v>#N/A</c:v>
                </c:pt>
                <c:pt idx="147">
                  <c:v>0</c:v>
                </c:pt>
                <c:pt idx="148">
                  <c:v>#N/A</c:v>
                </c:pt>
                <c:pt idx="149">
                  <c:v>#N/A</c:v>
                </c:pt>
                <c:pt idx="150">
                  <c:v>#N/A</c:v>
                </c:pt>
                <c:pt idx="151">
                  <c:v>#N/A</c:v>
                </c:pt>
                <c:pt idx="152">
                  <c:v>#N/A</c:v>
                </c:pt>
                <c:pt idx="153">
                  <c:v>#N/A</c:v>
                </c:pt>
                <c:pt idx="154">
                  <c:v>#N/A</c:v>
                </c:pt>
                <c:pt idx="155">
                  <c:v>318.39378363829297</c:v>
                </c:pt>
                <c:pt idx="156">
                  <c:v>321.828494457506</c:v>
                </c:pt>
                <c:pt idx="157">
                  <c:v>#N/A</c:v>
                </c:pt>
                <c:pt idx="158">
                  <c:v>#N/A</c:v>
                </c:pt>
                <c:pt idx="159">
                  <c:v>#N/A</c:v>
                </c:pt>
                <c:pt idx="160">
                  <c:v>#N/A</c:v>
                </c:pt>
                <c:pt idx="161">
                  <c:v>#N/A</c:v>
                </c:pt>
                <c:pt idx="162">
                  <c:v>#N/A</c:v>
                </c:pt>
                <c:pt idx="163">
                  <c:v>#N/A</c:v>
                </c:pt>
                <c:pt idx="164">
                  <c:v>#N/A</c:v>
                </c:pt>
                <c:pt idx="165">
                  <c:v>#N/A</c:v>
                </c:pt>
                <c:pt idx="166">
                  <c:v>313.53801291549598</c:v>
                </c:pt>
                <c:pt idx="167">
                  <c:v>#N/A</c:v>
                </c:pt>
                <c:pt idx="168">
                  <c:v>318.27340910342099</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0</c:v>
                </c:pt>
                <c:pt idx="219">
                  <c:v>0</c:v>
                </c:pt>
                <c:pt idx="220">
                  <c:v>0</c:v>
                </c:pt>
                <c:pt idx="221">
                  <c:v>#N/A</c:v>
                </c:pt>
                <c:pt idx="222">
                  <c:v>#N/A</c:v>
                </c:pt>
                <c:pt idx="223">
                  <c:v>#N/A</c:v>
                </c:pt>
                <c:pt idx="224">
                  <c:v>#N/A</c:v>
                </c:pt>
                <c:pt idx="225">
                  <c:v>#N/A</c:v>
                </c:pt>
                <c:pt idx="226">
                  <c:v>#N/A</c:v>
                </c:pt>
                <c:pt idx="227">
                  <c:v>#N/A</c:v>
                </c:pt>
                <c:pt idx="228">
                  <c:v>314.660086566058</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313.27097421622602</c:v>
                </c:pt>
                <c:pt idx="345">
                  <c:v>#N/A</c:v>
                </c:pt>
                <c:pt idx="346">
                  <c:v>#N/A</c:v>
                </c:pt>
                <c:pt idx="347">
                  <c:v>#N/A</c:v>
                </c:pt>
                <c:pt idx="348">
                  <c:v>316.59818072137801</c:v>
                </c:pt>
                <c:pt idx="349">
                  <c:v>317.29989627865098</c:v>
                </c:pt>
                <c:pt idx="350">
                  <c:v>309.48927905004501</c:v>
                </c:pt>
                <c:pt idx="351">
                  <c:v>#N/A</c:v>
                </c:pt>
                <c:pt idx="352">
                  <c:v>#N/A</c:v>
                </c:pt>
                <c:pt idx="353">
                  <c:v>#N/A</c:v>
                </c:pt>
                <c:pt idx="354">
                  <c:v>#N/A</c:v>
                </c:pt>
                <c:pt idx="355">
                  <c:v>#N/A</c:v>
                </c:pt>
                <c:pt idx="356">
                  <c:v>331.31788895995402</c:v>
                </c:pt>
                <c:pt idx="357">
                  <c:v>333.12707547053299</c:v>
                </c:pt>
                <c:pt idx="358">
                  <c:v>#N/A</c:v>
                </c:pt>
                <c:pt idx="359">
                  <c:v>#N/A</c:v>
                </c:pt>
                <c:pt idx="360">
                  <c:v>#N/A</c:v>
                </c:pt>
                <c:pt idx="361">
                  <c:v>#N/A</c:v>
                </c:pt>
                <c:pt idx="362">
                  <c:v>312.86993229880699</c:v>
                </c:pt>
                <c:pt idx="363">
                  <c:v>320.54438057375</c:v>
                </c:pt>
                <c:pt idx="364">
                  <c:v>355.519213796386</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322.30862614208002</c:v>
                </c:pt>
                <c:pt idx="378">
                  <c:v>321.41469150469499</c:v>
                </c:pt>
                <c:pt idx="379">
                  <c:v>315.470382703729</c:v>
                </c:pt>
                <c:pt idx="380">
                  <c:v>#N/A</c:v>
                </c:pt>
                <c:pt idx="381">
                  <c:v>#N/A</c:v>
                </c:pt>
                <c:pt idx="382">
                  <c:v>#N/A</c:v>
                </c:pt>
                <c:pt idx="383">
                  <c:v>307.42341138584101</c:v>
                </c:pt>
                <c:pt idx="384">
                  <c:v>#N/A</c:v>
                </c:pt>
                <c:pt idx="385">
                  <c:v>#N/A</c:v>
                </c:pt>
                <c:pt idx="386">
                  <c:v>#N/A</c:v>
                </c:pt>
                <c:pt idx="387">
                  <c:v>#N/A</c:v>
                </c:pt>
                <c:pt idx="388">
                  <c:v>#N/A</c:v>
                </c:pt>
                <c:pt idx="389">
                  <c:v>#N/A</c:v>
                </c:pt>
                <c:pt idx="390">
                  <c:v>#N/A</c:v>
                </c:pt>
                <c:pt idx="391">
                  <c:v>309.50552063365598</c:v>
                </c:pt>
                <c:pt idx="392">
                  <c:v>#N/A</c:v>
                </c:pt>
                <c:pt idx="393">
                  <c:v>#N/A</c:v>
                </c:pt>
                <c:pt idx="394">
                  <c:v>#N/A</c:v>
                </c:pt>
                <c:pt idx="395">
                  <c:v>#N/A</c:v>
                </c:pt>
                <c:pt idx="396">
                  <c:v>#N/A</c:v>
                </c:pt>
                <c:pt idx="397">
                  <c:v>#N/A</c:v>
                </c:pt>
                <c:pt idx="398">
                  <c:v>#N/A</c:v>
                </c:pt>
                <c:pt idx="399">
                  <c:v>#N/A</c:v>
                </c:pt>
                <c:pt idx="400">
                  <c:v>#N/A</c:v>
                </c:pt>
                <c:pt idx="401">
                  <c:v>317.85032222240602</c:v>
                </c:pt>
                <c:pt idx="402">
                  <c:v>316.33097705076102</c:v>
                </c:pt>
                <c:pt idx="403">
                  <c:v>327.979333980663</c:v>
                </c:pt>
                <c:pt idx="404">
                  <c:v>#N/A</c:v>
                </c:pt>
                <c:pt idx="405">
                  <c:v>#N/A</c:v>
                </c:pt>
                <c:pt idx="406">
                  <c:v>330.56942492481102</c:v>
                </c:pt>
                <c:pt idx="407">
                  <c:v>318.54087917292298</c:v>
                </c:pt>
                <c:pt idx="408">
                  <c:v>#N/A</c:v>
                </c:pt>
                <c:pt idx="409">
                  <c:v>#N/A</c:v>
                </c:pt>
                <c:pt idx="410">
                  <c:v>314.81545164542899</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315.04526589279999</c:v>
                </c:pt>
                <c:pt idx="433">
                  <c:v>309.22839313922702</c:v>
                </c:pt>
                <c:pt idx="434">
                  <c:v>312.11938852309402</c:v>
                </c:pt>
                <c:pt idx="435">
                  <c:v>#N/A</c:v>
                </c:pt>
                <c:pt idx="436">
                  <c:v>#N/A</c:v>
                </c:pt>
                <c:pt idx="437">
                  <c:v>#N/A</c:v>
                </c:pt>
                <c:pt idx="438">
                  <c:v>#N/A</c:v>
                </c:pt>
                <c:pt idx="439">
                  <c:v>#N/A</c:v>
                </c:pt>
                <c:pt idx="440">
                  <c:v>#N/A</c:v>
                </c:pt>
                <c:pt idx="441">
                  <c:v>#N/A</c:v>
                </c:pt>
                <c:pt idx="442">
                  <c:v>#N/A</c:v>
                </c:pt>
                <c:pt idx="443">
                  <c:v>#N/A</c:v>
                </c:pt>
                <c:pt idx="444">
                  <c:v>313.70040753977702</c:v>
                </c:pt>
                <c:pt idx="445">
                  <c:v>#N/A</c:v>
                </c:pt>
                <c:pt idx="446">
                  <c:v>#N/A</c:v>
                </c:pt>
                <c:pt idx="447">
                  <c:v>#N/A</c:v>
                </c:pt>
                <c:pt idx="448">
                  <c:v>#N/A</c:v>
                </c:pt>
                <c:pt idx="449">
                  <c:v>#N/A</c:v>
                </c:pt>
                <c:pt idx="450">
                  <c:v>#N/A</c:v>
                </c:pt>
                <c:pt idx="451">
                  <c:v>#N/A</c:v>
                </c:pt>
                <c:pt idx="452">
                  <c:v>#N/A</c:v>
                </c:pt>
                <c:pt idx="453">
                  <c:v>#N/A</c:v>
                </c:pt>
                <c:pt idx="454">
                  <c:v>#N/A</c:v>
                </c:pt>
                <c:pt idx="455">
                  <c:v>0</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322.490968303241</c:v>
                </c:pt>
                <c:pt idx="478">
                  <c:v>#N/A</c:v>
                </c:pt>
                <c:pt idx="479">
                  <c:v>315.23494432243098</c:v>
                </c:pt>
                <c:pt idx="480">
                  <c:v>#N/A</c:v>
                </c:pt>
                <c:pt idx="481">
                  <c:v>#N/A</c:v>
                </c:pt>
                <c:pt idx="482">
                  <c:v>#N/A</c:v>
                </c:pt>
                <c:pt idx="483">
                  <c:v>#N/A</c:v>
                </c:pt>
                <c:pt idx="484">
                  <c:v>#N/A</c:v>
                </c:pt>
                <c:pt idx="485">
                  <c:v>#N/A</c:v>
                </c:pt>
                <c:pt idx="486">
                  <c:v>#N/A</c:v>
                </c:pt>
                <c:pt idx="487">
                  <c:v>#N/A</c:v>
                </c:pt>
                <c:pt idx="488">
                  <c:v>328.96421352403399</c:v>
                </c:pt>
                <c:pt idx="489">
                  <c:v>331.35411941580998</c:v>
                </c:pt>
                <c:pt idx="490">
                  <c:v>#N/A</c:v>
                </c:pt>
                <c:pt idx="491">
                  <c:v>#N/A</c:v>
                </c:pt>
                <c:pt idx="492">
                  <c:v>#N/A</c:v>
                </c:pt>
                <c:pt idx="493">
                  <c:v>358.235174199673</c:v>
                </c:pt>
                <c:pt idx="494">
                  <c:v>#N/A</c:v>
                </c:pt>
                <c:pt idx="495">
                  <c:v>#N/A</c:v>
                </c:pt>
                <c:pt idx="496">
                  <c:v>#N/A</c:v>
                </c:pt>
                <c:pt idx="497">
                  <c:v>#N/A</c:v>
                </c:pt>
                <c:pt idx="498">
                  <c:v>#N/A</c:v>
                </c:pt>
                <c:pt idx="499">
                  <c:v>#N/A</c:v>
                </c:pt>
                <c:pt idx="500">
                  <c:v>315.49397526620697</c:v>
                </c:pt>
                <c:pt idx="501">
                  <c:v>312.07996479633601</c:v>
                </c:pt>
                <c:pt idx="502">
                  <c:v>319.97306717480399</c:v>
                </c:pt>
                <c:pt idx="503">
                  <c:v>321.439479877633</c:v>
                </c:pt>
                <c:pt idx="504">
                  <c:v>324.17536956196301</c:v>
                </c:pt>
                <c:pt idx="505">
                  <c:v>#N/A</c:v>
                </c:pt>
                <c:pt idx="506">
                  <c:v>#N/A</c:v>
                </c:pt>
                <c:pt idx="507">
                  <c:v>#N/A</c:v>
                </c:pt>
                <c:pt idx="508">
                  <c:v>#N/A</c:v>
                </c:pt>
                <c:pt idx="509">
                  <c:v>#N/A</c:v>
                </c:pt>
                <c:pt idx="510">
                  <c:v>#N/A</c:v>
                </c:pt>
                <c:pt idx="511">
                  <c:v>#N/A</c:v>
                </c:pt>
                <c:pt idx="512">
                  <c:v>318.457762005706</c:v>
                </c:pt>
                <c:pt idx="513">
                  <c:v>#N/A</c:v>
                </c:pt>
                <c:pt idx="514">
                  <c:v>309.61478917023197</c:v>
                </c:pt>
                <c:pt idx="515">
                  <c:v>314.53338394560802</c:v>
                </c:pt>
                <c:pt idx="516">
                  <c:v>#N/A</c:v>
                </c:pt>
                <c:pt idx="517">
                  <c:v>312.56085619723501</c:v>
                </c:pt>
                <c:pt idx="518">
                  <c:v>328.49503449581499</c:v>
                </c:pt>
                <c:pt idx="519">
                  <c:v>320.93552785706498</c:v>
                </c:pt>
                <c:pt idx="520">
                  <c:v>#N/A</c:v>
                </c:pt>
                <c:pt idx="521">
                  <c:v>312.32722097260501</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353.30948381561302</c:v>
                </c:pt>
                <c:pt idx="535">
                  <c:v>340.65600117531397</c:v>
                </c:pt>
                <c:pt idx="536">
                  <c:v>327.15887683327003</c:v>
                </c:pt>
                <c:pt idx="537">
                  <c:v>333.54364375611101</c:v>
                </c:pt>
                <c:pt idx="538">
                  <c:v>337.24610147854497</c:v>
                </c:pt>
                <c:pt idx="539">
                  <c:v>329.40320725636599</c:v>
                </c:pt>
                <c:pt idx="540">
                  <c:v>332.40850880355498</c:v>
                </c:pt>
                <c:pt idx="541">
                  <c:v>346.18228643616499</c:v>
                </c:pt>
                <c:pt idx="542">
                  <c:v>#N/A</c:v>
                </c:pt>
                <c:pt idx="543">
                  <c:v>#N/A</c:v>
                </c:pt>
                <c:pt idx="544">
                  <c:v>344.77769278698503</c:v>
                </c:pt>
                <c:pt idx="545">
                  <c:v>341.22230824869899</c:v>
                </c:pt>
                <c:pt idx="546">
                  <c:v>331.84621957300402</c:v>
                </c:pt>
                <c:pt idx="547">
                  <c:v>336.56204992839901</c:v>
                </c:pt>
                <c:pt idx="548">
                  <c:v>#N/A</c:v>
                </c:pt>
                <c:pt idx="549">
                  <c:v>#N/A</c:v>
                </c:pt>
                <c:pt idx="550">
                  <c:v>#N/A</c:v>
                </c:pt>
                <c:pt idx="551">
                  <c:v>318.42320919182703</c:v>
                </c:pt>
                <c:pt idx="552">
                  <c:v>#N/A</c:v>
                </c:pt>
                <c:pt idx="553">
                  <c:v>#N/A</c:v>
                </c:pt>
                <c:pt idx="554">
                  <c:v>#N/A</c:v>
                </c:pt>
                <c:pt idx="555">
                  <c:v>#N/A</c:v>
                </c:pt>
                <c:pt idx="556">
                  <c:v>#N/A</c:v>
                </c:pt>
                <c:pt idx="557">
                  <c:v>#N/A</c:v>
                </c:pt>
                <c:pt idx="558">
                  <c:v>#N/A</c:v>
                </c:pt>
                <c:pt idx="559">
                  <c:v>316.08718935296099</c:v>
                </c:pt>
                <c:pt idx="560">
                  <c:v>319.56921842415602</c:v>
                </c:pt>
                <c:pt idx="561">
                  <c:v>321.95840850629702</c:v>
                </c:pt>
                <c:pt idx="562">
                  <c:v>324.00958837029799</c:v>
                </c:pt>
                <c:pt idx="563">
                  <c:v>337.37422368263799</c:v>
                </c:pt>
                <c:pt idx="564">
                  <c:v>#N/A</c:v>
                </c:pt>
                <c:pt idx="565">
                  <c:v>#N/A</c:v>
                </c:pt>
                <c:pt idx="566">
                  <c:v>339.25855206321</c:v>
                </c:pt>
                <c:pt idx="567">
                  <c:v>334.410664451939</c:v>
                </c:pt>
                <c:pt idx="568">
                  <c:v>#N/A</c:v>
                </c:pt>
                <c:pt idx="569">
                  <c:v>348.37431430050202</c:v>
                </c:pt>
                <c:pt idx="570">
                  <c:v>#N/A</c:v>
                </c:pt>
                <c:pt idx="571">
                  <c:v>349.97792455766898</c:v>
                </c:pt>
                <c:pt idx="572">
                  <c:v>340.10627176837698</c:v>
                </c:pt>
                <c:pt idx="573">
                  <c:v>338.900481463809</c:v>
                </c:pt>
                <c:pt idx="574">
                  <c:v>322.75720855810698</c:v>
                </c:pt>
                <c:pt idx="575">
                  <c:v>324.27937790988801</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0</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328.81984740942801</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331.53224019508701</c:v>
                </c:pt>
                <c:pt idx="633">
                  <c:v>328.23923928910898</c:v>
                </c:pt>
                <c:pt idx="634">
                  <c:v>335.96943591074302</c:v>
                </c:pt>
                <c:pt idx="635">
                  <c:v>325.52072409331703</c:v>
                </c:pt>
                <c:pt idx="636">
                  <c:v>330.25950701319698</c:v>
                </c:pt>
                <c:pt idx="637">
                  <c:v>331.78171217281198</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329.94940122038201</c:v>
                </c:pt>
                <c:pt idx="664">
                  <c:v>#N/A</c:v>
                </c:pt>
                <c:pt idx="665">
                  <c:v>#N/A</c:v>
                </c:pt>
                <c:pt idx="666">
                  <c:v>323.62251650679599</c:v>
                </c:pt>
                <c:pt idx="667">
                  <c:v>334.68821415668799</c:v>
                </c:pt>
                <c:pt idx="668">
                  <c:v>336.62282801946299</c:v>
                </c:pt>
                <c:pt idx="669">
                  <c:v>330.60948348238497</c:v>
                </c:pt>
                <c:pt idx="670">
                  <c:v>#N/A</c:v>
                </c:pt>
                <c:pt idx="671">
                  <c:v>324.33120849213202</c:v>
                </c:pt>
                <c:pt idx="672">
                  <c:v>#N/A</c:v>
                </c:pt>
                <c:pt idx="673">
                  <c:v>325.98751673170898</c:v>
                </c:pt>
                <c:pt idx="674">
                  <c:v>322.85120204339398</c:v>
                </c:pt>
                <c:pt idx="675">
                  <c:v>#N/A</c:v>
                </c:pt>
                <c:pt idx="676">
                  <c:v>#N/A</c:v>
                </c:pt>
                <c:pt idx="677">
                  <c:v>322.42305728865</c:v>
                </c:pt>
                <c:pt idx="678">
                  <c:v>340.13932823045599</c:v>
                </c:pt>
                <c:pt idx="679">
                  <c:v>327.68617605729401</c:v>
                </c:pt>
                <c:pt idx="680">
                  <c:v>#N/A</c:v>
                </c:pt>
                <c:pt idx="681">
                  <c:v>#N/A</c:v>
                </c:pt>
                <c:pt idx="682">
                  <c:v>#N/A</c:v>
                </c:pt>
                <c:pt idx="683">
                  <c:v>#N/A</c:v>
                </c:pt>
                <c:pt idx="684">
                  <c:v>#N/A</c:v>
                </c:pt>
                <c:pt idx="685">
                  <c:v>#N/A</c:v>
                </c:pt>
                <c:pt idx="686">
                  <c:v>321.29601041055599</c:v>
                </c:pt>
                <c:pt idx="687">
                  <c:v>#N/A</c:v>
                </c:pt>
                <c:pt idx="688">
                  <c:v>#N/A</c:v>
                </c:pt>
                <c:pt idx="689">
                  <c:v>323.11566076804303</c:v>
                </c:pt>
                <c:pt idx="690">
                  <c:v>324.92061107594998</c:v>
                </c:pt>
                <c:pt idx="691">
                  <c:v>323.833565904019</c:v>
                </c:pt>
                <c:pt idx="692">
                  <c:v>#N/A</c:v>
                </c:pt>
                <c:pt idx="693">
                  <c:v>332.52192650276402</c:v>
                </c:pt>
                <c:pt idx="694">
                  <c:v>322.383531626425</c:v>
                </c:pt>
                <c:pt idx="695">
                  <c:v>322.275141759409</c:v>
                </c:pt>
                <c:pt idx="696">
                  <c:v>322.70046869559297</c:v>
                </c:pt>
                <c:pt idx="697">
                  <c:v>325.779022206881</c:v>
                </c:pt>
                <c:pt idx="698">
                  <c:v>326.99318740677501</c:v>
                </c:pt>
                <c:pt idx="699">
                  <c:v>322.14416634881002</c:v>
                </c:pt>
                <c:pt idx="700">
                  <c:v>323.71031251999602</c:v>
                </c:pt>
                <c:pt idx="701">
                  <c:v>331.06507475471301</c:v>
                </c:pt>
                <c:pt idx="702">
                  <c:v>#N/A</c:v>
                </c:pt>
                <c:pt idx="703">
                  <c:v>350.57303637148198</c:v>
                </c:pt>
                <c:pt idx="704">
                  <c:v>324.92857364442699</c:v>
                </c:pt>
                <c:pt idx="705">
                  <c:v>325.46749590608101</c:v>
                </c:pt>
                <c:pt idx="706">
                  <c:v>324.00623648569001</c:v>
                </c:pt>
                <c:pt idx="707">
                  <c:v>331.38063586017398</c:v>
                </c:pt>
                <c:pt idx="708">
                  <c:v>334.62529779002602</c:v>
                </c:pt>
                <c:pt idx="709">
                  <c:v>345.97696073246499</c:v>
                </c:pt>
                <c:pt idx="710">
                  <c:v>331.89750419952998</c:v>
                </c:pt>
                <c:pt idx="711">
                  <c:v>331.88679726492097</c:v>
                </c:pt>
                <c:pt idx="712">
                  <c:v>331.02849639295601</c:v>
                </c:pt>
                <c:pt idx="713">
                  <c:v>#N/A</c:v>
                </c:pt>
                <c:pt idx="714">
                  <c:v>#N/A</c:v>
                </c:pt>
                <c:pt idx="715">
                  <c:v>323.409361421401</c:v>
                </c:pt>
                <c:pt idx="716">
                  <c:v>322.07827614417897</c:v>
                </c:pt>
                <c:pt idx="717">
                  <c:v>318.213361992518</c:v>
                </c:pt>
                <c:pt idx="718">
                  <c:v>322.57482291490999</c:v>
                </c:pt>
                <c:pt idx="719">
                  <c:v>323.57713049668502</c:v>
                </c:pt>
                <c:pt idx="720">
                  <c:v>324.77705518667801</c:v>
                </c:pt>
                <c:pt idx="721">
                  <c:v>325.00218155725003</c:v>
                </c:pt>
                <c:pt idx="722">
                  <c:v>323.64730670914003</c:v>
                </c:pt>
                <c:pt idx="723">
                  <c:v>326.67519612125199</c:v>
                </c:pt>
                <c:pt idx="724">
                  <c:v>331.171647625898</c:v>
                </c:pt>
                <c:pt idx="725">
                  <c:v>#N/A</c:v>
                </c:pt>
                <c:pt idx="726">
                  <c:v>#N/A</c:v>
                </c:pt>
                <c:pt idx="727">
                  <c:v>#N/A</c:v>
                </c:pt>
                <c:pt idx="728">
                  <c:v>#N/A</c:v>
                </c:pt>
                <c:pt idx="729">
                  <c:v>328.00880830653898</c:v>
                </c:pt>
                <c:pt idx="730">
                  <c:v>325.92545019233103</c:v>
                </c:pt>
                <c:pt idx="731">
                  <c:v>327.02947503205201</c:v>
                </c:pt>
                <c:pt idx="732">
                  <c:v>327.98615324554419</c:v>
                </c:pt>
                <c:pt idx="733">
                  <c:v>331.91309908129693</c:v>
                </c:pt>
                <c:pt idx="734">
                  <c:v>329.6986942958232</c:v>
                </c:pt>
                <c:pt idx="735">
                  <c:v>329.24764649261476</c:v>
                </c:pt>
                <c:pt idx="736">
                  <c:v>329.82358255706964</c:v>
                </c:pt>
                <c:pt idx="737">
                  <c:v>331.60453548391382</c:v>
                </c:pt>
                <c:pt idx="738">
                  <c:v>331.697248358781</c:v>
                </c:pt>
                <c:pt idx="739">
                  <c:v>331.44137253874794</c:v>
                </c:pt>
                <c:pt idx="740">
                  <c:v>333.46662253900115</c:v>
                </c:pt>
                <c:pt idx="741">
                  <c:v>#N/A</c:v>
                </c:pt>
                <c:pt idx="742">
                  <c:v>#N/A</c:v>
                </c:pt>
                <c:pt idx="743">
                  <c:v>#N/A</c:v>
                </c:pt>
                <c:pt idx="744">
                  <c:v>322.89115425276418</c:v>
                </c:pt>
                <c:pt idx="745">
                  <c:v>321.56479120795314</c:v>
                </c:pt>
                <c:pt idx="746">
                  <c:v>320.47087049700474</c:v>
                </c:pt>
                <c:pt idx="747">
                  <c:v>320.43056626890245</c:v>
                </c:pt>
                <c:pt idx="748">
                  <c:v>325.8439884100585</c:v>
                </c:pt>
                <c:pt idx="749">
                  <c:v>321.12679900366663</c:v>
                </c:pt>
                <c:pt idx="750">
                  <c:v>#N/A</c:v>
                </c:pt>
                <c:pt idx="751">
                  <c:v>#N/A</c:v>
                </c:pt>
                <c:pt idx="752">
                  <c:v>327.21635147926412</c:v>
                </c:pt>
                <c:pt idx="753">
                  <c:v>318.95857410987531</c:v>
                </c:pt>
                <c:pt idx="754">
                  <c:v>321.05170679856712</c:v>
                </c:pt>
                <c:pt idx="755">
                  <c:v>319.381077127612</c:v>
                </c:pt>
                <c:pt idx="756">
                  <c:v>320.58861044353853</c:v>
                </c:pt>
                <c:pt idx="757">
                  <c:v>#N/A</c:v>
                </c:pt>
                <c:pt idx="758">
                  <c:v>#N/A</c:v>
                </c:pt>
                <c:pt idx="759">
                  <c:v>#N/A</c:v>
                </c:pt>
                <c:pt idx="760">
                  <c:v>324.04834042783534</c:v>
                </c:pt>
                <c:pt idx="761">
                  <c:v>323.76464679295015</c:v>
                </c:pt>
                <c:pt idx="762">
                  <c:v>#N/A</c:v>
                </c:pt>
                <c:pt idx="763">
                  <c:v>#N/A</c:v>
                </c:pt>
                <c:pt idx="764">
                  <c:v>#N/A</c:v>
                </c:pt>
                <c:pt idx="765">
                  <c:v>#N/A</c:v>
                </c:pt>
                <c:pt idx="766">
                  <c:v>#N/A</c:v>
                </c:pt>
                <c:pt idx="767">
                  <c:v>#N/A</c:v>
                </c:pt>
                <c:pt idx="768">
                  <c:v>#N/A</c:v>
                </c:pt>
                <c:pt idx="769">
                  <c:v>#N/A</c:v>
                </c:pt>
                <c:pt idx="770">
                  <c:v>#N/A</c:v>
                </c:pt>
                <c:pt idx="771">
                  <c:v>335.41263828378538</c:v>
                </c:pt>
                <c:pt idx="772">
                  <c:v>#N/A</c:v>
                </c:pt>
                <c:pt idx="773">
                  <c:v>#N/A</c:v>
                </c:pt>
                <c:pt idx="774">
                  <c:v>314.61319538084967</c:v>
                </c:pt>
                <c:pt idx="775">
                  <c:v>318.73176096679055</c:v>
                </c:pt>
                <c:pt idx="776">
                  <c:v>317.28133237772818</c:v>
                </c:pt>
                <c:pt idx="777">
                  <c:v>#N/A</c:v>
                </c:pt>
                <c:pt idx="778">
                  <c:v>#N/A</c:v>
                </c:pt>
                <c:pt idx="779">
                  <c:v>#N/A</c:v>
                </c:pt>
                <c:pt idx="780">
                  <c:v>320.67681476205451</c:v>
                </c:pt>
                <c:pt idx="781">
                  <c:v>321.84599489771392</c:v>
                </c:pt>
                <c:pt idx="782">
                  <c:v>324.28290917908612</c:v>
                </c:pt>
                <c:pt idx="783">
                  <c:v>320.57347109189095</c:v>
                </c:pt>
                <c:pt idx="784">
                  <c:v>#N/A</c:v>
                </c:pt>
                <c:pt idx="785">
                  <c:v>#N/A</c:v>
                </c:pt>
                <c:pt idx="786">
                  <c:v>329.88085625035296</c:v>
                </c:pt>
                <c:pt idx="787">
                  <c:v>#N/A</c:v>
                </c:pt>
                <c:pt idx="788">
                  <c:v>#N/A</c:v>
                </c:pt>
                <c:pt idx="789">
                  <c:v>#N/A</c:v>
                </c:pt>
                <c:pt idx="790">
                  <c:v>#N/A</c:v>
                </c:pt>
                <c:pt idx="791">
                  <c:v>342.66852826155377</c:v>
                </c:pt>
                <c:pt idx="792">
                  <c:v>323.7009718669409</c:v>
                </c:pt>
                <c:pt idx="793">
                  <c:v>327.83721174654545</c:v>
                </c:pt>
                <c:pt idx="794">
                  <c:v>330.29023389177769</c:v>
                </c:pt>
                <c:pt idx="795">
                  <c:v>326.55623929270973</c:v>
                </c:pt>
                <c:pt idx="796">
                  <c:v>#N/A</c:v>
                </c:pt>
                <c:pt idx="797">
                  <c:v>#N/A</c:v>
                </c:pt>
                <c:pt idx="798">
                  <c:v>#N/A</c:v>
                </c:pt>
                <c:pt idx="799">
                  <c:v>#N/A</c:v>
                </c:pt>
                <c:pt idx="800">
                  <c:v>#N/A</c:v>
                </c:pt>
                <c:pt idx="801">
                  <c:v>#N/A</c:v>
                </c:pt>
                <c:pt idx="802">
                  <c:v>324.55954190243619</c:v>
                </c:pt>
                <c:pt idx="803">
                  <c:v>332.5976694967448</c:v>
                </c:pt>
                <c:pt idx="804">
                  <c:v>330.59209518617092</c:v>
                </c:pt>
                <c:pt idx="805">
                  <c:v>329.89987024936318</c:v>
                </c:pt>
                <c:pt idx="806">
                  <c:v>#N/A</c:v>
                </c:pt>
                <c:pt idx="807">
                  <c:v>#N/A</c:v>
                </c:pt>
                <c:pt idx="808">
                  <c:v>#N/A</c:v>
                </c:pt>
                <c:pt idx="809">
                  <c:v>334.53350120989228</c:v>
                </c:pt>
                <c:pt idx="810">
                  <c:v>342.9703897244172</c:v>
                </c:pt>
                <c:pt idx="811">
                  <c:v>346.44826512233254</c:v>
                </c:pt>
                <c:pt idx="812">
                  <c:v>351.29048252629366</c:v>
                </c:pt>
                <c:pt idx="813">
                  <c:v>#N/A</c:v>
                </c:pt>
                <c:pt idx="814">
                  <c:v>#N/A</c:v>
                </c:pt>
                <c:pt idx="815">
                  <c:v>#N/A</c:v>
                </c:pt>
                <c:pt idx="816">
                  <c:v>#N/A</c:v>
                </c:pt>
                <c:pt idx="817">
                  <c:v>337.0626877207377</c:v>
                </c:pt>
                <c:pt idx="818">
                  <c:v>328.74543919126847</c:v>
                </c:pt>
                <c:pt idx="819">
                  <c:v>332.26495212009786</c:v>
                </c:pt>
                <c:pt idx="820">
                  <c:v>334.93217065403138</c:v>
                </c:pt>
                <c:pt idx="821">
                  <c:v>325.88789138129926</c:v>
                </c:pt>
                <c:pt idx="822">
                  <c:v>#N/A</c:v>
                </c:pt>
                <c:pt idx="823">
                  <c:v>#N/A</c:v>
                </c:pt>
                <c:pt idx="824">
                  <c:v>341.92197502049447</c:v>
                </c:pt>
                <c:pt idx="825">
                  <c:v>343.38293211347377</c:v>
                </c:pt>
                <c:pt idx="826">
                  <c:v>#N/A</c:v>
                </c:pt>
                <c:pt idx="827">
                  <c:v>#N/A</c:v>
                </c:pt>
                <c:pt idx="828">
                  <c:v>#N/A</c:v>
                </c:pt>
                <c:pt idx="829">
                  <c:v>#N/A</c:v>
                </c:pt>
                <c:pt idx="830">
                  <c:v>#N/A</c:v>
                </c:pt>
                <c:pt idx="831">
                  <c:v>#N/A</c:v>
                </c:pt>
                <c:pt idx="832">
                  <c:v>#N/A</c:v>
                </c:pt>
                <c:pt idx="833">
                  <c:v>#N/A</c:v>
                </c:pt>
                <c:pt idx="834">
                  <c:v>356.88989279571331</c:v>
                </c:pt>
                <c:pt idx="835">
                  <c:v>#N/A</c:v>
                </c:pt>
                <c:pt idx="836">
                  <c:v>#N/A</c:v>
                </c:pt>
                <c:pt idx="837">
                  <c:v>#N/A</c:v>
                </c:pt>
                <c:pt idx="838">
                  <c:v>326.49343615956701</c:v>
                </c:pt>
                <c:pt idx="839">
                  <c:v>323.84754457824675</c:v>
                </c:pt>
                <c:pt idx="840">
                  <c:v>#N/A</c:v>
                </c:pt>
                <c:pt idx="841">
                  <c:v>#N/A</c:v>
                </c:pt>
                <c:pt idx="842">
                  <c:v>#N/A</c:v>
                </c:pt>
                <c:pt idx="843">
                  <c:v>#N/A</c:v>
                </c:pt>
                <c:pt idx="844">
                  <c:v>#N/A</c:v>
                </c:pt>
                <c:pt idx="845">
                  <c:v>#N/A</c:v>
                </c:pt>
                <c:pt idx="846">
                  <c:v>332.91573472069751</c:v>
                </c:pt>
                <c:pt idx="847">
                  <c:v>341.71502160931612</c:v>
                </c:pt>
                <c:pt idx="848">
                  <c:v>332.73758865295446</c:v>
                </c:pt>
                <c:pt idx="849">
                  <c:v>328.66400162920559</c:v>
                </c:pt>
                <c:pt idx="850">
                  <c:v>#N/A</c:v>
                </c:pt>
                <c:pt idx="851">
                  <c:v>327.85001756729537</c:v>
                </c:pt>
                <c:pt idx="852">
                  <c:v>323.10945570653132</c:v>
                </c:pt>
                <c:pt idx="853">
                  <c:v>343.70304697589307</c:v>
                </c:pt>
                <c:pt idx="854">
                  <c:v>#N/A</c:v>
                </c:pt>
                <c:pt idx="855">
                  <c:v>333.65593260767577</c:v>
                </c:pt>
                <c:pt idx="856">
                  <c:v>334.16512349482815</c:v>
                </c:pt>
                <c:pt idx="857">
                  <c:v>335.4471686821567</c:v>
                </c:pt>
                <c:pt idx="858">
                  <c:v>333.2721119904474</c:v>
                </c:pt>
                <c:pt idx="859">
                  <c:v>330.82663538250438</c:v>
                </c:pt>
                <c:pt idx="860">
                  <c:v>#N/A</c:v>
                </c:pt>
                <c:pt idx="861">
                  <c:v>#N/A</c:v>
                </c:pt>
                <c:pt idx="862">
                  <c:v>#N/A</c:v>
                </c:pt>
                <c:pt idx="863">
                  <c:v>365.98254032217886</c:v>
                </c:pt>
                <c:pt idx="864">
                  <c:v>#N/A</c:v>
                </c:pt>
                <c:pt idx="865">
                  <c:v>#N/A</c:v>
                </c:pt>
                <c:pt idx="866">
                  <c:v>#N/A</c:v>
                </c:pt>
                <c:pt idx="867">
                  <c:v>#N/A</c:v>
                </c:pt>
                <c:pt idx="868">
                  <c:v>326.80509471935807</c:v>
                </c:pt>
                <c:pt idx="869">
                  <c:v>#N/A</c:v>
                </c:pt>
                <c:pt idx="870">
                  <c:v>#N/A</c:v>
                </c:pt>
                <c:pt idx="871">
                  <c:v>#N/A</c:v>
                </c:pt>
                <c:pt idx="872">
                  <c:v>#N/A</c:v>
                </c:pt>
                <c:pt idx="873">
                  <c:v>324.31872018409842</c:v>
                </c:pt>
                <c:pt idx="874">
                  <c:v>327.95439886159949</c:v>
                </c:pt>
                <c:pt idx="875">
                  <c:v>327.95439886159949</c:v>
                </c:pt>
                <c:pt idx="876">
                  <c:v>#N/A</c:v>
                </c:pt>
                <c:pt idx="877">
                  <c:v>327.73251725066439</c:v>
                </c:pt>
                <c:pt idx="878">
                  <c:v>327.60772295880236</c:v>
                </c:pt>
                <c:pt idx="879">
                  <c:v>325.85610434938991</c:v>
                </c:pt>
                <c:pt idx="880">
                  <c:v>321.07455154237505</c:v>
                </c:pt>
                <c:pt idx="881">
                  <c:v>323.98619119743597</c:v>
                </c:pt>
                <c:pt idx="882">
                  <c:v>321.64377939126547</c:v>
                </c:pt>
                <c:pt idx="883">
                  <c:v>330.8921074711144</c:v>
                </c:pt>
                <c:pt idx="884">
                  <c:v>#N/A</c:v>
                </c:pt>
                <c:pt idx="885">
                  <c:v>#N/A</c:v>
                </c:pt>
                <c:pt idx="886">
                  <c:v>341.63648177733444</c:v>
                </c:pt>
                <c:pt idx="887">
                  <c:v>335.82292833370445</c:v>
                </c:pt>
                <c:pt idx="888">
                  <c:v>329.73408750793118</c:v>
                </c:pt>
                <c:pt idx="889">
                  <c:v>329.27216716493945</c:v>
                </c:pt>
                <c:pt idx="890">
                  <c:v>328.79702784549033</c:v>
                </c:pt>
                <c:pt idx="891">
                  <c:v>331.89705199841944</c:v>
                </c:pt>
                <c:pt idx="892">
                  <c:v>332.93641052185467</c:v>
                </c:pt>
                <c:pt idx="893">
                  <c:v>334.7837312780909</c:v>
                </c:pt>
                <c:pt idx="894">
                  <c:v>333.61437335448534</c:v>
                </c:pt>
                <c:pt idx="895">
                  <c:v>333.78090297889003</c:v>
                </c:pt>
                <c:pt idx="896">
                  <c:v>#N/A</c:v>
                </c:pt>
                <c:pt idx="897">
                  <c:v>#N/A</c:v>
                </c:pt>
                <c:pt idx="898">
                  <c:v>334.11796074721224</c:v>
                </c:pt>
                <c:pt idx="899">
                  <c:v>344.59181760332194</c:v>
                </c:pt>
                <c:pt idx="900">
                  <c:v>328.90343143081316</c:v>
                </c:pt>
                <c:pt idx="901">
                  <c:v>#N/A</c:v>
                </c:pt>
                <c:pt idx="902">
                  <c:v>335.21463445487967</c:v>
                </c:pt>
                <c:pt idx="903">
                  <c:v>#N/A</c:v>
                </c:pt>
                <c:pt idx="904">
                  <c:v>327.83941639504764</c:v>
                </c:pt>
                <c:pt idx="905">
                  <c:v>330.47326356749801</c:v>
                </c:pt>
                <c:pt idx="906">
                  <c:v>334.9232215311622</c:v>
                </c:pt>
                <c:pt idx="907">
                  <c:v>336.6200279755422</c:v>
                </c:pt>
                <c:pt idx="908">
                  <c:v>340.54027045596962</c:v>
                </c:pt>
                <c:pt idx="909">
                  <c:v>#N/A</c:v>
                </c:pt>
                <c:pt idx="910">
                  <c:v>#N/A</c:v>
                </c:pt>
                <c:pt idx="911">
                  <c:v>#N/A</c:v>
                </c:pt>
                <c:pt idx="912">
                  <c:v>#N/A</c:v>
                </c:pt>
                <c:pt idx="913">
                  <c:v>340.1854532472413</c:v>
                </c:pt>
                <c:pt idx="914">
                  <c:v>327.48505403439253</c:v>
                </c:pt>
                <c:pt idx="915">
                  <c:v>326.98340675732078</c:v>
                </c:pt>
                <c:pt idx="916">
                  <c:v>#N/A</c:v>
                </c:pt>
                <c:pt idx="917">
                  <c:v>#N/A</c:v>
                </c:pt>
                <c:pt idx="918">
                  <c:v>#N/A</c:v>
                </c:pt>
                <c:pt idx="919">
                  <c:v>#N/A</c:v>
                </c:pt>
                <c:pt idx="920">
                  <c:v>#N/A</c:v>
                </c:pt>
                <c:pt idx="921">
                  <c:v>#N/A</c:v>
                </c:pt>
                <c:pt idx="922">
                  <c:v>#N/A</c:v>
                </c:pt>
                <c:pt idx="923">
                  <c:v>#N/A</c:v>
                </c:pt>
                <c:pt idx="924">
                  <c:v>#N/A</c:v>
                </c:pt>
                <c:pt idx="925">
                  <c:v>#N/A</c:v>
                </c:pt>
                <c:pt idx="926">
                  <c:v>356.68256647528045</c:v>
                </c:pt>
                <c:pt idx="927">
                  <c:v>#N/A</c:v>
                </c:pt>
                <c:pt idx="928">
                  <c:v>324.33002531674151</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326.90255243786447</c:v>
                </c:pt>
                <c:pt idx="946">
                  <c:v>#N/A</c:v>
                </c:pt>
                <c:pt idx="947">
                  <c:v>#N/A</c:v>
                </c:pt>
                <c:pt idx="948">
                  <c:v>#N/A</c:v>
                </c:pt>
                <c:pt idx="949">
                  <c:v>335.48053510658787</c:v>
                </c:pt>
                <c:pt idx="950">
                  <c:v>331.59810150717436</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324.02797688890598</c:v>
                </c:pt>
                <c:pt idx="983">
                  <c:v>#N/A</c:v>
                </c:pt>
                <c:pt idx="984">
                  <c:v>334.6057440668398</c:v>
                </c:pt>
                <c:pt idx="985">
                  <c:v>#N/A</c:v>
                </c:pt>
                <c:pt idx="986">
                  <c:v>339.6743061941001</c:v>
                </c:pt>
                <c:pt idx="987">
                  <c:v>357.5049593897179</c:v>
                </c:pt>
                <c:pt idx="988">
                  <c:v>345.33580928382798</c:v>
                </c:pt>
                <c:pt idx="989">
                  <c:v>328.07669719541622</c:v>
                </c:pt>
                <c:pt idx="990">
                  <c:v>324.63347426332695</c:v>
                </c:pt>
                <c:pt idx="991">
                  <c:v>325.11267108754981</c:v>
                </c:pt>
                <c:pt idx="992">
                  <c:v>326.16574691967537</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349.55311870237193</c:v>
                </c:pt>
                <c:pt idx="1071">
                  <c:v>#N/A</c:v>
                </c:pt>
                <c:pt idx="1072">
                  <c:v>#N/A</c:v>
                </c:pt>
                <c:pt idx="1073">
                  <c:v>#N/A</c:v>
                </c:pt>
                <c:pt idx="1074">
                  <c:v>#N/A</c:v>
                </c:pt>
                <c:pt idx="1075">
                  <c:v>356.14230981340916</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numCache>
            </c:numRef>
          </c:yVal>
          <c:smooth val="0"/>
          <c:extLst>
            <c:ext xmlns:c16="http://schemas.microsoft.com/office/drawing/2014/chart" uri="{C3380CC4-5D6E-409C-BE32-E72D297353CC}">
              <c16:uniqueId val="{00000000-30B5-42FE-B841-21DBDF2F2D6F}"/>
            </c:ext>
          </c:extLst>
        </c:ser>
        <c:dLbls>
          <c:showLegendKey val="0"/>
          <c:showVal val="0"/>
          <c:showCatName val="0"/>
          <c:showSerName val="0"/>
          <c:showPercent val="0"/>
          <c:showBubbleSize val="0"/>
        </c:dLbls>
        <c:axId val="1073691487"/>
        <c:axId val="1073679007"/>
      </c:scatterChart>
      <c:valAx>
        <c:axId val="1073691487"/>
        <c:scaling>
          <c:orientation val="minMax"/>
          <c:min val="0.4990000000000000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3679007"/>
        <c:crosses val="autoZero"/>
        <c:crossBetween val="midCat"/>
      </c:valAx>
      <c:valAx>
        <c:axId val="1073679007"/>
        <c:scaling>
          <c:orientation val="minMax"/>
          <c:max val="380"/>
          <c:min val="3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3691487"/>
        <c:crosses val="autoZero"/>
        <c:crossBetween val="midCat"/>
      </c:valAx>
      <c:spPr>
        <a:noFill/>
        <a:ln>
          <a:noFill/>
        </a:ln>
        <a:effectLst/>
      </c:spPr>
    </c:plotArea>
    <c:plotVisOnly val="1"/>
    <c:dispBlanksAs val="gap"/>
    <c:showDLblsOverMax val="0"/>
  </c:chart>
  <c:spPr>
    <a:noFill/>
    <a:ln w="9525">
      <a:solidFill>
        <a:schemeClr val="tx2"/>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dirty="0" smtClean="0">
                <a:solidFill>
                  <a:prstClr val="black">
                    <a:lumMod val="65000"/>
                    <a:lumOff val="35000"/>
                  </a:prstClr>
                </a:solidFill>
                <a:latin typeface="+mn-lt"/>
                <a:ea typeface="+mn-ea"/>
                <a:cs typeface="+mn-cs"/>
              </a:rPr>
              <a:t>Coke (kg) v/s Hot metal temp(</a:t>
            </a:r>
            <a:r>
              <a:rPr lang="en-US" sz="1400" b="0" i="0" u="none" strike="noStrike" baseline="0" dirty="0" smtClean="0">
                <a:effectLst/>
              </a:rPr>
              <a:t>°C</a:t>
            </a:r>
            <a:r>
              <a:rPr lang="en-US" sz="1400" b="0" i="0" u="none" strike="noStrike" kern="1200" spc="0" baseline="0" dirty="0" smtClean="0">
                <a:solidFill>
                  <a:prstClr val="black">
                    <a:lumMod val="65000"/>
                    <a:lumOff val="35000"/>
                  </a:prstClr>
                </a:solidFill>
                <a:latin typeface="+mn-lt"/>
                <a:ea typeface="+mn-ea"/>
                <a:cs typeface="+mn-cs"/>
              </a:rPr>
              <a:t>)</a:t>
            </a:r>
            <a:endParaRPr lang="en-US" sz="1400" b="0" i="0" u="none" strike="noStrike" kern="1200" spc="0" baseline="0" dirty="0">
              <a:solidFill>
                <a:prstClr val="black">
                  <a:lumMod val="65000"/>
                  <a:lumOff val="35000"/>
                </a:prstClr>
              </a:solidFill>
              <a:latin typeface="+mn-lt"/>
              <a:ea typeface="+mn-ea"/>
              <a:cs typeface="+mn-cs"/>
            </a:endParaRPr>
          </a:p>
        </c:rich>
      </c:tx>
      <c:layout>
        <c:manualLayout>
          <c:xMode val="edge"/>
          <c:yMode val="edge"/>
          <c:x val="0.15640590294699716"/>
          <c:y val="7.202457682725500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222255146668953"/>
          <c:y val="0.25993669776956335"/>
          <c:w val="0.80523452468692525"/>
          <c:h val="0.56577630300682757"/>
        </c:manualLayout>
      </c:layout>
      <c:scatterChart>
        <c:scatterStyle val="lineMarker"/>
        <c:varyColors val="0"/>
        <c:ser>
          <c:idx val="0"/>
          <c:order val="0"/>
          <c:tx>
            <c:strRef>
              <c:f>'Parameters ranges for ANN step1'!$AM$1:$AM$2</c:f>
              <c:strCache>
                <c:ptCount val="2"/>
                <c:pt idx="0">
                  <c:v>CDI</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H$3:$H$1137</c:f>
              <c:numCache>
                <c:formatCode>0</c:formatCode>
                <c:ptCount val="1135"/>
                <c:pt idx="0">
                  <c:v>1516.4215815036478</c:v>
                </c:pt>
                <c:pt idx="1">
                  <c:v>1507.1332037470527</c:v>
                </c:pt>
                <c:pt idx="2">
                  <c:v>1514.3284402827601</c:v>
                </c:pt>
                <c:pt idx="3">
                  <c:v>1507.2575061253342</c:v>
                </c:pt>
                <c:pt idx="4">
                  <c:v>1513.5458327079896</c:v>
                </c:pt>
                <c:pt idx="5">
                  <c:v>1529.7269305117827</c:v>
                </c:pt>
                <c:pt idx="6">
                  <c:v>1528.2445904051751</c:v>
                </c:pt>
                <c:pt idx="7">
                  <c:v>1520.6929039096058</c:v>
                </c:pt>
                <c:pt idx="8">
                  <c:v>1528.1431135844284</c:v>
                </c:pt>
                <c:pt idx="9">
                  <c:v>1509.321271194292</c:v>
                </c:pt>
                <c:pt idx="10">
                  <c:v>1515.6842635803005</c:v>
                </c:pt>
                <c:pt idx="11">
                  <c:v>1522.4387990807022</c:v>
                </c:pt>
                <c:pt idx="12">
                  <c:v>1521.1149342865024</c:v>
                </c:pt>
                <c:pt idx="13">
                  <c:v>1529.5674324080478</c:v>
                </c:pt>
                <c:pt idx="14">
                  <c:v>1511.6978593994395</c:v>
                </c:pt>
                <c:pt idx="15">
                  <c:v>1518.1180454464009</c:v>
                </c:pt>
                <c:pt idx="16">
                  <c:v>1513.5277316704951</c:v>
                </c:pt>
                <c:pt idx="17">
                  <c:v>1513.8716528851794</c:v>
                </c:pt>
                <c:pt idx="18">
                  <c:v>1512.2218554355436</c:v>
                </c:pt>
                <c:pt idx="19">
                  <c:v>1508.4882949002101</c:v>
                </c:pt>
                <c:pt idx="20">
                  <c:v>1500.9779964175659</c:v>
                </c:pt>
                <c:pt idx="21">
                  <c:v>1491.5020993563983</c:v>
                </c:pt>
                <c:pt idx="22">
                  <c:v>1504.2992559486631</c:v>
                </c:pt>
                <c:pt idx="23">
                  <c:v>1503.8668338849184</c:v>
                </c:pt>
                <c:pt idx="24">
                  <c:v>1509.4592974729856</c:v>
                </c:pt>
                <c:pt idx="25">
                  <c:v>1507.7302694050459</c:v>
                </c:pt>
                <c:pt idx="26">
                  <c:v>1514.719590921015</c:v>
                </c:pt>
                <c:pt idx="27">
                  <c:v>1505.230204740272</c:v>
                </c:pt>
                <c:pt idx="28">
                  <c:v>1495.9236101414544</c:v>
                </c:pt>
                <c:pt idx="29">
                  <c:v>1515.0782318059398</c:v>
                </c:pt>
                <c:pt idx="30">
                  <c:v>1511.2229519095015</c:v>
                </c:pt>
                <c:pt idx="31">
                  <c:v>1503.3025057173613</c:v>
                </c:pt>
                <c:pt idx="32">
                  <c:v>1497.6519418304395</c:v>
                </c:pt>
                <c:pt idx="33">
                  <c:v>1509.089615207406</c:v>
                </c:pt>
                <c:pt idx="34">
                  <c:v>1521.8876127323992</c:v>
                </c:pt>
                <c:pt idx="35">
                  <c:v>1492.9834097110979</c:v>
                </c:pt>
                <c:pt idx="36">
                  <c:v>1512.1240425342328</c:v>
                </c:pt>
                <c:pt idx="37">
                  <c:v>1518.9046724840639</c:v>
                </c:pt>
                <c:pt idx="38">
                  <c:v>1509.4473309176178</c:v>
                </c:pt>
                <c:pt idx="39">
                  <c:v>1512.5012673494018</c:v>
                </c:pt>
                <c:pt idx="40">
                  <c:v>1514.5880796808976</c:v>
                </c:pt>
                <c:pt idx="41">
                  <c:v>1504.9035727993303</c:v>
                </c:pt>
                <c:pt idx="42">
                  <c:v>1516.9856217751906</c:v>
                </c:pt>
                <c:pt idx="43">
                  <c:v>1506.555561073784</c:v>
                </c:pt>
                <c:pt idx="44">
                  <c:v>1479.5182461984182</c:v>
                </c:pt>
                <c:pt idx="45">
                  <c:v>1472.0791678670396</c:v>
                </c:pt>
                <c:pt idx="46">
                  <c:v>1509.7889847494368</c:v>
                </c:pt>
                <c:pt idx="47">
                  <c:v>1510.2473585536718</c:v>
                </c:pt>
                <c:pt idx="48">
                  <c:v>1503.8744901185478</c:v>
                </c:pt>
                <c:pt idx="49">
                  <c:v>1504.4586913904623</c:v>
                </c:pt>
                <c:pt idx="50">
                  <c:v>1501.9503153567937</c:v>
                </c:pt>
                <c:pt idx="51">
                  <c:v>1509.017959399471</c:v>
                </c:pt>
                <c:pt idx="52">
                  <c:v>1504.0660640118231</c:v>
                </c:pt>
                <c:pt idx="53">
                  <c:v>1496.1242438083329</c:v>
                </c:pt>
                <c:pt idx="54">
                  <c:v>1509.7590445593921</c:v>
                </c:pt>
                <c:pt idx="55">
                  <c:v>1495.3967756881084</c:v>
                </c:pt>
                <c:pt idx="56">
                  <c:v>1509.873660210136</c:v>
                </c:pt>
                <c:pt idx="57">
                  <c:v>1503.9271805100295</c:v>
                </c:pt>
                <c:pt idx="58">
                  <c:v>1503.7615356563801</c:v>
                </c:pt>
                <c:pt idx="59">
                  <c:v>1520.1711091455136</c:v>
                </c:pt>
                <c:pt idx="60">
                  <c:v>1509.3810150012632</c:v>
                </c:pt>
                <c:pt idx="61">
                  <c:v>1506.1591007342947</c:v>
                </c:pt>
                <c:pt idx="62">
                  <c:v>1515.6690746234804</c:v>
                </c:pt>
                <c:pt idx="63">
                  <c:v>1514.8275550586745</c:v>
                </c:pt>
                <c:pt idx="64">
                  <c:v>1513.7087201800371</c:v>
                </c:pt>
                <c:pt idx="65">
                  <c:v>1511.841761285631</c:v>
                </c:pt>
                <c:pt idx="66">
                  <c:v>1499.2959648270009</c:v>
                </c:pt>
                <c:pt idx="67">
                  <c:v>1499.9367134973456</c:v>
                </c:pt>
                <c:pt idx="68">
                  <c:v>1493.5310361353393</c:v>
                </c:pt>
                <c:pt idx="69">
                  <c:v>1504.4437586671845</c:v>
                </c:pt>
                <c:pt idx="70">
                  <c:v>1511.6526480083776</c:v>
                </c:pt>
                <c:pt idx="71">
                  <c:v>1507.7374578330541</c:v>
                </c:pt>
                <c:pt idx="72">
                  <c:v>1505.4034612467199</c:v>
                </c:pt>
                <c:pt idx="73">
                  <c:v>1503.6884638323811</c:v>
                </c:pt>
                <c:pt idx="74">
                  <c:v>1508.8910802688238</c:v>
                </c:pt>
                <c:pt idx="75">
                  <c:v>1511.911222105361</c:v>
                </c:pt>
                <c:pt idx="76">
                  <c:v>1510.8214871844593</c:v>
                </c:pt>
                <c:pt idx="77">
                  <c:v>1495.4567115054092</c:v>
                </c:pt>
                <c:pt idx="78">
                  <c:v>1498.2000868304549</c:v>
                </c:pt>
                <c:pt idx="79">
                  <c:v>1508.1354795523084</c:v>
                </c:pt>
                <c:pt idx="80">
                  <c:v>1500.3928564381833</c:v>
                </c:pt>
                <c:pt idx="81">
                  <c:v>1503.8262197330735</c:v>
                </c:pt>
                <c:pt idx="82">
                  <c:v>1515.9918788090063</c:v>
                </c:pt>
                <c:pt idx="83">
                  <c:v>1509.9919091807717</c:v>
                </c:pt>
                <c:pt idx="84">
                  <c:v>1518.0834726965472</c:v>
                </c:pt>
                <c:pt idx="85">
                  <c:v>1499.9928433807495</c:v>
                </c:pt>
                <c:pt idx="86">
                  <c:v>1496.5586024910247</c:v>
                </c:pt>
                <c:pt idx="87">
                  <c:v>1491.7400060388268</c:v>
                </c:pt>
                <c:pt idx="88">
                  <c:v>1494.0250307277183</c:v>
                </c:pt>
                <c:pt idx="89">
                  <c:v>1481.3127898847245</c:v>
                </c:pt>
                <c:pt idx="90">
                  <c:v>1494.825002087349</c:v>
                </c:pt>
                <c:pt idx="91">
                  <c:v>1498.637819767478</c:v>
                </c:pt>
                <c:pt idx="92">
                  <c:v>1496.87146568297</c:v>
                </c:pt>
                <c:pt idx="93">
                  <c:v>1494.4025947790144</c:v>
                </c:pt>
                <c:pt idx="94">
                  <c:v>1495.4721605128461</c:v>
                </c:pt>
                <c:pt idx="95">
                  <c:v>1491.9566890047859</c:v>
                </c:pt>
                <c:pt idx="96">
                  <c:v>1494.665598797807</c:v>
                </c:pt>
                <c:pt idx="97">
                  <c:v>1500.438600238519</c:v>
                </c:pt>
                <c:pt idx="98">
                  <c:v>1484.8813885567902</c:v>
                </c:pt>
                <c:pt idx="99">
                  <c:v>1496.5654262548646</c:v>
                </c:pt>
                <c:pt idx="100">
                  <c:v>1497.2752844192855</c:v>
                </c:pt>
                <c:pt idx="101">
                  <c:v>1504.9267148830897</c:v>
                </c:pt>
                <c:pt idx="102">
                  <c:v>1498.0158290927959</c:v>
                </c:pt>
                <c:pt idx="103">
                  <c:v>1502.401022098843</c:v>
                </c:pt>
                <c:pt idx="104">
                  <c:v>1509.4779007249119</c:v>
                </c:pt>
                <c:pt idx="105">
                  <c:v>1501.6945077851458</c:v>
                </c:pt>
                <c:pt idx="106">
                  <c:v>1487.1961277871987</c:v>
                </c:pt>
                <c:pt idx="107">
                  <c:v>1477.9119158406193</c:v>
                </c:pt>
                <c:pt idx="108">
                  <c:v>1502.5897641822528</c:v>
                </c:pt>
                <c:pt idx="109">
                  <c:v>1499.3350772986123</c:v>
                </c:pt>
                <c:pt idx="110">
                  <c:v>1505.7555510615309</c:v>
                </c:pt>
                <c:pt idx="111">
                  <c:v>1503.8583622961537</c:v>
                </c:pt>
                <c:pt idx="112">
                  <c:v>1499.0735391529495</c:v>
                </c:pt>
                <c:pt idx="113">
                  <c:v>1497.1661332621184</c:v>
                </c:pt>
                <c:pt idx="114">
                  <c:v>1503.9517772228787</c:v>
                </c:pt>
                <c:pt idx="115">
                  <c:v>1504.4854148707143</c:v>
                </c:pt>
                <c:pt idx="116">
                  <c:v>1503.3106216315846</c:v>
                </c:pt>
                <c:pt idx="117">
                  <c:v>1508.0125919003101</c:v>
                </c:pt>
                <c:pt idx="118">
                  <c:v>1501.5603736201874</c:v>
                </c:pt>
                <c:pt idx="119">
                  <c:v>1506.9068469714489</c:v>
                </c:pt>
                <c:pt idx="120">
                  <c:v>1509.3873233699373</c:v>
                </c:pt>
                <c:pt idx="121">
                  <c:v>1500.4509665409312</c:v>
                </c:pt>
                <c:pt idx="122">
                  <c:v>1502.27266141839</c:v>
                </c:pt>
                <c:pt idx="123">
                  <c:v>1508.2625449525101</c:v>
                </c:pt>
                <c:pt idx="124">
                  <c:v>1508.3124239942699</c:v>
                </c:pt>
                <c:pt idx="125">
                  <c:v>1512.8875549853101</c:v>
                </c:pt>
                <c:pt idx="126">
                  <c:v>1503.3192955767499</c:v>
                </c:pt>
                <c:pt idx="127">
                  <c:v>1508.36564391554</c:v>
                </c:pt>
                <c:pt idx="128">
                  <c:v>1498.60302807584</c:v>
                </c:pt>
                <c:pt idx="129">
                  <c:v>1500.7204467727099</c:v>
                </c:pt>
                <c:pt idx="130">
                  <c:v>1499.9957814756599</c:v>
                </c:pt>
                <c:pt idx="131">
                  <c:v>1513.9959524814999</c:v>
                </c:pt>
                <c:pt idx="132">
                  <c:v>1508.3324289722</c:v>
                </c:pt>
                <c:pt idx="133">
                  <c:v>1496.3130861933801</c:v>
                </c:pt>
                <c:pt idx="134">
                  <c:v>1493.3720636836499</c:v>
                </c:pt>
                <c:pt idx="135">
                  <c:v>1497.3371575956501</c:v>
                </c:pt>
                <c:pt idx="136">
                  <c:v>1496.73044347108</c:v>
                </c:pt>
                <c:pt idx="137">
                  <c:v>1509.9561350694501</c:v>
                </c:pt>
                <c:pt idx="138">
                  <c:v>1518.38601764698</c:v>
                </c:pt>
                <c:pt idx="139">
                  <c:v>1512.6699136703201</c:v>
                </c:pt>
                <c:pt idx="140">
                  <c:v>1508.60768989945</c:v>
                </c:pt>
                <c:pt idx="141">
                  <c:v>1498.6521618399199</c:v>
                </c:pt>
                <c:pt idx="142">
                  <c:v>1494.28177920403</c:v>
                </c:pt>
                <c:pt idx="143">
                  <c:v>1479.4768604984699</c:v>
                </c:pt>
                <c:pt idx="144">
                  <c:v>1444.93582050551</c:v>
                </c:pt>
                <c:pt idx="145">
                  <c:v>1470.8198282098899</c:v>
                </c:pt>
                <c:pt idx="149">
                  <c:v>1470.8198282098899</c:v>
                </c:pt>
                <c:pt idx="150">
                  <c:v>1494.49982874481</c:v>
                </c:pt>
                <c:pt idx="151">
                  <c:v>1492.5993643895699</c:v>
                </c:pt>
                <c:pt idx="152">
                  <c:v>1487.4737370288799</c:v>
                </c:pt>
                <c:pt idx="153">
                  <c:v>1490.1577596736299</c:v>
                </c:pt>
                <c:pt idx="154">
                  <c:v>1491.0135906409901</c:v>
                </c:pt>
                <c:pt idx="155">
                  <c:v>1509.4287944247501</c:v>
                </c:pt>
                <c:pt idx="156">
                  <c:v>1502.1073114599201</c:v>
                </c:pt>
                <c:pt idx="157">
                  <c:v>1492.85638277315</c:v>
                </c:pt>
                <c:pt idx="158">
                  <c:v>1501.38868705298</c:v>
                </c:pt>
                <c:pt idx="159">
                  <c:v>1499.76375942803</c:v>
                </c:pt>
                <c:pt idx="160">
                  <c:v>1496.87642632344</c:v>
                </c:pt>
                <c:pt idx="161">
                  <c:v>1493.7105943122999</c:v>
                </c:pt>
                <c:pt idx="162">
                  <c:v>1485.89048859012</c:v>
                </c:pt>
                <c:pt idx="163">
                  <c:v>1492.2200824634399</c:v>
                </c:pt>
                <c:pt idx="164">
                  <c:v>1494.0132987914999</c:v>
                </c:pt>
                <c:pt idx="165">
                  <c:v>1494.9252155480799</c:v>
                </c:pt>
                <c:pt idx="166">
                  <c:v>1500.08794944022</c:v>
                </c:pt>
                <c:pt idx="167">
                  <c:v>1501.8398899786901</c:v>
                </c:pt>
                <c:pt idx="168">
                  <c:v>1502.9516705146</c:v>
                </c:pt>
                <c:pt idx="169">
                  <c:v>1511.50395013313</c:v>
                </c:pt>
                <c:pt idx="170">
                  <c:v>1504.8494906807</c:v>
                </c:pt>
                <c:pt idx="171">
                  <c:v>1512.7204096584301</c:v>
                </c:pt>
                <c:pt idx="172">
                  <c:v>1496.8276065408199</c:v>
                </c:pt>
                <c:pt idx="173">
                  <c:v>1498.6053553515101</c:v>
                </c:pt>
                <c:pt idx="174">
                  <c:v>1510.6142435954901</c:v>
                </c:pt>
                <c:pt idx="175">
                  <c:v>1510.67309777882</c:v>
                </c:pt>
                <c:pt idx="176">
                  <c:v>1506.32530215771</c:v>
                </c:pt>
                <c:pt idx="177">
                  <c:v>1485.39950958447</c:v>
                </c:pt>
                <c:pt idx="178">
                  <c:v>1485.29409078565</c:v>
                </c:pt>
                <c:pt idx="179">
                  <c:v>1500.92926141162</c:v>
                </c:pt>
                <c:pt idx="180">
                  <c:v>1497.79739686581</c:v>
                </c:pt>
                <c:pt idx="181">
                  <c:v>1495.7972788244099</c:v>
                </c:pt>
                <c:pt idx="182">
                  <c:v>1492.2021596203899</c:v>
                </c:pt>
                <c:pt idx="183">
                  <c:v>1512.6695412624599</c:v>
                </c:pt>
                <c:pt idx="184">
                  <c:v>1503.94358979413</c:v>
                </c:pt>
                <c:pt idx="185">
                  <c:v>1490.6108879670301</c:v>
                </c:pt>
                <c:pt idx="186">
                  <c:v>1495.43388024515</c:v>
                </c:pt>
                <c:pt idx="187">
                  <c:v>1491.1155982791799</c:v>
                </c:pt>
                <c:pt idx="188">
                  <c:v>1488.0188340432001</c:v>
                </c:pt>
                <c:pt idx="189">
                  <c:v>1497.32212261517</c:v>
                </c:pt>
                <c:pt idx="190">
                  <c:v>1506.95401575197</c:v>
                </c:pt>
                <c:pt idx="191">
                  <c:v>1497.1445996330599</c:v>
                </c:pt>
                <c:pt idx="192">
                  <c:v>1492.4383595740201</c:v>
                </c:pt>
                <c:pt idx="193">
                  <c:v>1495.7897207902899</c:v>
                </c:pt>
                <c:pt idx="194">
                  <c:v>1489.2336737011699</c:v>
                </c:pt>
                <c:pt idx="195">
                  <c:v>1475.4191940421599</c:v>
                </c:pt>
                <c:pt idx="196">
                  <c:v>1502.32925663736</c:v>
                </c:pt>
                <c:pt idx="197">
                  <c:v>1493.01946220988</c:v>
                </c:pt>
                <c:pt idx="198">
                  <c:v>1488.7436126228699</c:v>
                </c:pt>
                <c:pt idx="199">
                  <c:v>1497.3545463416399</c:v>
                </c:pt>
                <c:pt idx="200">
                  <c:v>1508.3580646769201</c:v>
                </c:pt>
                <c:pt idx="201">
                  <c:v>1485.97245537803</c:v>
                </c:pt>
                <c:pt idx="202">
                  <c:v>1495.4194703507001</c:v>
                </c:pt>
                <c:pt idx="203">
                  <c:v>1497.1571729377399</c:v>
                </c:pt>
                <c:pt idx="204">
                  <c:v>1484.7404574191601</c:v>
                </c:pt>
                <c:pt idx="205">
                  <c:v>1484.9919005850199</c:v>
                </c:pt>
                <c:pt idx="206">
                  <c:v>1483.03259457788</c:v>
                </c:pt>
                <c:pt idx="207">
                  <c:v>1480.55758203192</c:v>
                </c:pt>
                <c:pt idx="208">
                  <c:v>1483.70724717697</c:v>
                </c:pt>
                <c:pt idx="209">
                  <c:v>1497.37904615363</c:v>
                </c:pt>
                <c:pt idx="210">
                  <c:v>1481.9272316870799</c:v>
                </c:pt>
                <c:pt idx="211">
                  <c:v>1495.6014039572999</c:v>
                </c:pt>
                <c:pt idx="212">
                  <c:v>1498.5202845266299</c:v>
                </c:pt>
                <c:pt idx="213">
                  <c:v>1499.91182662608</c:v>
                </c:pt>
                <c:pt idx="214">
                  <c:v>1494.8205416723699</c:v>
                </c:pt>
                <c:pt idx="215">
                  <c:v>1491.56496801396</c:v>
                </c:pt>
                <c:pt idx="216">
                  <c:v>1502.22072168462</c:v>
                </c:pt>
                <c:pt idx="217">
                  <c:v>1510.2495035746999</c:v>
                </c:pt>
                <c:pt idx="218">
                  <c:v>1497.1404134511799</c:v>
                </c:pt>
                <c:pt idx="219">
                  <c:v>1486.0226191069501</c:v>
                </c:pt>
                <c:pt idx="220">
                  <c:v>1492.56837366799</c:v>
                </c:pt>
                <c:pt idx="221">
                  <c:v>1500.0863487041399</c:v>
                </c:pt>
                <c:pt idx="222">
                  <c:v>1500.7016932937199</c:v>
                </c:pt>
                <c:pt idx="223">
                  <c:v>1488.3642748793</c:v>
                </c:pt>
                <c:pt idx="224">
                  <c:v>1497.28683622978</c:v>
                </c:pt>
                <c:pt idx="225">
                  <c:v>1493.76847769347</c:v>
                </c:pt>
                <c:pt idx="226">
                  <c:v>1493.76847769347</c:v>
                </c:pt>
                <c:pt idx="227">
                  <c:v>1497.09967860097</c:v>
                </c:pt>
                <c:pt idx="228">
                  <c:v>1494.7249875042</c:v>
                </c:pt>
                <c:pt idx="229">
                  <c:v>1509.19308405723</c:v>
                </c:pt>
                <c:pt idx="230">
                  <c:v>1477.5282468902999</c:v>
                </c:pt>
                <c:pt idx="231">
                  <c:v>1484.66105579135</c:v>
                </c:pt>
                <c:pt idx="232">
                  <c:v>1492.99759893023</c:v>
                </c:pt>
                <c:pt idx="233">
                  <c:v>1491.72459388537</c:v>
                </c:pt>
                <c:pt idx="234">
                  <c:v>1508.1585270378901</c:v>
                </c:pt>
                <c:pt idx="235">
                  <c:v>1512.75617612983</c:v>
                </c:pt>
                <c:pt idx="236">
                  <c:v>1503.28509791396</c:v>
                </c:pt>
                <c:pt idx="237">
                  <c:v>1510.1039999135901</c:v>
                </c:pt>
                <c:pt idx="238">
                  <c:v>1506.7248168503299</c:v>
                </c:pt>
                <c:pt idx="239">
                  <c:v>1523.1557128639099</c:v>
                </c:pt>
                <c:pt idx="240">
                  <c:v>1523.6507920882</c:v>
                </c:pt>
                <c:pt idx="241">
                  <c:v>1520.14275862349</c:v>
                </c:pt>
                <c:pt idx="242">
                  <c:v>1514.3366953356001</c:v>
                </c:pt>
                <c:pt idx="243">
                  <c:v>1509.1530948475699</c:v>
                </c:pt>
                <c:pt idx="244">
                  <c:v>1500.6747039659899</c:v>
                </c:pt>
                <c:pt idx="245">
                  <c:v>1506.7242342873899</c:v>
                </c:pt>
                <c:pt idx="246">
                  <c:v>1509.0358920185099</c:v>
                </c:pt>
                <c:pt idx="247">
                  <c:v>1502.8481796074</c:v>
                </c:pt>
                <c:pt idx="248">
                  <c:v>1509.3485024341001</c:v>
                </c:pt>
                <c:pt idx="249">
                  <c:v>1521.1231086978</c:v>
                </c:pt>
                <c:pt idx="250">
                  <c:v>1517.77002625573</c:v>
                </c:pt>
                <c:pt idx="251">
                  <c:v>1523.1637789282299</c:v>
                </c:pt>
                <c:pt idx="252">
                  <c:v>1509.86493778473</c:v>
                </c:pt>
                <c:pt idx="253">
                  <c:v>1494.6838057551699</c:v>
                </c:pt>
                <c:pt idx="254">
                  <c:v>1490.67137955011</c:v>
                </c:pt>
                <c:pt idx="255">
                  <c:v>1497.32971831482</c:v>
                </c:pt>
                <c:pt idx="256">
                  <c:v>1488.4037447810899</c:v>
                </c:pt>
                <c:pt idx="257">
                  <c:v>1516.92149400675</c:v>
                </c:pt>
                <c:pt idx="258">
                  <c:v>1491.24349913589</c:v>
                </c:pt>
                <c:pt idx="259">
                  <c:v>1490.8393515688599</c:v>
                </c:pt>
                <c:pt idx="260">
                  <c:v>1511.0673288953201</c:v>
                </c:pt>
                <c:pt idx="261">
                  <c:v>1518.21882153566</c:v>
                </c:pt>
                <c:pt idx="262">
                  <c:v>1499.4106036799201</c:v>
                </c:pt>
                <c:pt idx="263">
                  <c:v>1504.31641211025</c:v>
                </c:pt>
                <c:pt idx="264">
                  <c:v>1509.8341485191099</c:v>
                </c:pt>
                <c:pt idx="265">
                  <c:v>1512.6916743202801</c:v>
                </c:pt>
                <c:pt idx="266">
                  <c:v>1506.4676729831699</c:v>
                </c:pt>
                <c:pt idx="267">
                  <c:v>1499.51556390417</c:v>
                </c:pt>
                <c:pt idx="268">
                  <c:v>1507.38432184407</c:v>
                </c:pt>
                <c:pt idx="269">
                  <c:v>1513.31710362484</c:v>
                </c:pt>
                <c:pt idx="270">
                  <c:v>1517.6435239095999</c:v>
                </c:pt>
                <c:pt idx="271">
                  <c:v>1495.80042261875</c:v>
                </c:pt>
                <c:pt idx="272">
                  <c:v>1494.0812611419999</c:v>
                </c:pt>
                <c:pt idx="273">
                  <c:v>1498.82557886617</c:v>
                </c:pt>
                <c:pt idx="274">
                  <c:v>1500.5784036744401</c:v>
                </c:pt>
                <c:pt idx="275">
                  <c:v>1503.0472449347899</c:v>
                </c:pt>
                <c:pt idx="276">
                  <c:v>1516.3492491847101</c:v>
                </c:pt>
                <c:pt idx="277">
                  <c:v>1514.7793740555501</c:v>
                </c:pt>
                <c:pt idx="278">
                  <c:v>1513.23800793127</c:v>
                </c:pt>
                <c:pt idx="279">
                  <c:v>1504.3074175459101</c:v>
                </c:pt>
                <c:pt idx="280">
                  <c:v>1496.6307060413999</c:v>
                </c:pt>
                <c:pt idx="281">
                  <c:v>1505.7054097169701</c:v>
                </c:pt>
                <c:pt idx="282">
                  <c:v>1503.7222958294401</c:v>
                </c:pt>
                <c:pt idx="283">
                  <c:v>1500.30677138187</c:v>
                </c:pt>
                <c:pt idx="284">
                  <c:v>1509.6981619309599</c:v>
                </c:pt>
                <c:pt idx="285">
                  <c:v>1515.4909136123899</c:v>
                </c:pt>
                <c:pt idx="286">
                  <c:v>1509.88443769577</c:v>
                </c:pt>
                <c:pt idx="287">
                  <c:v>1506.6603785979601</c:v>
                </c:pt>
                <c:pt idx="288">
                  <c:v>1503.04937613984</c:v>
                </c:pt>
                <c:pt idx="289">
                  <c:v>1513.83418351251</c:v>
                </c:pt>
                <c:pt idx="290">
                  <c:v>1511.1718085001</c:v>
                </c:pt>
                <c:pt idx="291">
                  <c:v>1529.4621577830801</c:v>
                </c:pt>
                <c:pt idx="292">
                  <c:v>1495.82658476402</c:v>
                </c:pt>
                <c:pt idx="293">
                  <c:v>1521.13980774325</c:v>
                </c:pt>
                <c:pt idx="294">
                  <c:v>1508.54205919574</c:v>
                </c:pt>
                <c:pt idx="295">
                  <c:v>1512.06991377126</c:v>
                </c:pt>
                <c:pt idx="296">
                  <c:v>1509.2443657003801</c:v>
                </c:pt>
                <c:pt idx="297">
                  <c:v>1505.2421485490099</c:v>
                </c:pt>
                <c:pt idx="298">
                  <c:v>1507.68877567866</c:v>
                </c:pt>
                <c:pt idx="299">
                  <c:v>1516.7496692116199</c:v>
                </c:pt>
                <c:pt idx="300">
                  <c:v>1514.8949428762</c:v>
                </c:pt>
                <c:pt idx="301">
                  <c:v>1507.89981839235</c:v>
                </c:pt>
                <c:pt idx="302">
                  <c:v>1510.5893522936999</c:v>
                </c:pt>
                <c:pt idx="303">
                  <c:v>1515.6176564894699</c:v>
                </c:pt>
                <c:pt idx="304">
                  <c:v>1509.56942774854</c:v>
                </c:pt>
                <c:pt idx="305">
                  <c:v>1501.09896443245</c:v>
                </c:pt>
                <c:pt idx="306">
                  <c:v>1508.32130793587</c:v>
                </c:pt>
                <c:pt idx="307">
                  <c:v>1510.8857810970601</c:v>
                </c:pt>
                <c:pt idx="308">
                  <c:v>1505.04302855474</c:v>
                </c:pt>
                <c:pt idx="309">
                  <c:v>1509.64072260496</c:v>
                </c:pt>
                <c:pt idx="310">
                  <c:v>1514.55618571322</c:v>
                </c:pt>
                <c:pt idx="311">
                  <c:v>1509.8816190167699</c:v>
                </c:pt>
                <c:pt idx="312">
                  <c:v>1511.4824999703701</c:v>
                </c:pt>
                <c:pt idx="313">
                  <c:v>1508.30744264901</c:v>
                </c:pt>
                <c:pt idx="314">
                  <c:v>1512.8304099363099</c:v>
                </c:pt>
                <c:pt idx="315">
                  <c:v>1502.56809620186</c:v>
                </c:pt>
                <c:pt idx="316">
                  <c:v>1512.4295393104201</c:v>
                </c:pt>
                <c:pt idx="317">
                  <c:v>1514.7176915254099</c:v>
                </c:pt>
                <c:pt idx="318">
                  <c:v>1519.03972763002</c:v>
                </c:pt>
                <c:pt idx="319">
                  <c:v>1508.03073871889</c:v>
                </c:pt>
                <c:pt idx="320">
                  <c:v>1514.95863745977</c:v>
                </c:pt>
                <c:pt idx="321">
                  <c:v>1511.01926542258</c:v>
                </c:pt>
                <c:pt idx="322">
                  <c:v>1514.8115434377</c:v>
                </c:pt>
                <c:pt idx="323">
                  <c:v>1510.2892939261201</c:v>
                </c:pt>
                <c:pt idx="324">
                  <c:v>1519.6112323253601</c:v>
                </c:pt>
                <c:pt idx="325">
                  <c:v>1512.9598409027401</c:v>
                </c:pt>
                <c:pt idx="326">
                  <c:v>1510.4025380752701</c:v>
                </c:pt>
                <c:pt idx="327">
                  <c:v>1516.3092435687599</c:v>
                </c:pt>
                <c:pt idx="328">
                  <c:v>1510.8216701532201</c:v>
                </c:pt>
                <c:pt idx="329">
                  <c:v>1522.15144931795</c:v>
                </c:pt>
                <c:pt idx="330">
                  <c:v>1501.77735012784</c:v>
                </c:pt>
                <c:pt idx="331">
                  <c:v>1500.27729748466</c:v>
                </c:pt>
                <c:pt idx="332">
                  <c:v>1517.39323193321</c:v>
                </c:pt>
                <c:pt idx="333">
                  <c:v>1513.02525347286</c:v>
                </c:pt>
                <c:pt idx="334">
                  <c:v>1497.7736171717299</c:v>
                </c:pt>
                <c:pt idx="335">
                  <c:v>1494.68422032082</c:v>
                </c:pt>
                <c:pt idx="336">
                  <c:v>1518.0801009695699</c:v>
                </c:pt>
                <c:pt idx="337">
                  <c:v>1510.41412288225</c:v>
                </c:pt>
                <c:pt idx="338">
                  <c:v>1507.16724925982</c:v>
                </c:pt>
                <c:pt idx="339">
                  <c:v>1506.6503293834</c:v>
                </c:pt>
                <c:pt idx="340">
                  <c:v>1515.1643185246</c:v>
                </c:pt>
                <c:pt idx="341">
                  <c:v>1516.21149247738</c:v>
                </c:pt>
                <c:pt idx="342">
                  <c:v>1513.0501297638</c:v>
                </c:pt>
                <c:pt idx="343">
                  <c:v>1505.1146307383599</c:v>
                </c:pt>
                <c:pt idx="344">
                  <c:v>1505.9992077475599</c:v>
                </c:pt>
                <c:pt idx="345">
                  <c:v>1525.5978827143001</c:v>
                </c:pt>
                <c:pt idx="346">
                  <c:v>1516.1055442261099</c:v>
                </c:pt>
                <c:pt idx="347">
                  <c:v>1522.4887100700701</c:v>
                </c:pt>
                <c:pt idx="348">
                  <c:v>1503.5603660766101</c:v>
                </c:pt>
                <c:pt idx="349">
                  <c:v>1514.7719157080301</c:v>
                </c:pt>
                <c:pt idx="350">
                  <c:v>1481.8407525525299</c:v>
                </c:pt>
                <c:pt idx="351">
                  <c:v>1504.3471127397099</c:v>
                </c:pt>
                <c:pt idx="352">
                  <c:v>1503.92436078936</c:v>
                </c:pt>
                <c:pt idx="353">
                  <c:v>1493.9996720397601</c:v>
                </c:pt>
                <c:pt idx="354">
                  <c:v>1503.0018323781601</c:v>
                </c:pt>
                <c:pt idx="355">
                  <c:v>1507.9601688422899</c:v>
                </c:pt>
                <c:pt idx="356">
                  <c:v>1486.00760168086</c:v>
                </c:pt>
                <c:pt idx="357">
                  <c:v>1517.0101008394499</c:v>
                </c:pt>
                <c:pt idx="358">
                  <c:v>1508.98577799346</c:v>
                </c:pt>
                <c:pt idx="359">
                  <c:v>1513.1544392818701</c:v>
                </c:pt>
                <c:pt idx="360">
                  <c:v>1501.5159766297299</c:v>
                </c:pt>
                <c:pt idx="361">
                  <c:v>1511.42765102004</c:v>
                </c:pt>
                <c:pt idx="362">
                  <c:v>1524.8011439914401</c:v>
                </c:pt>
                <c:pt idx="363">
                  <c:v>1499.9557946336099</c:v>
                </c:pt>
                <c:pt idx="364">
                  <c:v>1480.6589022360299</c:v>
                </c:pt>
                <c:pt idx="365">
                  <c:v>1526.1549985463901</c:v>
                </c:pt>
                <c:pt idx="366" formatCode="General">
                  <c:v>1517.5406701186801</c:v>
                </c:pt>
                <c:pt idx="367">
                  <c:v>1513.9099550726701</c:v>
                </c:pt>
                <c:pt idx="368">
                  <c:v>1512.2862669067299</c:v>
                </c:pt>
                <c:pt idx="369">
                  <c:v>1520.8089189243001</c:v>
                </c:pt>
                <c:pt idx="370">
                  <c:v>1498.0763359111299</c:v>
                </c:pt>
                <c:pt idx="371">
                  <c:v>1502.79621184961</c:v>
                </c:pt>
                <c:pt idx="372">
                  <c:v>1499.6851471276</c:v>
                </c:pt>
                <c:pt idx="373">
                  <c:v>1505.3036888762599</c:v>
                </c:pt>
                <c:pt idx="374">
                  <c:v>1510.4648442554001</c:v>
                </c:pt>
                <c:pt idx="375">
                  <c:v>1506.36206620229</c:v>
                </c:pt>
                <c:pt idx="376">
                  <c:v>1509.3139925159201</c:v>
                </c:pt>
                <c:pt idx="377">
                  <c:v>1516.3184462987999</c:v>
                </c:pt>
                <c:pt idx="378">
                  <c:v>1505.8899046567101</c:v>
                </c:pt>
                <c:pt idx="379">
                  <c:v>1506.3195339062299</c:v>
                </c:pt>
                <c:pt idx="380">
                  <c:v>1492.2091997856501</c:v>
                </c:pt>
                <c:pt idx="381">
                  <c:v>1498.52735479688</c:v>
                </c:pt>
                <c:pt idx="382">
                  <c:v>1511.78118873318</c:v>
                </c:pt>
                <c:pt idx="383">
                  <c:v>1513.6327375517001</c:v>
                </c:pt>
                <c:pt idx="384">
                  <c:v>1507.80677659312</c:v>
                </c:pt>
                <c:pt idx="385">
                  <c:v>1503.8956799607399</c:v>
                </c:pt>
                <c:pt idx="386">
                  <c:v>1507.8200361546001</c:v>
                </c:pt>
                <c:pt idx="387">
                  <c:v>1505.3481466227199</c:v>
                </c:pt>
                <c:pt idx="388">
                  <c:v>1507.6729563172401</c:v>
                </c:pt>
                <c:pt idx="389">
                  <c:v>1494.71791093805</c:v>
                </c:pt>
                <c:pt idx="390">
                  <c:v>1509.2634786722699</c:v>
                </c:pt>
                <c:pt idx="391">
                  <c:v>1504.7303266031699</c:v>
                </c:pt>
                <c:pt idx="392">
                  <c:v>1511.53802331819</c:v>
                </c:pt>
                <c:pt idx="393">
                  <c:v>1515.1806528413799</c:v>
                </c:pt>
                <c:pt idx="394">
                  <c:v>1509.4347843570699</c:v>
                </c:pt>
                <c:pt idx="395">
                  <c:v>1511.0418183870299</c:v>
                </c:pt>
                <c:pt idx="396">
                  <c:v>1519.04820269569</c:v>
                </c:pt>
                <c:pt idx="397">
                  <c:v>1514.12003930376</c:v>
                </c:pt>
                <c:pt idx="398">
                  <c:v>1502.04472020663</c:v>
                </c:pt>
                <c:pt idx="399">
                  <c:v>1497.6412194023901</c:v>
                </c:pt>
                <c:pt idx="400">
                  <c:v>1503.09378426168</c:v>
                </c:pt>
                <c:pt idx="401">
                  <c:v>1509.04694323124</c:v>
                </c:pt>
                <c:pt idx="402">
                  <c:v>1501.7954306809199</c:v>
                </c:pt>
                <c:pt idx="403">
                  <c:v>1508.5162742397099</c:v>
                </c:pt>
                <c:pt idx="404">
                  <c:v>1494.9962124891799</c:v>
                </c:pt>
                <c:pt idx="405">
                  <c:v>1510.44698700709</c:v>
                </c:pt>
                <c:pt idx="406">
                  <c:v>1508.4666452336401</c:v>
                </c:pt>
                <c:pt idx="407">
                  <c:v>1498.47340778894</c:v>
                </c:pt>
                <c:pt idx="408">
                  <c:v>1483.1570427183599</c:v>
                </c:pt>
                <c:pt idx="409">
                  <c:v>1501.73385156057</c:v>
                </c:pt>
                <c:pt idx="410">
                  <c:v>1504.6216814530501</c:v>
                </c:pt>
                <c:pt idx="411">
                  <c:v>1499.4824186698099</c:v>
                </c:pt>
                <c:pt idx="412">
                  <c:v>1503.6675354204499</c:v>
                </c:pt>
                <c:pt idx="413">
                  <c:v>1509.0629404722399</c:v>
                </c:pt>
                <c:pt idx="414">
                  <c:v>1486.18834561531</c:v>
                </c:pt>
                <c:pt idx="415">
                  <c:v>1505.63438581593</c:v>
                </c:pt>
                <c:pt idx="416">
                  <c:v>1511.53106123728</c:v>
                </c:pt>
                <c:pt idx="417">
                  <c:v>1517.08275971845</c:v>
                </c:pt>
                <c:pt idx="418">
                  <c:v>1512.3578172023999</c:v>
                </c:pt>
                <c:pt idx="419">
                  <c:v>1499.2015698269099</c:v>
                </c:pt>
                <c:pt idx="420">
                  <c:v>1509.6603486977201</c:v>
                </c:pt>
                <c:pt idx="421">
                  <c:v>1506.59364010577</c:v>
                </c:pt>
                <c:pt idx="422">
                  <c:v>1501.08210813816</c:v>
                </c:pt>
                <c:pt idx="423">
                  <c:v>1502.06569178615</c:v>
                </c:pt>
                <c:pt idx="424">
                  <c:v>1516.9780398651101</c:v>
                </c:pt>
                <c:pt idx="425">
                  <c:v>1503.83416155597</c:v>
                </c:pt>
                <c:pt idx="426">
                  <c:v>1499.5805831195701</c:v>
                </c:pt>
                <c:pt idx="427">
                  <c:v>1494.14529877776</c:v>
                </c:pt>
                <c:pt idx="428">
                  <c:v>1510.3762990053999</c:v>
                </c:pt>
                <c:pt idx="429">
                  <c:v>1507.2557990056901</c:v>
                </c:pt>
                <c:pt idx="430">
                  <c:v>1509.2327311598101</c:v>
                </c:pt>
                <c:pt idx="431">
                  <c:v>1504.7802965258099</c:v>
                </c:pt>
                <c:pt idx="432">
                  <c:v>1497.5599042828101</c:v>
                </c:pt>
                <c:pt idx="433">
                  <c:v>1502.30275187143</c:v>
                </c:pt>
                <c:pt idx="434">
                  <c:v>1499.1751537698001</c:v>
                </c:pt>
                <c:pt idx="435">
                  <c:v>1481.9030628688199</c:v>
                </c:pt>
                <c:pt idx="436">
                  <c:v>1503.7164218611399</c:v>
                </c:pt>
                <c:pt idx="437">
                  <c:v>1492.45365186657</c:v>
                </c:pt>
                <c:pt idx="438">
                  <c:v>1498.64033950936</c:v>
                </c:pt>
                <c:pt idx="439">
                  <c:v>1482.8886349105801</c:v>
                </c:pt>
                <c:pt idx="440">
                  <c:v>1510.6824344127101</c:v>
                </c:pt>
                <c:pt idx="441">
                  <c:v>1503.1429751542501</c:v>
                </c:pt>
                <c:pt idx="442">
                  <c:v>1506.51533623415</c:v>
                </c:pt>
                <c:pt idx="443">
                  <c:v>1490.09502062563</c:v>
                </c:pt>
                <c:pt idx="444">
                  <c:v>1492.88723430103</c:v>
                </c:pt>
                <c:pt idx="445">
                  <c:v>1483.0404519654601</c:v>
                </c:pt>
                <c:pt idx="446">
                  <c:v>1494.58071189925</c:v>
                </c:pt>
                <c:pt idx="447">
                  <c:v>1498.7589119265499</c:v>
                </c:pt>
                <c:pt idx="448">
                  <c:v>1504.50756964077</c:v>
                </c:pt>
                <c:pt idx="449">
                  <c:v>1503.2779237892901</c:v>
                </c:pt>
                <c:pt idx="450">
                  <c:v>1496.6303858501301</c:v>
                </c:pt>
                <c:pt idx="451">
                  <c:v>1498.1966384414</c:v>
                </c:pt>
                <c:pt idx="452">
                  <c:v>1499.14535474182</c:v>
                </c:pt>
                <c:pt idx="453">
                  <c:v>1495.1872127668601</c:v>
                </c:pt>
                <c:pt idx="454">
                  <c:v>1514.0249925467499</c:v>
                </c:pt>
                <c:pt idx="455">
                  <c:v>1490.09215733515</c:v>
                </c:pt>
                <c:pt idx="456">
                  <c:v>1507.8928025427001</c:v>
                </c:pt>
                <c:pt idx="457">
                  <c:v>1524.1512938758499</c:v>
                </c:pt>
                <c:pt idx="458">
                  <c:v>1497.4137917550299</c:v>
                </c:pt>
                <c:pt idx="459">
                  <c:v>1488.32699758837</c:v>
                </c:pt>
                <c:pt idx="460">
                  <c:v>1488.2011391937899</c:v>
                </c:pt>
                <c:pt idx="461">
                  <c:v>1502.08235432476</c:v>
                </c:pt>
                <c:pt idx="462">
                  <c:v>1489.0419760341099</c:v>
                </c:pt>
                <c:pt idx="463">
                  <c:v>1490.9617974068799</c:v>
                </c:pt>
                <c:pt idx="464">
                  <c:v>1497.08280756874</c:v>
                </c:pt>
                <c:pt idx="465">
                  <c:v>1511.8434240494901</c:v>
                </c:pt>
                <c:pt idx="466">
                  <c:v>1513.61465235945</c:v>
                </c:pt>
                <c:pt idx="467">
                  <c:v>1499.90975379616</c:v>
                </c:pt>
                <c:pt idx="468">
                  <c:v>1529.89677521679</c:v>
                </c:pt>
                <c:pt idx="469">
                  <c:v>1490.07139302005</c:v>
                </c:pt>
                <c:pt idx="470">
                  <c:v>1492.34944660733</c:v>
                </c:pt>
                <c:pt idx="471">
                  <c:v>1499.4171554192701</c:v>
                </c:pt>
                <c:pt idx="472">
                  <c:v>1487.3966094256</c:v>
                </c:pt>
                <c:pt idx="473">
                  <c:v>1482.8249372844</c:v>
                </c:pt>
                <c:pt idx="474">
                  <c:v>1489.76727102529</c:v>
                </c:pt>
                <c:pt idx="475">
                  <c:v>1501.0691793189901</c:v>
                </c:pt>
                <c:pt idx="476">
                  <c:v>1491.20274972948</c:v>
                </c:pt>
                <c:pt idx="477">
                  <c:v>1485.98685324907</c:v>
                </c:pt>
                <c:pt idx="478">
                  <c:v>1481.8898698328501</c:v>
                </c:pt>
                <c:pt idx="479">
                  <c:v>1485.1360922665899</c:v>
                </c:pt>
                <c:pt idx="480">
                  <c:v>1490.91145793388</c:v>
                </c:pt>
                <c:pt idx="481">
                  <c:v>1494.0734472822601</c:v>
                </c:pt>
                <c:pt idx="482">
                  <c:v>1499.8120651245099</c:v>
                </c:pt>
                <c:pt idx="483">
                  <c:v>1514.52581376802</c:v>
                </c:pt>
                <c:pt idx="484">
                  <c:v>1500.37083369579</c:v>
                </c:pt>
                <c:pt idx="485">
                  <c:v>1500.30779224256</c:v>
                </c:pt>
                <c:pt idx="486">
                  <c:v>1486.2886046408701</c:v>
                </c:pt>
                <c:pt idx="487">
                  <c:v>1502.83157000096</c:v>
                </c:pt>
                <c:pt idx="488">
                  <c:v>1486.52057707109</c:v>
                </c:pt>
                <c:pt idx="489">
                  <c:v>1494.3681682756001</c:v>
                </c:pt>
                <c:pt idx="490">
                  <c:v>1484.78678031547</c:v>
                </c:pt>
                <c:pt idx="491">
                  <c:v>1490.0696778189099</c:v>
                </c:pt>
                <c:pt idx="492">
                  <c:v>1493.60188259644</c:v>
                </c:pt>
                <c:pt idx="493">
                  <c:v>1485.1896534631601</c:v>
                </c:pt>
                <c:pt idx="494">
                  <c:v>1466.7398031814901</c:v>
                </c:pt>
                <c:pt idx="495">
                  <c:v>1456.1269804905401</c:v>
                </c:pt>
                <c:pt idx="496">
                  <c:v>1433.37744946099</c:v>
                </c:pt>
                <c:pt idx="499">
                  <c:v>1489.3394977758001</c:v>
                </c:pt>
                <c:pt idx="500">
                  <c:v>1487.2746074182901</c:v>
                </c:pt>
                <c:pt idx="501">
                  <c:v>1494.0184132775901</c:v>
                </c:pt>
                <c:pt idx="502">
                  <c:v>1494.61418457133</c:v>
                </c:pt>
                <c:pt idx="503">
                  <c:v>1488.3237135290201</c:v>
                </c:pt>
                <c:pt idx="504">
                  <c:v>1490.78451195817</c:v>
                </c:pt>
                <c:pt idx="505">
                  <c:v>1481.5672445359201</c:v>
                </c:pt>
                <c:pt idx="506">
                  <c:v>1484.4436711506501</c:v>
                </c:pt>
                <c:pt idx="507">
                  <c:v>1492.2464600436999</c:v>
                </c:pt>
                <c:pt idx="508">
                  <c:v>1482.8035128490001</c:v>
                </c:pt>
                <c:pt idx="509">
                  <c:v>1484.3503963681401</c:v>
                </c:pt>
                <c:pt idx="510">
                  <c:v>1489.3497046718401</c:v>
                </c:pt>
                <c:pt idx="511">
                  <c:v>1482.34343080348</c:v>
                </c:pt>
                <c:pt idx="512">
                  <c:v>1486.93842638762</c:v>
                </c:pt>
                <c:pt idx="513">
                  <c:v>1500.6387500962001</c:v>
                </c:pt>
                <c:pt idx="514">
                  <c:v>1493.84271900616</c:v>
                </c:pt>
                <c:pt idx="515">
                  <c:v>1474.6451206300701</c:v>
                </c:pt>
                <c:pt idx="516">
                  <c:v>1477.9691325164799</c:v>
                </c:pt>
                <c:pt idx="517">
                  <c:v>1477.1781866914</c:v>
                </c:pt>
                <c:pt idx="518">
                  <c:v>1503.7396461040601</c:v>
                </c:pt>
                <c:pt idx="519">
                  <c:v>1488.9301752378999</c:v>
                </c:pt>
                <c:pt idx="520">
                  <c:v>1494.5251791830301</c:v>
                </c:pt>
                <c:pt idx="521">
                  <c:v>1506.23497858465</c:v>
                </c:pt>
                <c:pt idx="522">
                  <c:v>1494.2592197030699</c:v>
                </c:pt>
                <c:pt idx="523">
                  <c:v>1495.9548421448401</c:v>
                </c:pt>
                <c:pt idx="524">
                  <c:v>1509.02694029043</c:v>
                </c:pt>
                <c:pt idx="525">
                  <c:v>1512.12847319196</c:v>
                </c:pt>
                <c:pt idx="526">
                  <c:v>1517.5790016539399</c:v>
                </c:pt>
                <c:pt idx="527">
                  <c:v>1490.0059740901199</c:v>
                </c:pt>
                <c:pt idx="528">
                  <c:v>1493.2749989599099</c:v>
                </c:pt>
                <c:pt idx="529">
                  <c:v>1505.61056148644</c:v>
                </c:pt>
                <c:pt idx="530">
                  <c:v>1508.8475437396</c:v>
                </c:pt>
                <c:pt idx="531">
                  <c:v>1506.9481266959499</c:v>
                </c:pt>
                <c:pt idx="532">
                  <c:v>1498.4085056051399</c:v>
                </c:pt>
                <c:pt idx="533">
                  <c:v>1492.98347281924</c:v>
                </c:pt>
                <c:pt idx="534">
                  <c:v>1490.2024690635201</c:v>
                </c:pt>
                <c:pt idx="535">
                  <c:v>1485.96472627917</c:v>
                </c:pt>
                <c:pt idx="536">
                  <c:v>1493.7486098623799</c:v>
                </c:pt>
                <c:pt idx="537">
                  <c:v>1494.1077807234501</c:v>
                </c:pt>
                <c:pt idx="538">
                  <c:v>1484.0301882899801</c:v>
                </c:pt>
                <c:pt idx="539">
                  <c:v>1484.3282998545801</c:v>
                </c:pt>
                <c:pt idx="540">
                  <c:v>1487.14966278723</c:v>
                </c:pt>
                <c:pt idx="541">
                  <c:v>1495.15935515196</c:v>
                </c:pt>
                <c:pt idx="542">
                  <c:v>1498.5027339712799</c:v>
                </c:pt>
                <c:pt idx="543">
                  <c:v>1491.7021207847499</c:v>
                </c:pt>
                <c:pt idx="544">
                  <c:v>1503.76508354308</c:v>
                </c:pt>
                <c:pt idx="545">
                  <c:v>1478.62257307153</c:v>
                </c:pt>
                <c:pt idx="546">
                  <c:v>1493.07000212107</c:v>
                </c:pt>
                <c:pt idx="547">
                  <c:v>1497.9312738759299</c:v>
                </c:pt>
                <c:pt idx="548">
                  <c:v>1499.9253162666801</c:v>
                </c:pt>
                <c:pt idx="549">
                  <c:v>1496.5466347711699</c:v>
                </c:pt>
                <c:pt idx="550">
                  <c:v>1501.9027215855799</c:v>
                </c:pt>
                <c:pt idx="551">
                  <c:v>1486.0475529918599</c:v>
                </c:pt>
                <c:pt idx="552">
                  <c:v>1495.6545088605701</c:v>
                </c:pt>
                <c:pt idx="553">
                  <c:v>1494.35702873584</c:v>
                </c:pt>
                <c:pt idx="554">
                  <c:v>1496.0040980200399</c:v>
                </c:pt>
                <c:pt idx="555">
                  <c:v>1488.76840207743</c:v>
                </c:pt>
                <c:pt idx="556">
                  <c:v>1505.83308950376</c:v>
                </c:pt>
                <c:pt idx="557">
                  <c:v>1502.4712994776201</c:v>
                </c:pt>
                <c:pt idx="558">
                  <c:v>1487.71071481165</c:v>
                </c:pt>
                <c:pt idx="559">
                  <c:v>1505.21869244664</c:v>
                </c:pt>
                <c:pt idx="560">
                  <c:v>1503.58615492901</c:v>
                </c:pt>
                <c:pt idx="561">
                  <c:v>1492.6805304438899</c:v>
                </c:pt>
                <c:pt idx="562">
                  <c:v>1490.3784971991799</c:v>
                </c:pt>
                <c:pt idx="563">
                  <c:v>1502.9547845028301</c:v>
                </c:pt>
                <c:pt idx="564">
                  <c:v>1503.3687708489099</c:v>
                </c:pt>
                <c:pt idx="565">
                  <c:v>1511.0861979876299</c:v>
                </c:pt>
                <c:pt idx="566">
                  <c:v>1475.65362097292</c:v>
                </c:pt>
                <c:pt idx="567">
                  <c:v>1517.1654590999999</c:v>
                </c:pt>
                <c:pt idx="568">
                  <c:v>1511.72232706518</c:v>
                </c:pt>
                <c:pt idx="569">
                  <c:v>1514.6425220242299</c:v>
                </c:pt>
                <c:pt idx="570">
                  <c:v>1515.2889630561201</c:v>
                </c:pt>
                <c:pt idx="571">
                  <c:v>1516.4872734048199</c:v>
                </c:pt>
                <c:pt idx="572">
                  <c:v>1509.9414943044501</c:v>
                </c:pt>
                <c:pt idx="573">
                  <c:v>1507.2358067617699</c:v>
                </c:pt>
                <c:pt idx="574">
                  <c:v>1512.1944451305301</c:v>
                </c:pt>
                <c:pt idx="575">
                  <c:v>1491.09696500158</c:v>
                </c:pt>
                <c:pt idx="576">
                  <c:v>1508.7219610305799</c:v>
                </c:pt>
                <c:pt idx="577">
                  <c:v>1510.99858875777</c:v>
                </c:pt>
                <c:pt idx="578">
                  <c:v>1508.8338180471501</c:v>
                </c:pt>
                <c:pt idx="579">
                  <c:v>1502.2866448391801</c:v>
                </c:pt>
                <c:pt idx="580">
                  <c:v>1512.5186713236001</c:v>
                </c:pt>
                <c:pt idx="581">
                  <c:v>1494.1165226685</c:v>
                </c:pt>
                <c:pt idx="582">
                  <c:v>1512.3128004897701</c:v>
                </c:pt>
                <c:pt idx="583">
                  <c:v>1503.1745170050499</c:v>
                </c:pt>
                <c:pt idx="584">
                  <c:v>1499.32212889263</c:v>
                </c:pt>
                <c:pt idx="585">
                  <c:v>1497.31825165239</c:v>
                </c:pt>
                <c:pt idx="586">
                  <c:v>1497.6665562365299</c:v>
                </c:pt>
                <c:pt idx="587">
                  <c:v>1499.7244296690301</c:v>
                </c:pt>
                <c:pt idx="588">
                  <c:v>1514.3227874745301</c:v>
                </c:pt>
                <c:pt idx="589">
                  <c:v>1495.88459119144</c:v>
                </c:pt>
                <c:pt idx="590">
                  <c:v>1513.9583681337199</c:v>
                </c:pt>
                <c:pt idx="591">
                  <c:v>1508.7691617465</c:v>
                </c:pt>
                <c:pt idx="592">
                  <c:v>1489.04762818736</c:v>
                </c:pt>
                <c:pt idx="593">
                  <c:v>1496.9860838581501</c:v>
                </c:pt>
                <c:pt idx="594">
                  <c:v>1514.59830569989</c:v>
                </c:pt>
                <c:pt idx="595">
                  <c:v>1494.21541868638</c:v>
                </c:pt>
                <c:pt idx="596">
                  <c:v>1500.06164918117</c:v>
                </c:pt>
                <c:pt idx="597">
                  <c:v>1504.9767722771201</c:v>
                </c:pt>
                <c:pt idx="598">
                  <c:v>1518.8077500558099</c:v>
                </c:pt>
                <c:pt idx="599">
                  <c:v>1502.1042032947701</c:v>
                </c:pt>
                <c:pt idx="600">
                  <c:v>1509.9116100496101</c:v>
                </c:pt>
                <c:pt idx="601">
                  <c:v>1499.3633669989499</c:v>
                </c:pt>
                <c:pt idx="602">
                  <c:v>1503.73721802002</c:v>
                </c:pt>
                <c:pt idx="603">
                  <c:v>1510.17934594337</c:v>
                </c:pt>
                <c:pt idx="604">
                  <c:v>1504.7339587325901</c:v>
                </c:pt>
                <c:pt idx="605">
                  <c:v>1511.1233723906901</c:v>
                </c:pt>
                <c:pt idx="606">
                  <c:v>1495.9977103418901</c:v>
                </c:pt>
                <c:pt idx="607">
                  <c:v>1519.2171235431799</c:v>
                </c:pt>
                <c:pt idx="608">
                  <c:v>1501.62744006403</c:v>
                </c:pt>
                <c:pt idx="609">
                  <c:v>1504.56111469195</c:v>
                </c:pt>
                <c:pt idx="610">
                  <c:v>1515.39643985212</c:v>
                </c:pt>
                <c:pt idx="611">
                  <c:v>1519.4954423367501</c:v>
                </c:pt>
                <c:pt idx="612">
                  <c:v>1505.75836419386</c:v>
                </c:pt>
                <c:pt idx="613">
                  <c:v>1509.97647097547</c:v>
                </c:pt>
                <c:pt idx="614">
                  <c:v>1512.0853462473599</c:v>
                </c:pt>
                <c:pt idx="615">
                  <c:v>1505.3004572167399</c:v>
                </c:pt>
                <c:pt idx="616">
                  <c:v>1509.29382342125</c:v>
                </c:pt>
                <c:pt idx="617">
                  <c:v>1499.7729705795</c:v>
                </c:pt>
                <c:pt idx="618">
                  <c:v>1501.20193459038</c:v>
                </c:pt>
                <c:pt idx="619">
                  <c:v>1507.36286909658</c:v>
                </c:pt>
                <c:pt idx="620">
                  <c:v>1508.06247710917</c:v>
                </c:pt>
                <c:pt idx="621">
                  <c:v>1514.15164455439</c:v>
                </c:pt>
                <c:pt idx="622">
                  <c:v>1508.16473382706</c:v>
                </c:pt>
                <c:pt idx="623">
                  <c:v>1520.2919132699899</c:v>
                </c:pt>
                <c:pt idx="624">
                  <c:v>1509.0998704552101</c:v>
                </c:pt>
                <c:pt idx="625">
                  <c:v>1516.0441936692901</c:v>
                </c:pt>
                <c:pt idx="626">
                  <c:v>1506.0872087662799</c:v>
                </c:pt>
                <c:pt idx="627">
                  <c:v>1520.9957072935599</c:v>
                </c:pt>
                <c:pt idx="628">
                  <c:v>1509.1735645715501</c:v>
                </c:pt>
                <c:pt idx="629">
                  <c:v>1515.8825062584499</c:v>
                </c:pt>
                <c:pt idx="630">
                  <c:v>1503.4817510984601</c:v>
                </c:pt>
                <c:pt idx="631">
                  <c:v>1500.91543373433</c:v>
                </c:pt>
                <c:pt idx="632">
                  <c:v>1498.8580467215299</c:v>
                </c:pt>
                <c:pt idx="633">
                  <c:v>1506.20141287345</c:v>
                </c:pt>
                <c:pt idx="634">
                  <c:v>1497.51110920972</c:v>
                </c:pt>
                <c:pt idx="635">
                  <c:v>1497.8113242322599</c:v>
                </c:pt>
                <c:pt idx="636">
                  <c:v>1512.5543028557499</c:v>
                </c:pt>
                <c:pt idx="637">
                  <c:v>1513.0120503291701</c:v>
                </c:pt>
                <c:pt idx="638">
                  <c:v>1509.5109952744399</c:v>
                </c:pt>
                <c:pt idx="639">
                  <c:v>1508.2232413209599</c:v>
                </c:pt>
                <c:pt idx="640">
                  <c:v>1500.6466232673499</c:v>
                </c:pt>
                <c:pt idx="641">
                  <c:v>1473.7633532416201</c:v>
                </c:pt>
                <c:pt idx="643">
                  <c:v>1527.39723765846</c:v>
                </c:pt>
                <c:pt idx="644">
                  <c:v>1520.5446515727499</c:v>
                </c:pt>
                <c:pt idx="645">
                  <c:v>1523.3007373497001</c:v>
                </c:pt>
                <c:pt idx="646">
                  <c:v>1512.7959192600399</c:v>
                </c:pt>
                <c:pt idx="647">
                  <c:v>1517.7392672098999</c:v>
                </c:pt>
                <c:pt idx="648">
                  <c:v>1507.18792054285</c:v>
                </c:pt>
                <c:pt idx="649">
                  <c:v>1495.47586895732</c:v>
                </c:pt>
                <c:pt idx="650">
                  <c:v>1491.99887361387</c:v>
                </c:pt>
                <c:pt idx="651">
                  <c:v>1499.07334826897</c:v>
                </c:pt>
                <c:pt idx="652">
                  <c:v>1498.48875627845</c:v>
                </c:pt>
                <c:pt idx="653">
                  <c:v>1498.7863212285899</c:v>
                </c:pt>
                <c:pt idx="654">
                  <c:v>1500.89800390347</c:v>
                </c:pt>
                <c:pt idx="655">
                  <c:v>1492.98507619561</c:v>
                </c:pt>
                <c:pt idx="656">
                  <c:v>1509.6831104196899</c:v>
                </c:pt>
                <c:pt idx="657">
                  <c:v>1492.7548110553</c:v>
                </c:pt>
                <c:pt idx="658">
                  <c:v>1503.11462488658</c:v>
                </c:pt>
                <c:pt idx="659">
                  <c:v>1505.0571676417101</c:v>
                </c:pt>
                <c:pt idx="660">
                  <c:v>1499.61445298072</c:v>
                </c:pt>
                <c:pt idx="661">
                  <c:v>1497.78743376384</c:v>
                </c:pt>
                <c:pt idx="662">
                  <c:v>1485.7835383843001</c:v>
                </c:pt>
                <c:pt idx="663">
                  <c:v>1500.53367243465</c:v>
                </c:pt>
                <c:pt idx="664">
                  <c:v>1481.09738332761</c:v>
                </c:pt>
                <c:pt idx="665">
                  <c:v>1493.9186983571699</c:v>
                </c:pt>
                <c:pt idx="666">
                  <c:v>1496.6560792533901</c:v>
                </c:pt>
                <c:pt idx="667">
                  <c:v>1488.42509711669</c:v>
                </c:pt>
                <c:pt idx="668">
                  <c:v>1500.7590702198199</c:v>
                </c:pt>
                <c:pt idx="669">
                  <c:v>1493.2996834084699</c:v>
                </c:pt>
                <c:pt idx="670">
                  <c:v>1500.3576330993501</c:v>
                </c:pt>
                <c:pt idx="671">
                  <c:v>1493.8387839460199</c:v>
                </c:pt>
                <c:pt idx="672">
                  <c:v>1498.3925626954001</c:v>
                </c:pt>
                <c:pt idx="673">
                  <c:v>1492.4709682160101</c:v>
                </c:pt>
                <c:pt idx="674">
                  <c:v>1487.24729037064</c:v>
                </c:pt>
                <c:pt idx="675">
                  <c:v>1494.6953485316701</c:v>
                </c:pt>
                <c:pt idx="676">
                  <c:v>1482.85132765764</c:v>
                </c:pt>
                <c:pt idx="677">
                  <c:v>1506.42554508489</c:v>
                </c:pt>
                <c:pt idx="678">
                  <c:v>1491.7499926502301</c:v>
                </c:pt>
                <c:pt idx="679">
                  <c:v>1484.7011702155601</c:v>
                </c:pt>
                <c:pt idx="680">
                  <c:v>1506.5459802105299</c:v>
                </c:pt>
                <c:pt idx="681">
                  <c:v>1505.0008307273399</c:v>
                </c:pt>
                <c:pt idx="682">
                  <c:v>1495.65648688539</c:v>
                </c:pt>
                <c:pt idx="683">
                  <c:v>1483.6557872866599</c:v>
                </c:pt>
                <c:pt idx="684">
                  <c:v>1500.0787955782</c:v>
                </c:pt>
                <c:pt idx="685">
                  <c:v>1479.9379265086</c:v>
                </c:pt>
                <c:pt idx="686">
                  <c:v>1497.13816542265</c:v>
                </c:pt>
                <c:pt idx="687">
                  <c:v>1492.4835965847601</c:v>
                </c:pt>
                <c:pt idx="688">
                  <c:v>1481.7971994669001</c:v>
                </c:pt>
                <c:pt idx="689">
                  <c:v>1487.96764830182</c:v>
                </c:pt>
                <c:pt idx="690">
                  <c:v>1487.75751901733</c:v>
                </c:pt>
                <c:pt idx="691">
                  <c:v>1501.9542225756099</c:v>
                </c:pt>
                <c:pt idx="692">
                  <c:v>1501.56580831206</c:v>
                </c:pt>
                <c:pt idx="693">
                  <c:v>1491.8989712207001</c:v>
                </c:pt>
                <c:pt idx="694">
                  <c:v>1497.7780307401699</c:v>
                </c:pt>
                <c:pt idx="695">
                  <c:v>1484.4254800157</c:v>
                </c:pt>
                <c:pt idx="696">
                  <c:v>1497.45444982089</c:v>
                </c:pt>
                <c:pt idx="697">
                  <c:v>1506.8412172160799</c:v>
                </c:pt>
                <c:pt idx="698">
                  <c:v>1489.2606238016101</c:v>
                </c:pt>
                <c:pt idx="699">
                  <c:v>1501.95577772563</c:v>
                </c:pt>
                <c:pt idx="700">
                  <c:v>1501.6887082451599</c:v>
                </c:pt>
                <c:pt idx="701">
                  <c:v>1499.3572730839801</c:v>
                </c:pt>
                <c:pt idx="702">
                  <c:v>1503.3521593441201</c:v>
                </c:pt>
                <c:pt idx="703">
                  <c:v>1487.22034259928</c:v>
                </c:pt>
                <c:pt idx="704">
                  <c:v>1497.2830770948101</c:v>
                </c:pt>
                <c:pt idx="705">
                  <c:v>1501.77122190567</c:v>
                </c:pt>
                <c:pt idx="706">
                  <c:v>1492.81271917709</c:v>
                </c:pt>
                <c:pt idx="707">
                  <c:v>1489.8954874091501</c:v>
                </c:pt>
                <c:pt idx="708">
                  <c:v>1492.72551144217</c:v>
                </c:pt>
                <c:pt idx="709">
                  <c:v>1488.55991625817</c:v>
                </c:pt>
                <c:pt idx="710">
                  <c:v>1496.9030682722801</c:v>
                </c:pt>
                <c:pt idx="711">
                  <c:v>1493.75011254776</c:v>
                </c:pt>
                <c:pt idx="712">
                  <c:v>1500.00922414909</c:v>
                </c:pt>
                <c:pt idx="713">
                  <c:v>1509.4777252787101</c:v>
                </c:pt>
                <c:pt idx="714">
                  <c:v>1495.0466661329301</c:v>
                </c:pt>
                <c:pt idx="715">
                  <c:v>1495.36647598936</c:v>
                </c:pt>
                <c:pt idx="716">
                  <c:v>1500.49583228908</c:v>
                </c:pt>
                <c:pt idx="717">
                  <c:v>1487.1328808822</c:v>
                </c:pt>
                <c:pt idx="718">
                  <c:v>1486.64661067465</c:v>
                </c:pt>
                <c:pt idx="719">
                  <c:v>1500.5388213904801</c:v>
                </c:pt>
                <c:pt idx="720">
                  <c:v>1495.62148592433</c:v>
                </c:pt>
                <c:pt idx="721">
                  <c:v>1514.4241246107299</c:v>
                </c:pt>
                <c:pt idx="722">
                  <c:v>1510.40216145615</c:v>
                </c:pt>
                <c:pt idx="723">
                  <c:v>1511.6033550136001</c:v>
                </c:pt>
                <c:pt idx="724">
                  <c:v>1493.7466225124899</c:v>
                </c:pt>
                <c:pt idx="725">
                  <c:v>1451.7063670986499</c:v>
                </c:pt>
                <c:pt idx="726">
                  <c:v>1549.4423563683999</c:v>
                </c:pt>
                <c:pt idx="727">
                  <c:v>1500.29828634657</c:v>
                </c:pt>
                <c:pt idx="728">
                  <c:v>1496.6319418711</c:v>
                </c:pt>
                <c:pt idx="729">
                  <c:v>1513.27541291734</c:v>
                </c:pt>
                <c:pt idx="730">
                  <c:v>1502.1788481395599</c:v>
                </c:pt>
                <c:pt idx="731">
                  <c:v>1509.5640016287555</c:v>
                </c:pt>
                <c:pt idx="732">
                  <c:v>1490.1187750607817</c:v>
                </c:pt>
                <c:pt idx="733">
                  <c:v>1501.4372629431839</c:v>
                </c:pt>
                <c:pt idx="734">
                  <c:v>1502.5865740417491</c:v>
                </c:pt>
                <c:pt idx="735">
                  <c:v>1493.6455819835621</c:v>
                </c:pt>
                <c:pt idx="736">
                  <c:v>1494.2942158951462</c:v>
                </c:pt>
                <c:pt idx="737">
                  <c:v>1489.8717119964326</c:v>
                </c:pt>
                <c:pt idx="738">
                  <c:v>1491.8292080461401</c:v>
                </c:pt>
                <c:pt idx="739">
                  <c:v>1501.664488393124</c:v>
                </c:pt>
                <c:pt idx="740">
                  <c:v>1499.8501228255066</c:v>
                </c:pt>
                <c:pt idx="741">
                  <c:v>1501.0559176172883</c:v>
                </c:pt>
                <c:pt idx="742">
                  <c:v>1483.698867423175</c:v>
                </c:pt>
                <c:pt idx="743">
                  <c:v>1500.2178816692058</c:v>
                </c:pt>
                <c:pt idx="744">
                  <c:v>1488.5791431189994</c:v>
                </c:pt>
                <c:pt idx="745">
                  <c:v>1482.5228600486175</c:v>
                </c:pt>
                <c:pt idx="746">
                  <c:v>1499.0262286919397</c:v>
                </c:pt>
                <c:pt idx="747">
                  <c:v>1499.1436626722636</c:v>
                </c:pt>
                <c:pt idx="748">
                  <c:v>1494.5943601544152</c:v>
                </c:pt>
                <c:pt idx="749">
                  <c:v>1501.4810814582277</c:v>
                </c:pt>
                <c:pt idx="750">
                  <c:v>1497.2847773794499</c:v>
                </c:pt>
                <c:pt idx="751">
                  <c:v>1512.5821124265469</c:v>
                </c:pt>
                <c:pt idx="752">
                  <c:v>1492.0793158409874</c:v>
                </c:pt>
                <c:pt idx="753">
                  <c:v>1497.3370089447119</c:v>
                </c:pt>
                <c:pt idx="754">
                  <c:v>1491.6049640628833</c:v>
                </c:pt>
                <c:pt idx="755">
                  <c:v>1493.3734399178038</c:v>
                </c:pt>
                <c:pt idx="756">
                  <c:v>1501.0291698374567</c:v>
                </c:pt>
                <c:pt idx="757">
                  <c:v>1502.5168431478526</c:v>
                </c:pt>
                <c:pt idx="758">
                  <c:v>1502.2740411446835</c:v>
                </c:pt>
                <c:pt idx="759">
                  <c:v>1502.7061621374935</c:v>
                </c:pt>
                <c:pt idx="760">
                  <c:v>1500.198862793329</c:v>
                </c:pt>
                <c:pt idx="761">
                  <c:v>1501.954557075785</c:v>
                </c:pt>
                <c:pt idx="762">
                  <c:v>1499.0303400323642</c:v>
                </c:pt>
                <c:pt idx="763">
                  <c:v>1488.3545879748233</c:v>
                </c:pt>
                <c:pt idx="764">
                  <c:v>1496.5295605293102</c:v>
                </c:pt>
                <c:pt idx="765">
                  <c:v>1497.5767430748758</c:v>
                </c:pt>
                <c:pt idx="766">
                  <c:v>1505.4299708310709</c:v>
                </c:pt>
                <c:pt idx="767">
                  <c:v>1500.1478199348719</c:v>
                </c:pt>
                <c:pt idx="768">
                  <c:v>1504.4430916292922</c:v>
                </c:pt>
                <c:pt idx="769">
                  <c:v>1510.4948693502106</c:v>
                </c:pt>
                <c:pt idx="770">
                  <c:v>1498.3618378091658</c:v>
                </c:pt>
                <c:pt idx="771">
                  <c:v>1498.0598972286925</c:v>
                </c:pt>
                <c:pt idx="772">
                  <c:v>1499.4120978677306</c:v>
                </c:pt>
                <c:pt idx="773">
                  <c:v>1492.456880388293</c:v>
                </c:pt>
                <c:pt idx="774">
                  <c:v>1497.1698511645552</c:v>
                </c:pt>
                <c:pt idx="775">
                  <c:v>1503.7660784546945</c:v>
                </c:pt>
                <c:pt idx="776">
                  <c:v>1495.4604483983544</c:v>
                </c:pt>
                <c:pt idx="777">
                  <c:v>1496.2022156001781</c:v>
                </c:pt>
                <c:pt idx="778">
                  <c:v>1510.0863821621756</c:v>
                </c:pt>
                <c:pt idx="779">
                  <c:v>1504.2814659774756</c:v>
                </c:pt>
                <c:pt idx="780">
                  <c:v>1503.1466320523182</c:v>
                </c:pt>
                <c:pt idx="781">
                  <c:v>1511.5776207294107</c:v>
                </c:pt>
                <c:pt idx="782">
                  <c:v>1508.4181588583956</c:v>
                </c:pt>
                <c:pt idx="783">
                  <c:v>1501.0600336211287</c:v>
                </c:pt>
                <c:pt idx="784">
                  <c:v>1495.1163755247485</c:v>
                </c:pt>
                <c:pt idx="785">
                  <c:v>1506.7117854788617</c:v>
                </c:pt>
                <c:pt idx="786">
                  <c:v>1501.2062596819053</c:v>
                </c:pt>
                <c:pt idx="787">
                  <c:v>1512.3132541952475</c:v>
                </c:pt>
                <c:pt idx="788">
                  <c:v>1496.065298480542</c:v>
                </c:pt>
                <c:pt idx="789">
                  <c:v>1486.9730845370666</c:v>
                </c:pt>
                <c:pt idx="790">
                  <c:v>1497.847348697258</c:v>
                </c:pt>
                <c:pt idx="791">
                  <c:v>1494.7505483787659</c:v>
                </c:pt>
                <c:pt idx="792">
                  <c:v>1488.3597958022006</c:v>
                </c:pt>
                <c:pt idx="793">
                  <c:v>1493.4412130975154</c:v>
                </c:pt>
                <c:pt idx="794">
                  <c:v>1514.5131633148867</c:v>
                </c:pt>
                <c:pt idx="795">
                  <c:v>1481.7633970526874</c:v>
                </c:pt>
                <c:pt idx="796">
                  <c:v>1486.0633994085663</c:v>
                </c:pt>
                <c:pt idx="797">
                  <c:v>1494.5491201261891</c:v>
                </c:pt>
                <c:pt idx="798">
                  <c:v>1491.5922975720109</c:v>
                </c:pt>
                <c:pt idx="799">
                  <c:v>1499.0915159984138</c:v>
                </c:pt>
                <c:pt idx="800">
                  <c:v>1502.3006562879968</c:v>
                </c:pt>
                <c:pt idx="801">
                  <c:v>1510.3330199461134</c:v>
                </c:pt>
                <c:pt idx="802">
                  <c:v>1499.8957145441452</c:v>
                </c:pt>
                <c:pt idx="803">
                  <c:v>1490.511994971554</c:v>
                </c:pt>
                <c:pt idx="804">
                  <c:v>1491.7204281769748</c:v>
                </c:pt>
                <c:pt idx="805">
                  <c:v>1494.3668530653904</c:v>
                </c:pt>
                <c:pt idx="806">
                  <c:v>1494.242271886566</c:v>
                </c:pt>
                <c:pt idx="807">
                  <c:v>1496.126063543041</c:v>
                </c:pt>
                <c:pt idx="808">
                  <c:v>1499.2701053334081</c:v>
                </c:pt>
                <c:pt idx="809">
                  <c:v>1494.3551764368235</c:v>
                </c:pt>
                <c:pt idx="810">
                  <c:v>1500.8771552165706</c:v>
                </c:pt>
                <c:pt idx="811">
                  <c:v>1494.7971735724834</c:v>
                </c:pt>
                <c:pt idx="812">
                  <c:v>1499.2945388512851</c:v>
                </c:pt>
                <c:pt idx="813">
                  <c:v>1507.9817278455598</c:v>
                </c:pt>
                <c:pt idx="814">
                  <c:v>1488.7974746939315</c:v>
                </c:pt>
                <c:pt idx="815">
                  <c:v>1496.8190742834493</c:v>
                </c:pt>
                <c:pt idx="816">
                  <c:v>1501.3707678832588</c:v>
                </c:pt>
                <c:pt idx="817">
                  <c:v>1483.6448197567636</c:v>
                </c:pt>
                <c:pt idx="818">
                  <c:v>1512.257305056107</c:v>
                </c:pt>
                <c:pt idx="819">
                  <c:v>1498.5410650379054</c:v>
                </c:pt>
                <c:pt idx="820">
                  <c:v>1491.9984294897881</c:v>
                </c:pt>
                <c:pt idx="821">
                  <c:v>1492.1482054268868</c:v>
                </c:pt>
                <c:pt idx="822">
                  <c:v>1504.2186938026659</c:v>
                </c:pt>
                <c:pt idx="823">
                  <c:v>1497.6397018146126</c:v>
                </c:pt>
                <c:pt idx="824">
                  <c:v>1501.1942017695653</c:v>
                </c:pt>
                <c:pt idx="825">
                  <c:v>1510.524046064063</c:v>
                </c:pt>
                <c:pt idx="826">
                  <c:v>1503.4795113569735</c:v>
                </c:pt>
                <c:pt idx="827">
                  <c:v>1500.8822867580648</c:v>
                </c:pt>
                <c:pt idx="828">
                  <c:v>1502.0612409850207</c:v>
                </c:pt>
                <c:pt idx="829">
                  <c:v>1508.6219100216781</c:v>
                </c:pt>
                <c:pt idx="830">
                  <c:v>1516.4013465158521</c:v>
                </c:pt>
                <c:pt idx="831">
                  <c:v>1504.5125509638503</c:v>
                </c:pt>
                <c:pt idx="832">
                  <c:v>1504.3205025191423</c:v>
                </c:pt>
                <c:pt idx="833">
                  <c:v>1506.5022823445952</c:v>
                </c:pt>
                <c:pt idx="834">
                  <c:v>1488.9295237498777</c:v>
                </c:pt>
                <c:pt idx="835">
                  <c:v>1498.1943021795614</c:v>
                </c:pt>
                <c:pt idx="836">
                  <c:v>1505.4420929523376</c:v>
                </c:pt>
                <c:pt idx="837">
                  <c:v>1502.8708026393297</c:v>
                </c:pt>
                <c:pt idx="838">
                  <c:v>1504.8703488947876</c:v>
                </c:pt>
                <c:pt idx="839">
                  <c:v>1503.3628654593053</c:v>
                </c:pt>
                <c:pt idx="840">
                  <c:v>1506.8113535919331</c:v>
                </c:pt>
                <c:pt idx="841">
                  <c:v>1497.1754980383582</c:v>
                </c:pt>
                <c:pt idx="842">
                  <c:v>1502.8641925917411</c:v>
                </c:pt>
                <c:pt idx="843">
                  <c:v>1506.4233542787313</c:v>
                </c:pt>
                <c:pt idx="844">
                  <c:v>1491.1473764598456</c:v>
                </c:pt>
                <c:pt idx="845">
                  <c:v>1506.4043543484452</c:v>
                </c:pt>
                <c:pt idx="846">
                  <c:v>1511.4615391467432</c:v>
                </c:pt>
                <c:pt idx="847">
                  <c:v>1504.7218897288237</c:v>
                </c:pt>
                <c:pt idx="848">
                  <c:v>1496.9089363789685</c:v>
                </c:pt>
                <c:pt idx="849">
                  <c:v>1499.465895376014</c:v>
                </c:pt>
                <c:pt idx="850">
                  <c:v>1502.8901232016317</c:v>
                </c:pt>
                <c:pt idx="851">
                  <c:v>1503.4486186657562</c:v>
                </c:pt>
                <c:pt idx="852">
                  <c:v>1509.105668275721</c:v>
                </c:pt>
                <c:pt idx="853">
                  <c:v>1499.7151595795151</c:v>
                </c:pt>
                <c:pt idx="854">
                  <c:v>1494.9589757937053</c:v>
                </c:pt>
                <c:pt idx="855">
                  <c:v>1508.7613979936714</c:v>
                </c:pt>
                <c:pt idx="856">
                  <c:v>1517.7877679404376</c:v>
                </c:pt>
                <c:pt idx="857">
                  <c:v>1505.3781005594383</c:v>
                </c:pt>
                <c:pt idx="858">
                  <c:v>1495.6660368256387</c:v>
                </c:pt>
                <c:pt idx="859">
                  <c:v>1504.9204476864948</c:v>
                </c:pt>
                <c:pt idx="860">
                  <c:v>1489.6361576449426</c:v>
                </c:pt>
                <c:pt idx="861">
                  <c:v>1457.7823183496264</c:v>
                </c:pt>
                <c:pt idx="862">
                  <c:v>1505.1024765220229</c:v>
                </c:pt>
                <c:pt idx="863">
                  <c:v>1502.1352793870419</c:v>
                </c:pt>
                <c:pt idx="864">
                  <c:v>1490.9422992367729</c:v>
                </c:pt>
                <c:pt idx="865">
                  <c:v>1483.6307612823416</c:v>
                </c:pt>
                <c:pt idx="866">
                  <c:v>1505.8161668529385</c:v>
                </c:pt>
                <c:pt idx="867">
                  <c:v>1500.2947959424139</c:v>
                </c:pt>
                <c:pt idx="868">
                  <c:v>1503.8878227255091</c:v>
                </c:pt>
                <c:pt idx="869">
                  <c:v>1490.5825842744121</c:v>
                </c:pt>
                <c:pt idx="870">
                  <c:v>1489.8799095166696</c:v>
                </c:pt>
                <c:pt idx="871">
                  <c:v>1500.6297426599949</c:v>
                </c:pt>
                <c:pt idx="872">
                  <c:v>1501.0817040203137</c:v>
                </c:pt>
                <c:pt idx="873">
                  <c:v>1494.81271134245</c:v>
                </c:pt>
                <c:pt idx="874">
                  <c:v>1487.5773166680131</c:v>
                </c:pt>
                <c:pt idx="875">
                  <c:v>1500.4925026428075</c:v>
                </c:pt>
                <c:pt idx="876">
                  <c:v>1494.8596595657812</c:v>
                </c:pt>
                <c:pt idx="877">
                  <c:v>1506.6117942291842</c:v>
                </c:pt>
                <c:pt idx="878">
                  <c:v>1485.4390543443724</c:v>
                </c:pt>
                <c:pt idx="879">
                  <c:v>1511.5517141892935</c:v>
                </c:pt>
                <c:pt idx="880">
                  <c:v>1485.3727776849298</c:v>
                </c:pt>
                <c:pt idx="881">
                  <c:v>1496.5947352410765</c:v>
                </c:pt>
                <c:pt idx="882">
                  <c:v>1506.4159858370867</c:v>
                </c:pt>
                <c:pt idx="883">
                  <c:v>1488.7998542454543</c:v>
                </c:pt>
                <c:pt idx="884">
                  <c:v>1487.2307142747504</c:v>
                </c:pt>
                <c:pt idx="885">
                  <c:v>1488.9029324522594</c:v>
                </c:pt>
                <c:pt idx="886">
                  <c:v>1485.7123873056871</c:v>
                </c:pt>
                <c:pt idx="887">
                  <c:v>1500.5614357935267</c:v>
                </c:pt>
                <c:pt idx="888">
                  <c:v>1504.6146949671945</c:v>
                </c:pt>
                <c:pt idx="889">
                  <c:v>1492.7144316638389</c:v>
                </c:pt>
                <c:pt idx="890">
                  <c:v>1491.8036590438583</c:v>
                </c:pt>
                <c:pt idx="891">
                  <c:v>1503.5373886903587</c:v>
                </c:pt>
                <c:pt idx="892">
                  <c:v>1498.7407022155051</c:v>
                </c:pt>
                <c:pt idx="893">
                  <c:v>1500.0113324019528</c:v>
                </c:pt>
                <c:pt idx="894">
                  <c:v>1486.5443285832303</c:v>
                </c:pt>
                <c:pt idx="895">
                  <c:v>1480.5550414253739</c:v>
                </c:pt>
                <c:pt idx="896">
                  <c:v>1495.466825468616</c:v>
                </c:pt>
                <c:pt idx="897">
                  <c:v>1501.6499994936507</c:v>
                </c:pt>
                <c:pt idx="898">
                  <c:v>1496.8071009752223</c:v>
                </c:pt>
                <c:pt idx="899">
                  <c:v>1495.3002512641426</c:v>
                </c:pt>
                <c:pt idx="900">
                  <c:v>1502.6052702281393</c:v>
                </c:pt>
                <c:pt idx="901">
                  <c:v>1497.2604106159845</c:v>
                </c:pt>
                <c:pt idx="902">
                  <c:v>1494.6346231437933</c:v>
                </c:pt>
                <c:pt idx="903">
                  <c:v>1497.9639208138351</c:v>
                </c:pt>
                <c:pt idx="904">
                  <c:v>1490.9337766337896</c:v>
                </c:pt>
                <c:pt idx="905">
                  <c:v>1507.707169252589</c:v>
                </c:pt>
                <c:pt idx="906">
                  <c:v>1506.1064296993086</c:v>
                </c:pt>
                <c:pt idx="907">
                  <c:v>1495.7669268447235</c:v>
                </c:pt>
                <c:pt idx="908">
                  <c:v>1492.4379482294296</c:v>
                </c:pt>
                <c:pt idx="909">
                  <c:v>1487.104511593767</c:v>
                </c:pt>
                <c:pt idx="910">
                  <c:v>1501.970030158828</c:v>
                </c:pt>
                <c:pt idx="911">
                  <c:v>1507.6074709949271</c:v>
                </c:pt>
                <c:pt idx="912">
                  <c:v>1485.6874081963201</c:v>
                </c:pt>
                <c:pt idx="913">
                  <c:v>1496.6923020100178</c:v>
                </c:pt>
                <c:pt idx="914">
                  <c:v>1495.1391703527581</c:v>
                </c:pt>
                <c:pt idx="915">
                  <c:v>1492.1897270863324</c:v>
                </c:pt>
                <c:pt idx="916">
                  <c:v>1515.2466856131698</c:v>
                </c:pt>
                <c:pt idx="917">
                  <c:v>1500.1209747236333</c:v>
                </c:pt>
                <c:pt idx="918">
                  <c:v>1494.1066775793486</c:v>
                </c:pt>
                <c:pt idx="919">
                  <c:v>1499.4301027873864</c:v>
                </c:pt>
                <c:pt idx="920">
                  <c:v>1500.2717905575162</c:v>
                </c:pt>
                <c:pt idx="921">
                  <c:v>1494.4774740586438</c:v>
                </c:pt>
                <c:pt idx="922">
                  <c:v>1502.1799467325882</c:v>
                </c:pt>
                <c:pt idx="923">
                  <c:v>1498.6344882613166</c:v>
                </c:pt>
                <c:pt idx="924">
                  <c:v>1502.0720625291035</c:v>
                </c:pt>
                <c:pt idx="925">
                  <c:v>1496.4535155265294</c:v>
                </c:pt>
                <c:pt idx="926">
                  <c:v>1505.2822084159181</c:v>
                </c:pt>
                <c:pt idx="927">
                  <c:v>1491.4035698475391</c:v>
                </c:pt>
                <c:pt idx="928">
                  <c:v>1493.7551879527423</c:v>
                </c:pt>
                <c:pt idx="929">
                  <c:v>1503.6044663863111</c:v>
                </c:pt>
                <c:pt idx="930">
                  <c:v>1498.73101047563</c:v>
                </c:pt>
                <c:pt idx="931">
                  <c:v>1489.1246039658631</c:v>
                </c:pt>
                <c:pt idx="932">
                  <c:v>1489.7034789367174</c:v>
                </c:pt>
                <c:pt idx="933">
                  <c:v>1488.3763229393439</c:v>
                </c:pt>
                <c:pt idx="934">
                  <c:v>1498.7847353175496</c:v>
                </c:pt>
                <c:pt idx="935">
                  <c:v>1497.5369732979029</c:v>
                </c:pt>
                <c:pt idx="936">
                  <c:v>1498.5078098275592</c:v>
                </c:pt>
                <c:pt idx="937">
                  <c:v>1503.7901185713779</c:v>
                </c:pt>
                <c:pt idx="938">
                  <c:v>1493.3225879269194</c:v>
                </c:pt>
                <c:pt idx="939">
                  <c:v>1480.2271124786344</c:v>
                </c:pt>
                <c:pt idx="940">
                  <c:v>1501.3723138289236</c:v>
                </c:pt>
                <c:pt idx="941">
                  <c:v>1496.1587513803672</c:v>
                </c:pt>
                <c:pt idx="942">
                  <c:v>1485.415931218668</c:v>
                </c:pt>
                <c:pt idx="943">
                  <c:v>1486.9418958028143</c:v>
                </c:pt>
                <c:pt idx="944">
                  <c:v>1495.5362670665595</c:v>
                </c:pt>
                <c:pt idx="945">
                  <c:v>1499.9909972723528</c:v>
                </c:pt>
                <c:pt idx="946">
                  <c:v>1494.3108070774922</c:v>
                </c:pt>
                <c:pt idx="947">
                  <c:v>1500.5752327403595</c:v>
                </c:pt>
                <c:pt idx="948">
                  <c:v>1499.4336992093729</c:v>
                </c:pt>
                <c:pt idx="949">
                  <c:v>1503.3758987528402</c:v>
                </c:pt>
                <c:pt idx="950">
                  <c:v>1506.2457411359544</c:v>
                </c:pt>
                <c:pt idx="951">
                  <c:v>1493.6655366515929</c:v>
                </c:pt>
                <c:pt idx="952">
                  <c:v>1496.0956412041476</c:v>
                </c:pt>
                <c:pt idx="953">
                  <c:v>1503.4117872973536</c:v>
                </c:pt>
                <c:pt idx="954">
                  <c:v>1515.0298591482644</c:v>
                </c:pt>
                <c:pt idx="955">
                  <c:v>1500.3084582335107</c:v>
                </c:pt>
                <c:pt idx="956">
                  <c:v>1419.0706048789409</c:v>
                </c:pt>
                <c:pt idx="957">
                  <c:v>1534.5969162420477</c:v>
                </c:pt>
                <c:pt idx="958">
                  <c:v>1515.5216947242104</c:v>
                </c:pt>
                <c:pt idx="959">
                  <c:v>1517.9588657633594</c:v>
                </c:pt>
                <c:pt idx="960">
                  <c:v>1506.4998473529758</c:v>
                </c:pt>
                <c:pt idx="961">
                  <c:v>1496.4579010794571</c:v>
                </c:pt>
                <c:pt idx="962">
                  <c:v>1506.2621589072062</c:v>
                </c:pt>
                <c:pt idx="963">
                  <c:v>1514.3458877497396</c:v>
                </c:pt>
                <c:pt idx="964">
                  <c:v>1488.0476433065053</c:v>
                </c:pt>
                <c:pt idx="965">
                  <c:v>1496.0480025241666</c:v>
                </c:pt>
                <c:pt idx="966">
                  <c:v>1493.6859757134878</c:v>
                </c:pt>
                <c:pt idx="967">
                  <c:v>1498.3972641748926</c:v>
                </c:pt>
                <c:pt idx="968">
                  <c:v>1506.8489766341952</c:v>
                </c:pt>
                <c:pt idx="969">
                  <c:v>1496.6128713404619</c:v>
                </c:pt>
                <c:pt idx="970">
                  <c:v>1506.9850205744044</c:v>
                </c:pt>
                <c:pt idx="971">
                  <c:v>1512.7823494018767</c:v>
                </c:pt>
                <c:pt idx="972">
                  <c:v>1490.1395869843718</c:v>
                </c:pt>
                <c:pt idx="973">
                  <c:v>1497.9833920039086</c:v>
                </c:pt>
                <c:pt idx="974">
                  <c:v>1507.3985837588018</c:v>
                </c:pt>
                <c:pt idx="975">
                  <c:v>1503.3882755848856</c:v>
                </c:pt>
                <c:pt idx="976">
                  <c:v>1510.1346906881195</c:v>
                </c:pt>
                <c:pt idx="977">
                  <c:v>1506.8752857099216</c:v>
                </c:pt>
                <c:pt idx="978">
                  <c:v>1510.026331723742</c:v>
                </c:pt>
                <c:pt idx="979">
                  <c:v>1502.7362727417312</c:v>
                </c:pt>
                <c:pt idx="980">
                  <c:v>1502.9340593086763</c:v>
                </c:pt>
                <c:pt idx="981">
                  <c:v>1508.1349324545736</c:v>
                </c:pt>
                <c:pt idx="982">
                  <c:v>1508.4045547522348</c:v>
                </c:pt>
                <c:pt idx="983">
                  <c:v>1516.8184520799673</c:v>
                </c:pt>
                <c:pt idx="984">
                  <c:v>1497.7340893714111</c:v>
                </c:pt>
                <c:pt idx="985">
                  <c:v>1512.0541810458121</c:v>
                </c:pt>
                <c:pt idx="986">
                  <c:v>1505.6868764809569</c:v>
                </c:pt>
                <c:pt idx="987">
                  <c:v>1498.4200721294571</c:v>
                </c:pt>
                <c:pt idx="988">
                  <c:v>1489.6497396112552</c:v>
                </c:pt>
                <c:pt idx="989">
                  <c:v>1494.0810840459817</c:v>
                </c:pt>
                <c:pt idx="990">
                  <c:v>1502.6735153646612</c:v>
                </c:pt>
                <c:pt idx="991">
                  <c:v>1501.2070343229482</c:v>
                </c:pt>
                <c:pt idx="992">
                  <c:v>1503.5121090993637</c:v>
                </c:pt>
                <c:pt idx="993">
                  <c:v>1505.9535490796707</c:v>
                </c:pt>
                <c:pt idx="994">
                  <c:v>1503.8392071835272</c:v>
                </c:pt>
                <c:pt idx="995">
                  <c:v>1499.8903421681857</c:v>
                </c:pt>
                <c:pt idx="996">
                  <c:v>1495.8677195124344</c:v>
                </c:pt>
                <c:pt idx="997">
                  <c:v>1488.1552970984762</c:v>
                </c:pt>
                <c:pt idx="998">
                  <c:v>1492.6101714210615</c:v>
                </c:pt>
                <c:pt idx="999">
                  <c:v>1497.2475224726638</c:v>
                </c:pt>
                <c:pt idx="1000">
                  <c:v>1491.9510410861933</c:v>
                </c:pt>
                <c:pt idx="1001">
                  <c:v>1484.3142337042652</c:v>
                </c:pt>
                <c:pt idx="1002">
                  <c:v>1494.7753354215649</c:v>
                </c:pt>
                <c:pt idx="1003">
                  <c:v>1493.3284980103699</c:v>
                </c:pt>
                <c:pt idx="1004">
                  <c:v>1489.6214432774664</c:v>
                </c:pt>
                <c:pt idx="1005">
                  <c:v>1483.9427215103269</c:v>
                </c:pt>
                <c:pt idx="1006">
                  <c:v>1503.5960439570003</c:v>
                </c:pt>
                <c:pt idx="1007">
                  <c:v>1513.1430257654722</c:v>
                </c:pt>
                <c:pt idx="1008">
                  <c:v>1505.0406353444978</c:v>
                </c:pt>
                <c:pt idx="1009">
                  <c:v>1481.2454991227585</c:v>
                </c:pt>
                <c:pt idx="1010">
                  <c:v>1489.3596934367417</c:v>
                </c:pt>
                <c:pt idx="1011">
                  <c:v>1493.9052930869891</c:v>
                </c:pt>
                <c:pt idx="1012">
                  <c:v>1485.9391900867124</c:v>
                </c:pt>
                <c:pt idx="1013">
                  <c:v>1490.733212944052</c:v>
                </c:pt>
                <c:pt idx="1014">
                  <c:v>1477.8448160529545</c:v>
                </c:pt>
                <c:pt idx="1015">
                  <c:v>1514.3749317191362</c:v>
                </c:pt>
                <c:pt idx="1016">
                  <c:v>1504.4504941672105</c:v>
                </c:pt>
                <c:pt idx="1017">
                  <c:v>1501.2324021706252</c:v>
                </c:pt>
                <c:pt idx="1018">
                  <c:v>1490.9722079618152</c:v>
                </c:pt>
                <c:pt idx="1019">
                  <c:v>1492.1734895174509</c:v>
                </c:pt>
                <c:pt idx="1020">
                  <c:v>1489.7561087368872</c:v>
                </c:pt>
                <c:pt idx="1021">
                  <c:v>1488.5292141659661</c:v>
                </c:pt>
                <c:pt idx="1022">
                  <c:v>1498.4291705576265</c:v>
                </c:pt>
                <c:pt idx="1023">
                  <c:v>1480.6870401180433</c:v>
                </c:pt>
                <c:pt idx="1024">
                  <c:v>1494.0280292608575</c:v>
                </c:pt>
                <c:pt idx="1025">
                  <c:v>1503.3937228486227</c:v>
                </c:pt>
                <c:pt idx="1026">
                  <c:v>1481.6354120502504</c:v>
                </c:pt>
                <c:pt idx="1027">
                  <c:v>1480.5963433565805</c:v>
                </c:pt>
                <c:pt idx="1028">
                  <c:v>1499.0371425780816</c:v>
                </c:pt>
                <c:pt idx="1029">
                  <c:v>1500.1332418648174</c:v>
                </c:pt>
                <c:pt idx="1030">
                  <c:v>1451.6448937799296</c:v>
                </c:pt>
                <c:pt idx="1031">
                  <c:v>1498.0173320538352</c:v>
                </c:pt>
                <c:pt idx="1032">
                  <c:v>1487.0565728220718</c:v>
                </c:pt>
                <c:pt idx="1033">
                  <c:v>1484.7058284611776</c:v>
                </c:pt>
                <c:pt idx="1034">
                  <c:v>1491.2300480583615</c:v>
                </c:pt>
                <c:pt idx="1035">
                  <c:v>1496.5153319920296</c:v>
                </c:pt>
                <c:pt idx="1036">
                  <c:v>1497.3129293791844</c:v>
                </c:pt>
                <c:pt idx="1037">
                  <c:v>1499.1896909534032</c:v>
                </c:pt>
                <c:pt idx="1038">
                  <c:v>1498.4910073928324</c:v>
                </c:pt>
                <c:pt idx="1039">
                  <c:v>1505.3068734059332</c:v>
                </c:pt>
                <c:pt idx="1040">
                  <c:v>1522.150344982892</c:v>
                </c:pt>
                <c:pt idx="1041">
                  <c:v>1508.5755028515227</c:v>
                </c:pt>
                <c:pt idx="1042">
                  <c:v>1494.1467574098388</c:v>
                </c:pt>
                <c:pt idx="1043">
                  <c:v>1484.9481203250821</c:v>
                </c:pt>
                <c:pt idx="1044">
                  <c:v>1490.4755890699435</c:v>
                </c:pt>
                <c:pt idx="1045">
                  <c:v>1481.6424051925453</c:v>
                </c:pt>
                <c:pt idx="1046">
                  <c:v>1498.2304838403995</c:v>
                </c:pt>
                <c:pt idx="1047">
                  <c:v>1483.6928460315621</c:v>
                </c:pt>
                <c:pt idx="1048">
                  <c:v>1483.753909048688</c:v>
                </c:pt>
                <c:pt idx="1049">
                  <c:v>1476.614307624644</c:v>
                </c:pt>
                <c:pt idx="1050">
                  <c:v>1485.2813124323643</c:v>
                </c:pt>
                <c:pt idx="1051">
                  <c:v>1494.4411043184898</c:v>
                </c:pt>
                <c:pt idx="1052">
                  <c:v>1493.7858372390151</c:v>
                </c:pt>
                <c:pt idx="1053">
                  <c:v>1502.1177346783081</c:v>
                </c:pt>
                <c:pt idx="1054">
                  <c:v>1483.8416623673902</c:v>
                </c:pt>
                <c:pt idx="1055">
                  <c:v>1482.294898890116</c:v>
                </c:pt>
                <c:pt idx="1056">
                  <c:v>1471.0457734170652</c:v>
                </c:pt>
                <c:pt idx="1057">
                  <c:v>1495.6114557566195</c:v>
                </c:pt>
                <c:pt idx="1058">
                  <c:v>1480.9037804952138</c:v>
                </c:pt>
                <c:pt idx="1059">
                  <c:v>1480.4244113647389</c:v>
                </c:pt>
                <c:pt idx="1060">
                  <c:v>1487.0473362691505</c:v>
                </c:pt>
                <c:pt idx="1061">
                  <c:v>1480.8395812283634</c:v>
                </c:pt>
                <c:pt idx="1062">
                  <c:v>1491.3815538639999</c:v>
                </c:pt>
                <c:pt idx="1063">
                  <c:v>1496.2908017907296</c:v>
                </c:pt>
                <c:pt idx="1064">
                  <c:v>1501.4926004537551</c:v>
                </c:pt>
                <c:pt idx="1065">
                  <c:v>1480.9544115204792</c:v>
                </c:pt>
                <c:pt idx="1066">
                  <c:v>1482.8835616882288</c:v>
                </c:pt>
                <c:pt idx="1067">
                  <c:v>1499.4715431393754</c:v>
                </c:pt>
                <c:pt idx="1068">
                  <c:v>1500.3117310757796</c:v>
                </c:pt>
                <c:pt idx="1069">
                  <c:v>1489.130531405754</c:v>
                </c:pt>
                <c:pt idx="1070">
                  <c:v>1486.9741220915039</c:v>
                </c:pt>
                <c:pt idx="1071">
                  <c:v>1483.6535733482399</c:v>
                </c:pt>
                <c:pt idx="1072">
                  <c:v>1509.8346537360196</c:v>
                </c:pt>
                <c:pt idx="1073">
                  <c:v>1502.4889088018501</c:v>
                </c:pt>
                <c:pt idx="1074">
                  <c:v>1492.8456822486696</c:v>
                </c:pt>
                <c:pt idx="1075">
                  <c:v>1492.4379451181399</c:v>
                </c:pt>
                <c:pt idx="1076">
                  <c:v>1497.6262222084899</c:v>
                </c:pt>
                <c:pt idx="1077">
                  <c:v>1482.036614409365</c:v>
                </c:pt>
                <c:pt idx="1078">
                  <c:v>1493.5538220085707</c:v>
                </c:pt>
                <c:pt idx="1079">
                  <c:v>1491.0590452209567</c:v>
                </c:pt>
                <c:pt idx="1080">
                  <c:v>1499.3142722774842</c:v>
                </c:pt>
                <c:pt idx="1081">
                  <c:v>1499.5693879993846</c:v>
                </c:pt>
                <c:pt idx="1082">
                  <c:v>1492.9557913254453</c:v>
                </c:pt>
                <c:pt idx="1083">
                  <c:v>1494.6807343644202</c:v>
                </c:pt>
                <c:pt idx="1084">
                  <c:v>1499.6292844439047</c:v>
                </c:pt>
                <c:pt idx="1085">
                  <c:v>1517.2324174710827</c:v>
                </c:pt>
                <c:pt idx="1086">
                  <c:v>1499.8766231793063</c:v>
                </c:pt>
                <c:pt idx="1087">
                  <c:v>1495.6972185656978</c:v>
                </c:pt>
                <c:pt idx="1088">
                  <c:v>1489.3810225152918</c:v>
                </c:pt>
                <c:pt idx="1089">
                  <c:v>1496.7667276435857</c:v>
                </c:pt>
                <c:pt idx="1090">
                  <c:v>1498.4852981173449</c:v>
                </c:pt>
                <c:pt idx="1091">
                  <c:v>1491.8512342377985</c:v>
                </c:pt>
                <c:pt idx="1092">
                  <c:v>1498.8913048812879</c:v>
                </c:pt>
                <c:pt idx="1093">
                  <c:v>1484.3915105832075</c:v>
                </c:pt>
                <c:pt idx="1094">
                  <c:v>1498.1055934062233</c:v>
                </c:pt>
                <c:pt idx="1095">
                  <c:v>1497.7084383624351</c:v>
                </c:pt>
              </c:numCache>
            </c:numRef>
          </c:xVal>
          <c:yVal>
            <c:numRef>
              <c:f>'Parameters ranges for ANN step1'!$AM$3:$AM$1137</c:f>
              <c:numCache>
                <c:formatCode>0</c:formatCode>
                <c:ptCount val="1135"/>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204.23485725682175</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204.9854741107371</c:v>
                </c:pt>
                <c:pt idx="18">
                  <c:v>200.86132216632797</c:v>
                </c:pt>
                <c:pt idx="19">
                  <c:v>200.17306711282052</c:v>
                </c:pt>
                <c:pt idx="20">
                  <c:v>204.4587150016421</c:v>
                </c:pt>
                <c:pt idx="21">
                  <c:v>204.3411578349818</c:v>
                </c:pt>
                <c:pt idx="22">
                  <c:v>205.39641517325504</c:v>
                </c:pt>
                <c:pt idx="23">
                  <c:v>211.42894853503395</c:v>
                </c:pt>
                <c:pt idx="24">
                  <c:v>210.1118244813469</c:v>
                </c:pt>
                <c:pt idx="25">
                  <c:v>209.81106247452513</c:v>
                </c:pt>
                <c:pt idx="26">
                  <c:v>200.11319713725905</c:v>
                </c:pt>
                <c:pt idx="27">
                  <c:v>173.67865142747749</c:v>
                </c:pt>
                <c:pt idx="28">
                  <c:v>203.54901586662913</c:v>
                </c:pt>
                <c:pt idx="29">
                  <c:v>205.44527388108517</c:v>
                </c:pt>
                <c:pt idx="30">
                  <c:v>198.80113941896195</c:v>
                </c:pt>
                <c:pt idx="31">
                  <c:v>208.3547156699791</c:v>
                </c:pt>
                <c:pt idx="32">
                  <c:v>204.97710129072723</c:v>
                </c:pt>
                <c:pt idx="33">
                  <c:v>196.03589432171418</c:v>
                </c:pt>
                <c:pt idx="34">
                  <c:v>182.5595009983401</c:v>
                </c:pt>
                <c:pt idx="35">
                  <c:v>183</c:v>
                </c:pt>
                <c:pt idx="36">
                  <c:v>190.2037903840403</c:v>
                </c:pt>
                <c:pt idx="37">
                  <c:v>202.77186371182805</c:v>
                </c:pt>
                <c:pt idx="38">
                  <c:v>204.4456666396741</c:v>
                </c:pt>
                <c:pt idx="39">
                  <c:v>199.0306694122568</c:v>
                </c:pt>
                <c:pt idx="40">
                  <c:v>199.40765687845391</c:v>
                </c:pt>
                <c:pt idx="41">
                  <c:v>197.89153341741755</c:v>
                </c:pt>
                <c:pt idx="42">
                  <c:v>188.00692709323579</c:v>
                </c:pt>
                <c:pt idx="43">
                  <c:v>178.62371304274293</c:v>
                </c:pt>
                <c:pt idx="44">
                  <c:v>157.1835588434451</c:v>
                </c:pt>
                <c:pt idx="45">
                  <c:v>90.264375751437598</c:v>
                </c:pt>
                <c:pt idx="46">
                  <c:v>93.619960051127521</c:v>
                </c:pt>
                <c:pt idx="47">
                  <c:v>168.17878837871211</c:v>
                </c:pt>
                <c:pt idx="48">
                  <c:v>190.45977180578873</c:v>
                </c:pt>
                <c:pt idx="49">
                  <c:v>186.06141522536356</c:v>
                </c:pt>
                <c:pt idx="50">
                  <c:v>194.42344753769504</c:v>
                </c:pt>
                <c:pt idx="51">
                  <c:v>193.26092064238506</c:v>
                </c:pt>
                <c:pt idx="52">
                  <c:v>194.88152309283421</c:v>
                </c:pt>
                <c:pt idx="53">
                  <c:v>204.16933157639949</c:v>
                </c:pt>
                <c:pt idx="54">
                  <c:v>206.99102854411368</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189.45283358020691</c:v>
                </c:pt>
                <c:pt idx="69">
                  <c:v>198.09208163020048</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200.34529527456326</c:v>
                </c:pt>
                <c:pt idx="110">
                  <c:v>204.59989468205592</c:v>
                </c:pt>
                <c:pt idx="111">
                  <c:v>205.42229572465371</c:v>
                </c:pt>
                <c:pt idx="112">
                  <c:v>193.70361963208651</c:v>
                </c:pt>
                <c:pt idx="113">
                  <c:v>190.65854630669233</c:v>
                </c:pt>
                <c:pt idx="114">
                  <c:v>198.05574008021773</c:v>
                </c:pt>
                <c:pt idx="115">
                  <c:v>177.21101646872836</c:v>
                </c:pt>
                <c:pt idx="116">
                  <c:v>203.99336148504639</c:v>
                </c:pt>
                <c:pt idx="117">
                  <c:v>198.65814750554023</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0</c:v>
                </c:pt>
                <c:pt idx="149">
                  <c:v>0</c:v>
                </c:pt>
                <c:pt idx="150">
                  <c:v>59.922850515450001</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183.67564572317701</c:v>
                </c:pt>
                <c:pt idx="160">
                  <c:v>182.13725069832299</c:v>
                </c:pt>
                <c:pt idx="161">
                  <c:v>181.94320776918099</c:v>
                </c:pt>
                <c:pt idx="162">
                  <c:v>191.74179510009</c:v>
                </c:pt>
                <c:pt idx="163">
                  <c:v>197.45405984671601</c:v>
                </c:pt>
                <c:pt idx="164">
                  <c:v>208.24809973350699</c:v>
                </c:pt>
                <c:pt idx="165">
                  <c:v>209.336772296264</c:v>
                </c:pt>
                <c:pt idx="166">
                  <c:v>206.93214712700799</c:v>
                </c:pt>
                <c:pt idx="167">
                  <c:v>208.23197421418899</c:v>
                </c:pt>
                <c:pt idx="168">
                  <c:v>209.62684202933701</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193.00778233618999</c:v>
                </c:pt>
                <c:pt idx="178">
                  <c:v>202.564554544923</c:v>
                </c:pt>
                <c:pt idx="179">
                  <c:v>201.867407228378</c:v>
                </c:pt>
                <c:pt idx="180">
                  <c:v>202.48205478732899</c:v>
                </c:pt>
                <c:pt idx="181">
                  <c:v>210.50410235335701</c:v>
                </c:pt>
                <c:pt idx="182">
                  <c:v>206.72212819481999</c:v>
                </c:pt>
                <c:pt idx="183">
                  <c:v>189.785173048677</c:v>
                </c:pt>
                <c:pt idx="184">
                  <c:v>195.41703532181401</c:v>
                </c:pt>
                <c:pt idx="185">
                  <c:v>194.76924152241099</c:v>
                </c:pt>
                <c:pt idx="186">
                  <c:v>207.328777578049</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210.01170741985499</c:v>
                </c:pt>
                <c:pt idx="201">
                  <c:v>210.20412866665799</c:v>
                </c:pt>
                <c:pt idx="202">
                  <c:v>199.70215738161301</c:v>
                </c:pt>
                <c:pt idx="203">
                  <c:v>190.647296690302</c:v>
                </c:pt>
                <c:pt idx="204">
                  <c:v>197.72543263838301</c:v>
                </c:pt>
                <c:pt idx="205">
                  <c:v>196.93914842305901</c:v>
                </c:pt>
                <c:pt idx="206">
                  <c:v>196.72991510273701</c:v>
                </c:pt>
                <c:pt idx="207">
                  <c:v>207.777894083316</c:v>
                </c:pt>
                <c:pt idx="208">
                  <c:v>208.83200254090801</c:v>
                </c:pt>
                <c:pt idx="209">
                  <c:v>208.23062774383899</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196.00917183168201</c:v>
                </c:pt>
                <c:pt idx="220">
                  <c:v>211.59340286438601</c:v>
                </c:pt>
                <c:pt idx="221">
                  <c:v>209.14073880869799</c:v>
                </c:pt>
                <c:pt idx="222">
                  <c:v>203.12033249689401</c:v>
                </c:pt>
                <c:pt idx="223">
                  <c:v>211.523462291176</c:v>
                </c:pt>
                <c:pt idx="224">
                  <c:v>211.81077765009499</c:v>
                </c:pt>
                <c:pt idx="225">
                  <c:v>211.32603242399199</c:v>
                </c:pt>
                <c:pt idx="226">
                  <c:v>198.47818272088901</c:v>
                </c:pt>
                <c:pt idx="227">
                  <c:v>210.12645670348999</c:v>
                </c:pt>
                <c:pt idx="228">
                  <c:v>204.110230037799</c:v>
                </c:pt>
                <c:pt idx="229">
                  <c:v>196.75329555706</c:v>
                </c:pt>
                <c:pt idx="230">
                  <c:v>203.255966573363</c:v>
                </c:pt>
                <c:pt idx="231">
                  <c:v>197.34498332552201</c:v>
                </c:pt>
                <c:pt idx="232">
                  <c:v>181.31150567497701</c:v>
                </c:pt>
                <c:pt idx="233">
                  <c:v>195.64953782477599</c:v>
                </c:pt>
                <c:pt idx="234">
                  <c:v>203.959943500392</c:v>
                </c:pt>
                <c:pt idx="235">
                  <c:v>178.60152971854899</c:v>
                </c:pt>
                <c:pt idx="236">
                  <c:v>190.793168397024</c:v>
                </c:pt>
                <c:pt idx="237">
                  <c:v>202.394235923297</c:v>
                </c:pt>
                <c:pt idx="238">
                  <c:v>209.94557877343999</c:v>
                </c:pt>
                <c:pt idx="239">
                  <c:v>195.48295273423599</c:v>
                </c:pt>
                <c:pt idx="240">
                  <c:v>172.15223546562399</c:v>
                </c:pt>
                <c:pt idx="241">
                  <c:v>170.48176291699201</c:v>
                </c:pt>
                <c:pt idx="242">
                  <c:v>181.93214392793399</c:v>
                </c:pt>
                <c:pt idx="243">
                  <c:v>179.612415507425</c:v>
                </c:pt>
                <c:pt idx="244">
                  <c:v>174.472774488119</c:v>
                </c:pt>
                <c:pt idx="245">
                  <c:v>117.74555131036399</c:v>
                </c:pt>
                <c:pt idx="246">
                  <c:v>138.92974343908901</c:v>
                </c:pt>
                <c:pt idx="247">
                  <c:v>125.100134916952</c:v>
                </c:pt>
                <c:pt idx="248">
                  <c:v>140.803276088144</c:v>
                </c:pt>
                <c:pt idx="249">
                  <c:v>151.34502549916999</c:v>
                </c:pt>
                <c:pt idx="250">
                  <c:v>149.83854421042</c:v>
                </c:pt>
                <c:pt idx="251">
                  <c:v>178.60252485124801</c:v>
                </c:pt>
                <c:pt idx="252">
                  <c:v>171.64255227816301</c:v>
                </c:pt>
                <c:pt idx="253">
                  <c:v>170.05826919215099</c:v>
                </c:pt>
                <c:pt idx="254">
                  <c:v>179.56099730714899</c:v>
                </c:pt>
                <c:pt idx="255">
                  <c:v>170.180850816401</c:v>
                </c:pt>
                <c:pt idx="256">
                  <c:v>202.58945730613101</c:v>
                </c:pt>
                <c:pt idx="257">
                  <c:v>208.80892981364201</c:v>
                </c:pt>
                <c:pt idx="258">
                  <c:v>191.54506271347</c:v>
                </c:pt>
                <c:pt idx="259">
                  <c:v>100.379153832909</c:v>
                </c:pt>
                <c:pt idx="260">
                  <c:v>86.404099136261394</c:v>
                </c:pt>
                <c:pt idx="261">
                  <c:v>173.39193134753299</c:v>
                </c:pt>
                <c:pt idx="262">
                  <c:v>184.46046040777</c:v>
                </c:pt>
                <c:pt idx="263">
                  <c:v>176.59625965425201</c:v>
                </c:pt>
                <c:pt idx="264">
                  <c:v>197.38488654618601</c:v>
                </c:pt>
                <c:pt idx="265">
                  <c:v>189.966517129848</c:v>
                </c:pt>
                <c:pt idx="266">
                  <c:v>193.56260335391801</c:v>
                </c:pt>
                <c:pt idx="267">
                  <c:v>171.68709832832499</c:v>
                </c:pt>
                <c:pt idx="268">
                  <c:v>205.907457880826</c:v>
                </c:pt>
                <c:pt idx="269">
                  <c:v>202.97785964145299</c:v>
                </c:pt>
                <c:pt idx="270">
                  <c:v>199.937482425881</c:v>
                </c:pt>
                <c:pt idx="271">
                  <c:v>206.94785873537299</c:v>
                </c:pt>
                <c:pt idx="272">
                  <c:v>211.83629621987299</c:v>
                </c:pt>
                <c:pt idx="273">
                  <c:v>210.25017162800501</c:v>
                </c:pt>
                <c:pt idx="274">
                  <c:v>199.802347634901</c:v>
                </c:pt>
                <c:pt idx="275">
                  <c:v>197.2399877933</c:v>
                </c:pt>
                <c:pt idx="276">
                  <c:v>198.67665657612599</c:v>
                </c:pt>
                <c:pt idx="277">
                  <c:v>194.23131899335601</c:v>
                </c:pt>
                <c:pt idx="278">
                  <c:v>185.20579750444199</c:v>
                </c:pt>
                <c:pt idx="279">
                  <c:v>210.50811395635</c:v>
                </c:pt>
                <c:pt idx="280">
                  <c:v>213.780016927952</c:v>
                </c:pt>
                <c:pt idx="281">
                  <c:v>213.633222080118</c:v>
                </c:pt>
                <c:pt idx="282">
                  <c:v>214.10461180059599</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206.107296638729</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188.00933253043999</c:v>
                </c:pt>
                <c:pt idx="335">
                  <c:v>170.244128774269</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200.763000645886</c:v>
                </c:pt>
                <c:pt idx="357">
                  <c:v>207.038617517175</c:v>
                </c:pt>
                <c:pt idx="358">
                  <c:v>195.48047291531901</c:v>
                </c:pt>
                <c:pt idx="359">
                  <c:v>213.42871447377101</c:v>
                </c:pt>
                <c:pt idx="360">
                  <c:v>214.579969931638</c:v>
                </c:pt>
                <c:pt idx="361">
                  <c:v>210.05308815120301</c:v>
                </c:pt>
                <c:pt idx="362">
                  <c:v>202.591847461756</c:v>
                </c:pt>
                <c:pt idx="363">
                  <c:v>173.46667430850999</c:v>
                </c:pt>
                <c:pt idx="364">
                  <c:v>95.0082083065018</c:v>
                </c:pt>
                <c:pt idx="365">
                  <c:v>99.469568021421395</c:v>
                </c:pt>
                <c:pt idx="366" formatCode="General">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212.084719308568</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211.34931868997501</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191.84450886993</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215.46349192291899</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211.838106770704</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215.00048363333499</c:v>
                </c:pt>
                <c:pt idx="454">
                  <c:v>216.99357226464201</c:v>
                </c:pt>
                <c:pt idx="455">
                  <c:v>220.443474562939</c:v>
                </c:pt>
                <c:pt idx="456">
                  <c:v>220.17628686295001</c:v>
                </c:pt>
                <c:pt idx="457">
                  <c:v>217.76361151301401</c:v>
                </c:pt>
                <c:pt idx="458">
                  <c:v>216.79963752675701</c:v>
                </c:pt>
                <c:pt idx="459">
                  <c:v>220.753680756276</c:v>
                </c:pt>
                <c:pt idx="460">
                  <c:v>224.153485219619</c:v>
                </c:pt>
                <c:pt idx="461">
                  <c:v>223.24377771201699</c:v>
                </c:pt>
                <c:pt idx="462">
                  <c:v>223.31982925877401</c:v>
                </c:pt>
                <c:pt idx="463">
                  <c:v>220.52500265213101</c:v>
                </c:pt>
                <c:pt idx="464">
                  <c:v>212.849607368845</c:v>
                </c:pt>
                <c:pt idx="465">
                  <c:v>211.68618011279199</c:v>
                </c:pt>
                <c:pt idx="466">
                  <c:v>203.01595913883901</c:v>
                </c:pt>
                <c:pt idx="467">
                  <c:v>127.938194657867</c:v>
                </c:pt>
                <c:pt idx="468">
                  <c:v>104.23288644929001</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209.607809014606</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41.427343997948903</c:v>
                </c:pt>
                <c:pt idx="496">
                  <c:v>185.32334532565201</c:v>
                </c:pt>
                <c:pt idx="498">
                  <c:v>0</c:v>
                </c:pt>
                <c:pt idx="499">
                  <c:v>216.29640478550601</c:v>
                </c:pt>
                <c:pt idx="500">
                  <c:v>214.70909178833099</c:v>
                </c:pt>
                <c:pt idx="501">
                  <c:v>209.84345530065301</c:v>
                </c:pt>
                <c:pt idx="502">
                  <c:v>205.45196735902201</c:v>
                </c:pt>
                <c:pt idx="503">
                  <c:v>200.23528273940201</c:v>
                </c:pt>
                <c:pt idx="504">
                  <c:v>197.369133482878</c:v>
                </c:pt>
                <c:pt idx="505">
                  <c:v>199.73838875631299</c:v>
                </c:pt>
                <c:pt idx="506">
                  <c:v>201.79092126516801</c:v>
                </c:pt>
                <c:pt idx="507">
                  <c:v>203.60721717669199</c:v>
                </c:pt>
                <c:pt idx="508">
                  <c:v>206.32909209578099</c:v>
                </c:pt>
                <c:pt idx="509">
                  <c:v>209.94757868297401</c:v>
                </c:pt>
                <c:pt idx="510">
                  <c:v>210.18914525296</c:v>
                </c:pt>
                <c:pt idx="511">
                  <c:v>209.66868631574999</c:v>
                </c:pt>
                <c:pt idx="512">
                  <c:v>208.11187206002199</c:v>
                </c:pt>
                <c:pt idx="513">
                  <c:v>214.191940938058</c:v>
                </c:pt>
                <c:pt idx="514">
                  <c:v>210.64199835321199</c:v>
                </c:pt>
                <c:pt idx="515">
                  <c:v>211.50644393550701</c:v>
                </c:pt>
                <c:pt idx="516">
                  <c:v>210.712137592912</c:v>
                </c:pt>
                <c:pt idx="517">
                  <c:v>192.53066040612299</c:v>
                </c:pt>
                <c:pt idx="518">
                  <c:v>202.975907563379</c:v>
                </c:pt>
                <c:pt idx="519">
                  <c:v>208.154512512976</c:v>
                </c:pt>
                <c:pt idx="520">
                  <c:v>209.790430644846</c:v>
                </c:pt>
                <c:pt idx="521">
                  <c:v>212.42647704067599</c:v>
                </c:pt>
                <c:pt idx="522">
                  <c:v>214.90916136788601</c:v>
                </c:pt>
                <c:pt idx="523">
                  <c:v>214.84527140445499</c:v>
                </c:pt>
                <c:pt idx="524">
                  <c:v>214.90446733138199</c:v>
                </c:pt>
                <c:pt idx="525">
                  <c:v>214.22177973914501</c:v>
                </c:pt>
                <c:pt idx="526">
                  <c:v>205.068833961038</c:v>
                </c:pt>
                <c:pt idx="527">
                  <c:v>186.77264306491301</c:v>
                </c:pt>
                <c:pt idx="528">
                  <c:v>189.914166041713</c:v>
                </c:pt>
                <c:pt idx="529">
                  <c:v>163.55443233067899</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189.69939529311799</c:v>
                </c:pt>
                <c:pt idx="543">
                  <c:v>184.97375638193299</c:v>
                </c:pt>
                <c:pt idx="544">
                  <c:v>184.94264355067</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175.08653427554799</c:v>
                </c:pt>
                <c:pt idx="571">
                  <c:v>179.611103427063</c:v>
                </c:pt>
                <c:pt idx="572">
                  <c:v>185.73023315803999</c:v>
                </c:pt>
                <c:pt idx="573">
                  <c:v>199.731652819185</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198.365242991006</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180.340262113184</c:v>
                </c:pt>
                <c:pt idx="603">
                  <c:v>177.11262035307701</c:v>
                </c:pt>
                <c:pt idx="604">
                  <c:v>185.058473237144</c:v>
                </c:pt>
                <c:pt idx="605">
                  <c:v>198.038747189525</c:v>
                </c:pt>
                <c:pt idx="606">
                  <c:v>190.40639698840801</c:v>
                </c:pt>
                <c:pt idx="607">
                  <c:v>135.461545377871</c:v>
                </c:pt>
                <c:pt idx="608">
                  <c:v>203.494331568908</c:v>
                </c:pt>
                <c:pt idx="609">
                  <c:v>199.05418758923099</c:v>
                </c:pt>
                <c:pt idx="610">
                  <c:v>182.56889224868601</c:v>
                </c:pt>
                <c:pt idx="611">
                  <c:v>172.564320917212</c:v>
                </c:pt>
                <c:pt idx="612">
                  <c:v>170.685156385721</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178.53512362924201</c:v>
                </c:pt>
                <c:pt idx="629">
                  <c:v>195.63474523749201</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178.070465936831</c:v>
                </c:pt>
                <c:pt idx="641">
                  <c:v>35.0224499773148</c:v>
                </c:pt>
                <c:pt idx="643">
                  <c:v>83.531049277316896</c:v>
                </c:pt>
                <c:pt idx="644">
                  <c:v>184.56771327403001</c:v>
                </c:pt>
                <c:pt idx="645">
                  <c:v>200.285270302383</c:v>
                </c:pt>
                <c:pt idx="646">
                  <c:v>199.50436093752501</c:v>
                </c:pt>
                <c:pt idx="647">
                  <c:v>199.78683609901699</c:v>
                </c:pt>
                <c:pt idx="648">
                  <c:v>200.17669418412899</c:v>
                </c:pt>
                <c:pt idx="649">
                  <c:v>201.80837143852801</c:v>
                </c:pt>
                <c:pt idx="650">
                  <c:v>200.307079736529</c:v>
                </c:pt>
                <c:pt idx="651">
                  <c:v>200.91932366613301</c:v>
                </c:pt>
                <c:pt idx="652">
                  <c:v>199.71928463089</c:v>
                </c:pt>
                <c:pt idx="653">
                  <c:v>199.72715825433099</c:v>
                </c:pt>
                <c:pt idx="654">
                  <c:v>200.47337203379101</c:v>
                </c:pt>
                <c:pt idx="655">
                  <c:v>186.36484504437999</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200.116867541311</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133.02832575859301</c:v>
                </c:pt>
                <c:pt idx="702">
                  <c:v>170.967465006097</c:v>
                </c:pt>
                <c:pt idx="703">
                  <c:v>194.82277440936701</c:v>
                </c:pt>
                <c:pt idx="704">
                  <c:v>195.698949010825</c:v>
                </c:pt>
                <c:pt idx="705">
                  <c:v>195.56037357538099</c:v>
                </c:pt>
                <c:pt idx="706">
                  <c:v>189.552547455704</c:v>
                </c:pt>
                <c:pt idx="707">
                  <c:v>185.11205439355501</c:v>
                </c:pt>
                <c:pt idx="708">
                  <c:v>196.461881726039</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199.08000130975199</c:v>
                </c:pt>
                <c:pt idx="719">
                  <c:v>198.654111100318</c:v>
                </c:pt>
                <c:pt idx="720">
                  <c:v>199.07211316560699</c:v>
                </c:pt>
                <c:pt idx="721">
                  <c:v>200.466453362854</c:v>
                </c:pt>
                <c:pt idx="722">
                  <c:v>198.15825906388699</c:v>
                </c:pt>
                <c:pt idx="723">
                  <c:v>194.26387662660301</c:v>
                </c:pt>
                <c:pt idx="724">
                  <c:v>159.72463653362999</c:v>
                </c:pt>
                <c:pt idx="725">
                  <c:v>-2.5501573389323799E-9</c:v>
                </c:pt>
                <c:pt idx="726">
                  <c:v>71.178680406847803</c:v>
                </c:pt>
                <c:pt idx="727">
                  <c:v>181.524668195239</c:v>
                </c:pt>
                <c:pt idx="728">
                  <c:v>196.47276508566799</c:v>
                </c:pt>
                <c:pt idx="729">
                  <c:v>199.847304953178</c:v>
                </c:pt>
                <c:pt idx="730">
                  <c:v>197.65918572191899</c:v>
                </c:pt>
                <c:pt idx="731">
                  <c:v>196.5943893063845</c:v>
                </c:pt>
                <c:pt idx="732">
                  <c:v>194.51249989842162</c:v>
                </c:pt>
                <c:pt idx="733">
                  <c:v>195.47466834948239</c:v>
                </c:pt>
                <c:pt idx="734">
                  <c:v>196.16422385037691</c:v>
                </c:pt>
                <c:pt idx="735">
                  <c:v>194.73202153113448</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111.28112512317084</c:v>
                </c:pt>
                <c:pt idx="790">
                  <c:v>183.63519228282792</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174.20444678136769</c:v>
                </c:pt>
                <c:pt idx="812">
                  <c:v>170.02985832780968</c:v>
                </c:pt>
                <c:pt idx="813">
                  <c:v>170.19158117597544</c:v>
                </c:pt>
                <c:pt idx="814">
                  <c:v>169.5931368174424</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160.60385763950646</c:v>
                </c:pt>
                <c:pt idx="829">
                  <c:v>160.15049111354321</c:v>
                </c:pt>
                <c:pt idx="830">
                  <c:v>163.10111823204591</c:v>
                </c:pt>
                <c:pt idx="831">
                  <c:v>162.49552817067033</c:v>
                </c:pt>
                <c:pt idx="832">
                  <c:v>164.06702012001867</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160.68117976442608</c:v>
                </c:pt>
                <c:pt idx="861">
                  <c:v>101.96828892676182</c:v>
                </c:pt>
                <c:pt idx="862">
                  <c:v>199.11097182949177</c:v>
                </c:pt>
                <c:pt idx="863">
                  <c:v>197.90826406043936</c:v>
                </c:pt>
                <c:pt idx="864">
                  <c:v>170.93069683413199</c:v>
                </c:pt>
                <c:pt idx="865">
                  <c:v>135.47799916344161</c:v>
                </c:pt>
                <c:pt idx="866">
                  <c:v>201.92772237426297</c:v>
                </c:pt>
                <c:pt idx="867">
                  <c:v>196.83810389292307</c:v>
                </c:pt>
                <c:pt idx="868">
                  <c:v>203.4938953563277</c:v>
                </c:pt>
                <c:pt idx="869">
                  <c:v>199.99858238075475</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190.69367953106632</c:v>
                </c:pt>
                <c:pt idx="895">
                  <c:v>190.99507929097189</c:v>
                </c:pt>
                <c:pt idx="896">
                  <c:v>195.79846682536672</c:v>
                </c:pt>
                <c:pt idx="897">
                  <c:v>190.0539120853183</c:v>
                </c:pt>
                <c:pt idx="898">
                  <c:v>179.54258888435314</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172.16082475612498</c:v>
                </c:pt>
                <c:pt idx="912">
                  <c:v>183.5784087816505</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157.72858441138965</c:v>
                </c:pt>
                <c:pt idx="925">
                  <c:v>165.53527531529423</c:v>
                </c:pt>
                <c:pt idx="926">
                  <c:v>186.86790401561026</c:v>
                </c:pt>
                <c:pt idx="927">
                  <c:v>198.25691933070721</c:v>
                </c:pt>
                <c:pt idx="928">
                  <c:v>195.85276737334419</c:v>
                </c:pt>
                <c:pt idx="929">
                  <c:v>166.78424912457371</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120.70595504451498</c:v>
                </c:pt>
                <c:pt idx="956">
                  <c:v>0.10269381774752381</c:v>
                </c:pt>
                <c:pt idx="957">
                  <c:v>91.927651254056613</c:v>
                </c:pt>
                <c:pt idx="958">
                  <c:v>142.80678165061826</c:v>
                </c:pt>
                <c:pt idx="959">
                  <c:v>192.4656875185255</c:v>
                </c:pt>
                <c:pt idx="960">
                  <c:v>190.17188343099733</c:v>
                </c:pt>
                <c:pt idx="961">
                  <c:v>196.77224301022241</c:v>
                </c:pt>
                <c:pt idx="962">
                  <c:v>195.21480039773192</c:v>
                </c:pt>
                <c:pt idx="963">
                  <c:v>179.49657280631141</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176.13062732573817</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182.20201487109492</c:v>
                </c:pt>
                <c:pt idx="1021">
                  <c:v>171.6300787578738</c:v>
                </c:pt>
                <c:pt idx="1022">
                  <c:v>182.8492835209826</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96.643294930628159</c:v>
                </c:pt>
                <c:pt idx="1032">
                  <c:v>173.28908123769781</c:v>
                </c:pt>
                <c:pt idx="1033">
                  <c:v>189.75289489076087</c:v>
                </c:pt>
                <c:pt idx="1034">
                  <c:v>194.21678639066241</c:v>
                </c:pt>
                <c:pt idx="1035">
                  <c:v>191.94066070613019</c:v>
                </c:pt>
                <c:pt idx="1036">
                  <c:v>181.09936127829653</c:v>
                </c:pt>
                <c:pt idx="1037">
                  <c:v>188.30530648196631</c:v>
                </c:pt>
                <c:pt idx="1038">
                  <c:v>183.32906990176988</c:v>
                </c:pt>
                <c:pt idx="1039">
                  <c:v>169.1998332501891</c:v>
                </c:pt>
                <c:pt idx="1040">
                  <c:v>147.8853599680393</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186.38615262093737</c:v>
                </c:pt>
                <c:pt idx="1052">
                  <c:v>180.01103621756548</c:v>
                </c:pt>
                <c:pt idx="1053">
                  <c:v>179.38999796040625</c:v>
                </c:pt>
                <c:pt idx="1054">
                  <c:v>170.66616217802033</c:v>
                </c:pt>
                <c:pt idx="1055">
                  <c:v>172.76375482356508</c:v>
                </c:pt>
                <c:pt idx="1056">
                  <c:v>185.83453848596551</c:v>
                </c:pt>
                <c:pt idx="1057">
                  <c:v>187.05240858007895</c:v>
                </c:pt>
                <c:pt idx="1058">
                  <c:v>171.05155633494076</c:v>
                </c:pt>
                <c:pt idx="1059">
                  <c:v>176.56895677067467</c:v>
                </c:pt>
                <c:pt idx="1060">
                  <c:v>188.96564296500739</c:v>
                </c:pt>
                <c:pt idx="1061">
                  <c:v>188.36963384658122</c:v>
                </c:pt>
                <c:pt idx="1062">
                  <c:v>187.24727744517713</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175.71996940048535</c:v>
                </c:pt>
                <c:pt idx="1071">
                  <c:v>174.31562083605635</c:v>
                </c:pt>
                <c:pt idx="1072">
                  <c:v>181.79563025720668</c:v>
                </c:pt>
                <c:pt idx="1073">
                  <c:v>181.57409208584204</c:v>
                </c:pt>
                <c:pt idx="1074">
                  <c:v>176.12905552827499</c:v>
                </c:pt>
                <c:pt idx="1075">
                  <c:v>167.41712213090335</c:v>
                </c:pt>
                <c:pt idx="1076">
                  <c:v>148.42618726013114</c:v>
                </c:pt>
                <c:pt idx="1077">
                  <c:v>158.86493140605128</c:v>
                </c:pt>
                <c:pt idx="1078">
                  <c:v>181.83919075656124</c:v>
                </c:pt>
                <c:pt idx="1079">
                  <c:v>179.92665631772826</c:v>
                </c:pt>
                <c:pt idx="1080">
                  <c:v>177.07717732998904</c:v>
                </c:pt>
                <c:pt idx="1081">
                  <c:v>169.47434599013408</c:v>
                </c:pt>
                <c:pt idx="1082">
                  <c:v>167.10507783739064</c:v>
                </c:pt>
                <c:pt idx="1083">
                  <c:v>142.63633816492805</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3420-4DA8-BFD6-B4FD3F609761}"/>
            </c:ext>
          </c:extLst>
        </c:ser>
        <c:dLbls>
          <c:showLegendKey val="0"/>
          <c:showVal val="0"/>
          <c:showCatName val="0"/>
          <c:showSerName val="0"/>
          <c:showPercent val="0"/>
          <c:showBubbleSize val="0"/>
        </c:dLbls>
        <c:axId val="1592488271"/>
        <c:axId val="1840544415"/>
      </c:scatterChart>
      <c:valAx>
        <c:axId val="1592488271"/>
        <c:scaling>
          <c:orientation val="minMax"/>
          <c:max val="1520"/>
          <c:min val="148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544415"/>
        <c:crosses val="autoZero"/>
        <c:crossBetween val="midCat"/>
      </c:valAx>
      <c:valAx>
        <c:axId val="1840544415"/>
        <c:scaling>
          <c:orientation val="minMax"/>
          <c:max val="220"/>
          <c:min val="16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2488271"/>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400" b="0" i="0" u="none" strike="noStrike" kern="1200" spc="0" baseline="0" dirty="0" smtClean="0">
                <a:solidFill>
                  <a:prstClr val="black">
                    <a:lumMod val="65000"/>
                    <a:lumOff val="35000"/>
                  </a:prstClr>
                </a:solidFill>
                <a:latin typeface="+mn-lt"/>
                <a:ea typeface="+mn-ea"/>
                <a:cs typeface="+mn-cs"/>
              </a:rPr>
              <a:t>CDI (kg) v/s input energy(Kcal)</a:t>
            </a:r>
          </a:p>
          <a:p>
            <a:pPr marL="0" marR="0" indent="0" algn="ctr" defTabSz="914400" rtl="0" eaLnBrk="1" fontAlgn="auto" latinLnBrk="0" hangingPunct="1">
              <a:lnSpc>
                <a:spcPct val="100000"/>
              </a:lnSpc>
              <a:spcBef>
                <a:spcPts val="0"/>
              </a:spcBef>
              <a:spcAft>
                <a:spcPts val="0"/>
              </a:spcAft>
              <a:buClrTx/>
              <a:buSzTx/>
              <a:buFontTx/>
              <a:buNone/>
              <a:tabLst/>
              <a:defRPr>
                <a:solidFill>
                  <a:prstClr val="black">
                    <a:lumMod val="65000"/>
                    <a:lumOff val="35000"/>
                  </a:prstClr>
                </a:solidFill>
              </a:defRPr>
            </a:pPr>
            <a:endParaRPr lang="en-US" dirty="0"/>
          </a:p>
        </c:rich>
      </c:tx>
      <c:layout>
        <c:manualLayout>
          <c:xMode val="edge"/>
          <c:yMode val="edge"/>
          <c:x val="0.15319697855454883"/>
          <c:y val="6.5018947578555045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en-US"/>
        </a:p>
      </c:txPr>
    </c:title>
    <c:autoTitleDeleted val="0"/>
    <c:plotArea>
      <c:layout>
        <c:manualLayout>
          <c:layoutTarget val="inner"/>
          <c:xMode val="edge"/>
          <c:yMode val="edge"/>
          <c:x val="0.1041021310499223"/>
          <c:y val="0.28219245204691695"/>
          <c:w val="0.75415253441018582"/>
          <c:h val="0.4426859851436466"/>
        </c:manualLayout>
      </c:layout>
      <c:scatterChart>
        <c:scatterStyle val="lineMarker"/>
        <c:varyColors val="0"/>
        <c:ser>
          <c:idx val="0"/>
          <c:order val="0"/>
          <c:tx>
            <c:strRef>
              <c:f>'Parameters ranges for ANN step1'!$AM$1:$AM$2</c:f>
              <c:strCache>
                <c:ptCount val="2"/>
                <c:pt idx="0">
                  <c:v>CDI</c:v>
                </c:pt>
                <c:pt idx="1">
                  <c:v>kg/thm</c:v>
                </c:pt>
              </c:strCache>
            </c:strRef>
          </c:tx>
          <c:spPr>
            <a:ln w="19050" cap="rnd">
              <a:noFill/>
              <a:round/>
            </a:ln>
            <a:effectLst/>
          </c:spPr>
          <c:marker>
            <c:symbol val="circle"/>
            <c:size val="5"/>
            <c:spPr>
              <a:solidFill>
                <a:schemeClr val="accent1"/>
              </a:solidFill>
              <a:ln w="25400">
                <a:noFill/>
              </a:ln>
              <a:effectLst/>
            </c:spPr>
          </c:marker>
          <c:xVal>
            <c:numRef>
              <c:f>'Parameters ranges for ANN step1'!$AF$3:$AF$1137</c:f>
              <c:numCache>
                <c:formatCode>0.00</c:formatCode>
                <c:ptCount val="1135"/>
                <c:pt idx="0">
                  <c:v>3636725.2757284632</c:v>
                </c:pt>
                <c:pt idx="1">
                  <c:v>3599554.9799319329</c:v>
                </c:pt>
                <c:pt idx="2">
                  <c:v>3609808.3459291705</c:v>
                </c:pt>
                <c:pt idx="3">
                  <c:v>3572360.5549783679</c:v>
                </c:pt>
                <c:pt idx="4">
                  <c:v>3607894.8230633144</c:v>
                </c:pt>
                <c:pt idx="5">
                  <c:v>3631294.8665722902</c:v>
                </c:pt>
                <c:pt idx="6">
                  <c:v>3739678.0390270962</c:v>
                </c:pt>
                <c:pt idx="7">
                  <c:v>3632784.0637022671</c:v>
                </c:pt>
                <c:pt idx="8">
                  <c:v>3629483.9254891337</c:v>
                </c:pt>
                <c:pt idx="9">
                  <c:v>3642200.5912040924</c:v>
                </c:pt>
                <c:pt idx="10">
                  <c:v>3608023.7351989979</c:v>
                </c:pt>
                <c:pt idx="11">
                  <c:v>3628947.982823391</c:v>
                </c:pt>
                <c:pt idx="12">
                  <c:v>3651156.1117609339</c:v>
                </c:pt>
                <c:pt idx="13">
                  <c:v>3731198.7660904517</c:v>
                </c:pt>
                <c:pt idx="14">
                  <c:v>3668005.1057057073</c:v>
                </c:pt>
                <c:pt idx="15">
                  <c:v>3615147.7832901292</c:v>
                </c:pt>
                <c:pt idx="16">
                  <c:v>3614153.1898455266</c:v>
                </c:pt>
                <c:pt idx="17">
                  <c:v>3686126.3295556107</c:v>
                </c:pt>
                <c:pt idx="18">
                  <c:v>3700858.2046743003</c:v>
                </c:pt>
                <c:pt idx="19">
                  <c:v>3655977.3044621851</c:v>
                </c:pt>
                <c:pt idx="20">
                  <c:v>3640996.8800112549</c:v>
                </c:pt>
                <c:pt idx="21">
                  <c:v>3614227.2552205171</c:v>
                </c:pt>
                <c:pt idx="22">
                  <c:v>3618793.6185410097</c:v>
                </c:pt>
                <c:pt idx="23">
                  <c:v>3657911.5781089212</c:v>
                </c:pt>
                <c:pt idx="24">
                  <c:v>2067115.5445801036</c:v>
                </c:pt>
                <c:pt idx="25">
                  <c:v>2104954.2204692462</c:v>
                </c:pt>
                <c:pt idx="26">
                  <c:v>3730395.3996310416</c:v>
                </c:pt>
                <c:pt idx="27">
                  <c:v>3724426.4708718224</c:v>
                </c:pt>
                <c:pt idx="28">
                  <c:v>3664540.9017959628</c:v>
                </c:pt>
                <c:pt idx="29">
                  <c:v>3708425.514343671</c:v>
                </c:pt>
                <c:pt idx="30">
                  <c:v>3699632.0017941617</c:v>
                </c:pt>
                <c:pt idx="31">
                  <c:v>3634956.3075154615</c:v>
                </c:pt>
                <c:pt idx="32">
                  <c:v>3666547.7633475489</c:v>
                </c:pt>
                <c:pt idx="33">
                  <c:v>3667470.1227976852</c:v>
                </c:pt>
                <c:pt idx="34">
                  <c:v>3728347.5408095159</c:v>
                </c:pt>
                <c:pt idx="35">
                  <c:v>1971566.1121476039</c:v>
                </c:pt>
                <c:pt idx="36">
                  <c:v>2011153.4021329361</c:v>
                </c:pt>
                <c:pt idx="37">
                  <c:v>3696983.6360937878</c:v>
                </c:pt>
                <c:pt idx="38">
                  <c:v>3663536.3503362406</c:v>
                </c:pt>
                <c:pt idx="39">
                  <c:v>3676599.2978546266</c:v>
                </c:pt>
                <c:pt idx="40">
                  <c:v>3655525.3015373917</c:v>
                </c:pt>
                <c:pt idx="41">
                  <c:v>3709708.4756910126</c:v>
                </c:pt>
                <c:pt idx="42">
                  <c:v>3763070.5293486952</c:v>
                </c:pt>
                <c:pt idx="43">
                  <c:v>3817618.5428384836</c:v>
                </c:pt>
                <c:pt idx="44">
                  <c:v>3831417.5072102337</c:v>
                </c:pt>
                <c:pt idx="45">
                  <c:v>4766912.1219277252</c:v>
                </c:pt>
                <c:pt idx="46">
                  <c:v>4398069.9828176191</c:v>
                </c:pt>
                <c:pt idx="47">
                  <c:v>3782653.0755211646</c:v>
                </c:pt>
                <c:pt idx="48">
                  <c:v>3723489.0856501549</c:v>
                </c:pt>
                <c:pt idx="49">
                  <c:v>3711459.0600004941</c:v>
                </c:pt>
                <c:pt idx="50">
                  <c:v>3737754.4592644833</c:v>
                </c:pt>
                <c:pt idx="51">
                  <c:v>3732002.5293831024</c:v>
                </c:pt>
                <c:pt idx="52">
                  <c:v>3718384.8066014205</c:v>
                </c:pt>
                <c:pt idx="53">
                  <c:v>3661072.3587299935</c:v>
                </c:pt>
                <c:pt idx="54">
                  <c:v>3661628.4411358815</c:v>
                </c:pt>
                <c:pt idx="55">
                  <c:v>3659070.0137464642</c:v>
                </c:pt>
                <c:pt idx="56">
                  <c:v>3650612.1582813361</c:v>
                </c:pt>
                <c:pt idx="57">
                  <c:v>3734074.8030980215</c:v>
                </c:pt>
                <c:pt idx="58">
                  <c:v>3706243.1065658219</c:v>
                </c:pt>
                <c:pt idx="59">
                  <c:v>3716571.5204224302</c:v>
                </c:pt>
                <c:pt idx="60">
                  <c:v>3633669.5626494614</c:v>
                </c:pt>
                <c:pt idx="61">
                  <c:v>3653873.5911605889</c:v>
                </c:pt>
                <c:pt idx="62">
                  <c:v>3638118.9616075978</c:v>
                </c:pt>
                <c:pt idx="63">
                  <c:v>3637074.4066561386</c:v>
                </c:pt>
                <c:pt idx="64">
                  <c:v>3672912.8248326103</c:v>
                </c:pt>
                <c:pt idx="65">
                  <c:v>3650980.9015184711</c:v>
                </c:pt>
                <c:pt idx="66">
                  <c:v>3658136.1498483303</c:v>
                </c:pt>
                <c:pt idx="67">
                  <c:v>3689569.3040010771</c:v>
                </c:pt>
                <c:pt idx="68">
                  <c:v>3742871.3103459394</c:v>
                </c:pt>
                <c:pt idx="69">
                  <c:v>3779953.5952627645</c:v>
                </c:pt>
                <c:pt idx="70">
                  <c:v>3699046.8494161796</c:v>
                </c:pt>
                <c:pt idx="71">
                  <c:v>3724418.8214752376</c:v>
                </c:pt>
                <c:pt idx="72">
                  <c:v>3694732.1851235051</c:v>
                </c:pt>
                <c:pt idx="73">
                  <c:v>3642520.8305090512</c:v>
                </c:pt>
                <c:pt idx="74">
                  <c:v>3675551.442976844</c:v>
                </c:pt>
                <c:pt idx="75">
                  <c:v>3658364.8784052231</c:v>
                </c:pt>
                <c:pt idx="76">
                  <c:v>3633247.3003638159</c:v>
                </c:pt>
                <c:pt idx="77">
                  <c:v>3621774.389869872</c:v>
                </c:pt>
                <c:pt idx="78">
                  <c:v>3636894.9299929021</c:v>
                </c:pt>
                <c:pt idx="79">
                  <c:v>3638636.9833716066</c:v>
                </c:pt>
                <c:pt idx="80">
                  <c:v>3625281.9145060657</c:v>
                </c:pt>
                <c:pt idx="81">
                  <c:v>3671913.86306663</c:v>
                </c:pt>
                <c:pt idx="82">
                  <c:v>3652550.3242538101</c:v>
                </c:pt>
                <c:pt idx="83">
                  <c:v>3671228.9705203655</c:v>
                </c:pt>
                <c:pt idx="84">
                  <c:v>3741563.5259570447</c:v>
                </c:pt>
                <c:pt idx="85">
                  <c:v>3718969.0228939303</c:v>
                </c:pt>
                <c:pt idx="86">
                  <c:v>3695943.3136921288</c:v>
                </c:pt>
                <c:pt idx="87">
                  <c:v>3668945.8497910914</c:v>
                </c:pt>
                <c:pt idx="88">
                  <c:v>3659784.7781994231</c:v>
                </c:pt>
                <c:pt idx="89">
                  <c:v>3663501.822771227</c:v>
                </c:pt>
                <c:pt idx="90">
                  <c:v>3662326.1323074368</c:v>
                </c:pt>
                <c:pt idx="91">
                  <c:v>3671968.9706553263</c:v>
                </c:pt>
                <c:pt idx="92">
                  <c:v>3662841.4806098449</c:v>
                </c:pt>
                <c:pt idx="93">
                  <c:v>3602338.165188645</c:v>
                </c:pt>
                <c:pt idx="94">
                  <c:v>3658206.4339472251</c:v>
                </c:pt>
                <c:pt idx="95">
                  <c:v>3666016.5607227753</c:v>
                </c:pt>
                <c:pt idx="96">
                  <c:v>3652381.3162052343</c:v>
                </c:pt>
                <c:pt idx="97">
                  <c:v>3692220.8624967672</c:v>
                </c:pt>
                <c:pt idx="98">
                  <c:v>3659516.5391145428</c:v>
                </c:pt>
                <c:pt idx="99">
                  <c:v>3715317.5701302122</c:v>
                </c:pt>
                <c:pt idx="100">
                  <c:v>3688610.0193220093</c:v>
                </c:pt>
                <c:pt idx="101">
                  <c:v>3655394.5727618202</c:v>
                </c:pt>
                <c:pt idx="102">
                  <c:v>3658043.5272280029</c:v>
                </c:pt>
                <c:pt idx="103">
                  <c:v>3661054.2088660044</c:v>
                </c:pt>
                <c:pt idx="104">
                  <c:v>3710501.6164808851</c:v>
                </c:pt>
                <c:pt idx="105">
                  <c:v>3741788.6065936033</c:v>
                </c:pt>
                <c:pt idx="106">
                  <c:v>3696415.5349200452</c:v>
                </c:pt>
                <c:pt idx="107">
                  <c:v>3660611.5576120899</c:v>
                </c:pt>
                <c:pt idx="108">
                  <c:v>3672086.0232971478</c:v>
                </c:pt>
                <c:pt idx="109">
                  <c:v>3691158.9899610025</c:v>
                </c:pt>
                <c:pt idx="110">
                  <c:v>3641332.5140728797</c:v>
                </c:pt>
                <c:pt idx="111">
                  <c:v>3672675.3506024573</c:v>
                </c:pt>
                <c:pt idx="112">
                  <c:v>3697834.9903338463</c:v>
                </c:pt>
                <c:pt idx="113">
                  <c:v>3742394.8376688915</c:v>
                </c:pt>
                <c:pt idx="114">
                  <c:v>3688444.064316263</c:v>
                </c:pt>
                <c:pt idx="115">
                  <c:v>3708067.4196261321</c:v>
                </c:pt>
                <c:pt idx="116">
                  <c:v>3667288.5402063034</c:v>
                </c:pt>
                <c:pt idx="117">
                  <c:v>3697720.44036204</c:v>
                </c:pt>
                <c:pt idx="118">
                  <c:v>3671128.6331191212</c:v>
                </c:pt>
                <c:pt idx="119">
                  <c:v>3726047.9222088717</c:v>
                </c:pt>
                <c:pt idx="120">
                  <c:v>3677741.3213894633</c:v>
                </c:pt>
                <c:pt idx="121">
                  <c:v>3736855.9217521888</c:v>
                </c:pt>
                <c:pt idx="122">
                  <c:v>3730909.1368409409</c:v>
                </c:pt>
                <c:pt idx="123">
                  <c:v>3706576.1701108688</c:v>
                </c:pt>
                <c:pt idx="124">
                  <c:v>3702341.238797198</c:v>
                </c:pt>
                <c:pt idx="125">
                  <c:v>3699785.0516473888</c:v>
                </c:pt>
                <c:pt idx="126">
                  <c:v>3652185.3826875016</c:v>
                </c:pt>
                <c:pt idx="127">
                  <c:v>3628744.819542313</c:v>
                </c:pt>
                <c:pt idx="128">
                  <c:v>3692888.1130849286</c:v>
                </c:pt>
                <c:pt idx="129">
                  <c:v>3646966.392910263</c:v>
                </c:pt>
                <c:pt idx="130">
                  <c:v>3638788.3158924533</c:v>
                </c:pt>
                <c:pt idx="131">
                  <c:v>3721601.4956998886</c:v>
                </c:pt>
                <c:pt idx="132">
                  <c:v>3693408.3198319995</c:v>
                </c:pt>
                <c:pt idx="133">
                  <c:v>3696552.383513567</c:v>
                </c:pt>
                <c:pt idx="134">
                  <c:v>3733638.3820162015</c:v>
                </c:pt>
                <c:pt idx="135">
                  <c:v>3704615.3290334647</c:v>
                </c:pt>
                <c:pt idx="136">
                  <c:v>3634863.7577509475</c:v>
                </c:pt>
                <c:pt idx="137">
                  <c:v>3702807.8384281695</c:v>
                </c:pt>
                <c:pt idx="138">
                  <c:v>3709652.1775636706</c:v>
                </c:pt>
                <c:pt idx="139">
                  <c:v>3692684.2984749009</c:v>
                </c:pt>
                <c:pt idx="140">
                  <c:v>3770277.1727890298</c:v>
                </c:pt>
                <c:pt idx="141">
                  <c:v>3938967.0457082535</c:v>
                </c:pt>
                <c:pt idx="142">
                  <c:v>4102785.6661544088</c:v>
                </c:pt>
                <c:pt idx="143">
                  <c:v>4142154.7922206162</c:v>
                </c:pt>
                <c:pt idx="144">
                  <c:v>5747129.4791646376</c:v>
                </c:pt>
                <c:pt idx="145">
                  <c:v>0</c:v>
                </c:pt>
                <c:pt idx="146">
                  <c:v>0</c:v>
                </c:pt>
                <c:pt idx="147">
                  <c:v>0</c:v>
                </c:pt>
                <c:pt idx="148">
                  <c:v>0</c:v>
                </c:pt>
                <c:pt idx="149">
                  <c:v>0</c:v>
                </c:pt>
                <c:pt idx="150">
                  <c:v>4167294.3332040203</c:v>
                </c:pt>
                <c:pt idx="151">
                  <c:v>3716449.3523203256</c:v>
                </c:pt>
                <c:pt idx="152">
                  <c:v>3629393.7869651434</c:v>
                </c:pt>
                <c:pt idx="153">
                  <c:v>3640764.8191606831</c:v>
                </c:pt>
                <c:pt idx="154">
                  <c:v>2061144.5371636748</c:v>
                </c:pt>
                <c:pt idx="155">
                  <c:v>3678633.9659623951</c:v>
                </c:pt>
                <c:pt idx="156">
                  <c:v>3669018.546475023</c:v>
                </c:pt>
                <c:pt idx="157">
                  <c:v>3669555.5372643913</c:v>
                </c:pt>
                <c:pt idx="158">
                  <c:v>3702001.4951343806</c:v>
                </c:pt>
                <c:pt idx="159">
                  <c:v>3714913.8022081279</c:v>
                </c:pt>
                <c:pt idx="160">
                  <c:v>3723786.7010964141</c:v>
                </c:pt>
                <c:pt idx="161">
                  <c:v>3769431.4268661458</c:v>
                </c:pt>
                <c:pt idx="162">
                  <c:v>3766308.6494619241</c:v>
                </c:pt>
                <c:pt idx="163">
                  <c:v>3709442.4138614866</c:v>
                </c:pt>
                <c:pt idx="164">
                  <c:v>3644106.9598706351</c:v>
                </c:pt>
                <c:pt idx="165">
                  <c:v>3644509.2044297834</c:v>
                </c:pt>
                <c:pt idx="166">
                  <c:v>3693774.2881647763</c:v>
                </c:pt>
                <c:pt idx="167">
                  <c:v>3689438.4555126685</c:v>
                </c:pt>
                <c:pt idx="168">
                  <c:v>3703498.5298011703</c:v>
                </c:pt>
                <c:pt idx="169">
                  <c:v>3675112.0159442625</c:v>
                </c:pt>
                <c:pt idx="170">
                  <c:v>3758562.2158194091</c:v>
                </c:pt>
                <c:pt idx="171">
                  <c:v>3786971.2699658391</c:v>
                </c:pt>
                <c:pt idx="172">
                  <c:v>3758724.3091260022</c:v>
                </c:pt>
                <c:pt idx="173">
                  <c:v>3768268.2416939391</c:v>
                </c:pt>
                <c:pt idx="174">
                  <c:v>3762814.6993430876</c:v>
                </c:pt>
                <c:pt idx="175">
                  <c:v>3800361.6710024192</c:v>
                </c:pt>
                <c:pt idx="176">
                  <c:v>3859480.9931617328</c:v>
                </c:pt>
                <c:pt idx="177">
                  <c:v>3871045.5903360192</c:v>
                </c:pt>
                <c:pt idx="178">
                  <c:v>3754128.7550232434</c:v>
                </c:pt>
                <c:pt idx="179">
                  <c:v>3791698.1228064895</c:v>
                </c:pt>
                <c:pt idx="180">
                  <c:v>3721497.9210363138</c:v>
                </c:pt>
                <c:pt idx="181">
                  <c:v>3698189.2533857063</c:v>
                </c:pt>
                <c:pt idx="182">
                  <c:v>3691084.0470527764</c:v>
                </c:pt>
                <c:pt idx="183">
                  <c:v>3696726.0298118521</c:v>
                </c:pt>
                <c:pt idx="184">
                  <c:v>3729636.0766733508</c:v>
                </c:pt>
                <c:pt idx="185">
                  <c:v>3733006.8746337695</c:v>
                </c:pt>
                <c:pt idx="186">
                  <c:v>3735669.988498576</c:v>
                </c:pt>
                <c:pt idx="187">
                  <c:v>3740910.3762075203</c:v>
                </c:pt>
                <c:pt idx="188">
                  <c:v>3716130.5434619058</c:v>
                </c:pt>
                <c:pt idx="189">
                  <c:v>3707286.9232113524</c:v>
                </c:pt>
                <c:pt idx="190">
                  <c:v>3729966.0945485346</c:v>
                </c:pt>
                <c:pt idx="191">
                  <c:v>3736315.9036329403</c:v>
                </c:pt>
                <c:pt idx="192">
                  <c:v>3687333.9632061655</c:v>
                </c:pt>
                <c:pt idx="193">
                  <c:v>3703374.1284489939</c:v>
                </c:pt>
                <c:pt idx="194">
                  <c:v>3720946.494933316</c:v>
                </c:pt>
                <c:pt idx="195">
                  <c:v>3729422.0923228357</c:v>
                </c:pt>
                <c:pt idx="196">
                  <c:v>3719113.5650787279</c:v>
                </c:pt>
                <c:pt idx="197">
                  <c:v>3705789.587576746</c:v>
                </c:pt>
                <c:pt idx="198">
                  <c:v>3707743.6707377704</c:v>
                </c:pt>
                <c:pt idx="199">
                  <c:v>3685870.0503740995</c:v>
                </c:pt>
                <c:pt idx="200">
                  <c:v>3756800.6604999644</c:v>
                </c:pt>
                <c:pt idx="201">
                  <c:v>3768648.7891474529</c:v>
                </c:pt>
                <c:pt idx="202">
                  <c:v>3759583.6874081902</c:v>
                </c:pt>
                <c:pt idx="203">
                  <c:v>3741459.00726688</c:v>
                </c:pt>
                <c:pt idx="204">
                  <c:v>3694993.6504276358</c:v>
                </c:pt>
                <c:pt idx="205">
                  <c:v>3721759.3402429842</c:v>
                </c:pt>
                <c:pt idx="206">
                  <c:v>3773209.4865708719</c:v>
                </c:pt>
                <c:pt idx="207">
                  <c:v>3760246.1823556679</c:v>
                </c:pt>
                <c:pt idx="208">
                  <c:v>3691879.4947398058</c:v>
                </c:pt>
                <c:pt idx="209">
                  <c:v>3698722.3140867674</c:v>
                </c:pt>
                <c:pt idx="210">
                  <c:v>3685768.9078071811</c:v>
                </c:pt>
                <c:pt idx="211">
                  <c:v>3748923.1580553418</c:v>
                </c:pt>
                <c:pt idx="212">
                  <c:v>3755958.0733039551</c:v>
                </c:pt>
                <c:pt idx="213">
                  <c:v>3746103.6309745843</c:v>
                </c:pt>
                <c:pt idx="214">
                  <c:v>3817097.0892792898</c:v>
                </c:pt>
                <c:pt idx="215">
                  <c:v>3723295.5996033084</c:v>
                </c:pt>
                <c:pt idx="216">
                  <c:v>3682509.1627454371</c:v>
                </c:pt>
                <c:pt idx="217">
                  <c:v>3762143.6063095434</c:v>
                </c:pt>
                <c:pt idx="218">
                  <c:v>3707676.6149299266</c:v>
                </c:pt>
                <c:pt idx="219">
                  <c:v>3920264.177571109</c:v>
                </c:pt>
                <c:pt idx="220">
                  <c:v>3649315.3106658524</c:v>
                </c:pt>
                <c:pt idx="221">
                  <c:v>3704865.497024578</c:v>
                </c:pt>
                <c:pt idx="222">
                  <c:v>3686856.5203808215</c:v>
                </c:pt>
                <c:pt idx="223">
                  <c:v>3679534.1368863997</c:v>
                </c:pt>
                <c:pt idx="224">
                  <c:v>3649334.9687494626</c:v>
                </c:pt>
                <c:pt idx="225">
                  <c:v>3643437.2015950712</c:v>
                </c:pt>
                <c:pt idx="226">
                  <c:v>3690416.6935861153</c:v>
                </c:pt>
                <c:pt idx="227">
                  <c:v>3644749.8507941798</c:v>
                </c:pt>
                <c:pt idx="228">
                  <c:v>3687455.9099363135</c:v>
                </c:pt>
                <c:pt idx="229">
                  <c:v>3650770.0271825194</c:v>
                </c:pt>
                <c:pt idx="230">
                  <c:v>3721607.3025792367</c:v>
                </c:pt>
                <c:pt idx="231">
                  <c:v>3705676.4040733106</c:v>
                </c:pt>
                <c:pt idx="232">
                  <c:v>3757062.5169323245</c:v>
                </c:pt>
                <c:pt idx="233">
                  <c:v>3703509.2070043148</c:v>
                </c:pt>
                <c:pt idx="234">
                  <c:v>3705596.0566618401</c:v>
                </c:pt>
                <c:pt idx="235">
                  <c:v>3771943.2208844493</c:v>
                </c:pt>
                <c:pt idx="236">
                  <c:v>3744716.7240195214</c:v>
                </c:pt>
                <c:pt idx="237">
                  <c:v>3715696.3914244641</c:v>
                </c:pt>
                <c:pt idx="238">
                  <c:v>3753631.698519737</c:v>
                </c:pt>
                <c:pt idx="239">
                  <c:v>3727391.2507520607</c:v>
                </c:pt>
                <c:pt idx="240">
                  <c:v>3865590.3652158324</c:v>
                </c:pt>
                <c:pt idx="241">
                  <c:v>3903220.0098123299</c:v>
                </c:pt>
                <c:pt idx="242">
                  <c:v>3872417.4789317017</c:v>
                </c:pt>
                <c:pt idx="243">
                  <c:v>3861639.8248256748</c:v>
                </c:pt>
                <c:pt idx="244">
                  <c:v>3845251.0409187214</c:v>
                </c:pt>
                <c:pt idx="245">
                  <c:v>3948463.1037023501</c:v>
                </c:pt>
                <c:pt idx="246">
                  <c:v>4105791.7185303001</c:v>
                </c:pt>
                <c:pt idx="247">
                  <c:v>4143424.1988708377</c:v>
                </c:pt>
                <c:pt idx="248">
                  <c:v>3901973.7734034783</c:v>
                </c:pt>
                <c:pt idx="249">
                  <c:v>3898191.7790111681</c:v>
                </c:pt>
                <c:pt idx="250">
                  <c:v>3869709.2853047326</c:v>
                </c:pt>
                <c:pt idx="251">
                  <c:v>3962326.5466504879</c:v>
                </c:pt>
                <c:pt idx="252">
                  <c:v>3790035.2551633446</c:v>
                </c:pt>
                <c:pt idx="253">
                  <c:v>3814184.0971022774</c:v>
                </c:pt>
                <c:pt idx="254">
                  <c:v>3763950.401129507</c:v>
                </c:pt>
                <c:pt idx="255">
                  <c:v>3824299.606065982</c:v>
                </c:pt>
                <c:pt idx="256">
                  <c:v>3661608.2685144963</c:v>
                </c:pt>
                <c:pt idx="257">
                  <c:v>3667546.5077548227</c:v>
                </c:pt>
                <c:pt idx="258">
                  <c:v>3818706.9477761118</c:v>
                </c:pt>
                <c:pt idx="259">
                  <c:v>4204905.6071573971</c:v>
                </c:pt>
                <c:pt idx="260">
                  <c:v>4081387.9237215933</c:v>
                </c:pt>
                <c:pt idx="261">
                  <c:v>3867257.9562039562</c:v>
                </c:pt>
                <c:pt idx="262">
                  <c:v>3798485.1100451718</c:v>
                </c:pt>
                <c:pt idx="263">
                  <c:v>3815795.3870961405</c:v>
                </c:pt>
                <c:pt idx="264">
                  <c:v>3775326.3174497639</c:v>
                </c:pt>
                <c:pt idx="265">
                  <c:v>3764667.8261745851</c:v>
                </c:pt>
                <c:pt idx="266">
                  <c:v>3791165.2281378414</c:v>
                </c:pt>
                <c:pt idx="267">
                  <c:v>3924292.1689248369</c:v>
                </c:pt>
                <c:pt idx="268">
                  <c:v>3684841.3644898566</c:v>
                </c:pt>
                <c:pt idx="269">
                  <c:v>3684968.8197544408</c:v>
                </c:pt>
                <c:pt idx="270">
                  <c:v>3720522.530591168</c:v>
                </c:pt>
                <c:pt idx="271">
                  <c:v>3702392.6078846101</c:v>
                </c:pt>
                <c:pt idx="272">
                  <c:v>3675581.5493206545</c:v>
                </c:pt>
                <c:pt idx="273">
                  <c:v>3685831.592385924</c:v>
                </c:pt>
                <c:pt idx="274">
                  <c:v>3704622.4946993706</c:v>
                </c:pt>
                <c:pt idx="275">
                  <c:v>3731221.6866677571</c:v>
                </c:pt>
                <c:pt idx="276">
                  <c:v>3763709.8492120123</c:v>
                </c:pt>
                <c:pt idx="277">
                  <c:v>3772162.0011707107</c:v>
                </c:pt>
                <c:pt idx="278">
                  <c:v>3801849.8357984577</c:v>
                </c:pt>
                <c:pt idx="279">
                  <c:v>3711084.9501617914</c:v>
                </c:pt>
                <c:pt idx="280">
                  <c:v>3655901.0119506735</c:v>
                </c:pt>
                <c:pt idx="281">
                  <c:v>3656455.4581023459</c:v>
                </c:pt>
                <c:pt idx="282">
                  <c:v>3644035.2463784008</c:v>
                </c:pt>
                <c:pt idx="283">
                  <c:v>3667199.3912167046</c:v>
                </c:pt>
                <c:pt idx="284">
                  <c:v>3676724.4887682111</c:v>
                </c:pt>
                <c:pt idx="285">
                  <c:v>3718290.4355708444</c:v>
                </c:pt>
                <c:pt idx="286">
                  <c:v>3714443.8648923039</c:v>
                </c:pt>
                <c:pt idx="287">
                  <c:v>3732371.3691629856</c:v>
                </c:pt>
                <c:pt idx="288">
                  <c:v>3726182.4661783688</c:v>
                </c:pt>
                <c:pt idx="289">
                  <c:v>3789501.3246811186</c:v>
                </c:pt>
                <c:pt idx="290">
                  <c:v>3733885.4920488056</c:v>
                </c:pt>
                <c:pt idx="291">
                  <c:v>3822365.4319939176</c:v>
                </c:pt>
                <c:pt idx="292">
                  <c:v>3780428.1301562828</c:v>
                </c:pt>
                <c:pt idx="293">
                  <c:v>3809680.9757660627</c:v>
                </c:pt>
                <c:pt idx="294">
                  <c:v>3737369.9724313794</c:v>
                </c:pt>
                <c:pt idx="295">
                  <c:v>3704395.3039466352</c:v>
                </c:pt>
                <c:pt idx="296">
                  <c:v>3719525.4871688983</c:v>
                </c:pt>
                <c:pt idx="297">
                  <c:v>3723177.1232115421</c:v>
                </c:pt>
                <c:pt idx="298">
                  <c:v>3734501.7641911712</c:v>
                </c:pt>
                <c:pt idx="299">
                  <c:v>3777186.3165651788</c:v>
                </c:pt>
                <c:pt idx="300">
                  <c:v>3817047.0000808779</c:v>
                </c:pt>
                <c:pt idx="301">
                  <c:v>3750386.2894230718</c:v>
                </c:pt>
                <c:pt idx="302">
                  <c:v>3696375.8629378416</c:v>
                </c:pt>
                <c:pt idx="303">
                  <c:v>3707233.3383737267</c:v>
                </c:pt>
                <c:pt idx="304">
                  <c:v>3711823.1842924794</c:v>
                </c:pt>
                <c:pt idx="305">
                  <c:v>3651292.160003528</c:v>
                </c:pt>
                <c:pt idx="306">
                  <c:v>3693993.345481223</c:v>
                </c:pt>
                <c:pt idx="307">
                  <c:v>3720917.0257890676</c:v>
                </c:pt>
                <c:pt idx="308">
                  <c:v>3697268.9972696234</c:v>
                </c:pt>
                <c:pt idx="309">
                  <c:v>3704535.5667748856</c:v>
                </c:pt>
                <c:pt idx="310">
                  <c:v>3729044.5643403176</c:v>
                </c:pt>
                <c:pt idx="311">
                  <c:v>3693922.7696115319</c:v>
                </c:pt>
                <c:pt idx="312">
                  <c:v>3723437.9286002466</c:v>
                </c:pt>
                <c:pt idx="313">
                  <c:v>3727084.0648371959</c:v>
                </c:pt>
                <c:pt idx="314">
                  <c:v>3695351.8645677748</c:v>
                </c:pt>
                <c:pt idx="315">
                  <c:v>3702608.7918420411</c:v>
                </c:pt>
                <c:pt idx="316">
                  <c:v>3734377.5123805818</c:v>
                </c:pt>
                <c:pt idx="317">
                  <c:v>3744922.2107153302</c:v>
                </c:pt>
                <c:pt idx="318">
                  <c:v>3704791.8045828999</c:v>
                </c:pt>
                <c:pt idx="319">
                  <c:v>3685190.1744057187</c:v>
                </c:pt>
                <c:pt idx="320">
                  <c:v>3711161.0875091525</c:v>
                </c:pt>
                <c:pt idx="321">
                  <c:v>3678160.6665367484</c:v>
                </c:pt>
                <c:pt idx="322">
                  <c:v>3677061.8030221816</c:v>
                </c:pt>
                <c:pt idx="323">
                  <c:v>3686472.7405427988</c:v>
                </c:pt>
                <c:pt idx="324">
                  <c:v>3701081.8259653375</c:v>
                </c:pt>
                <c:pt idx="325">
                  <c:v>3657648.9326240332</c:v>
                </c:pt>
                <c:pt idx="326">
                  <c:v>3633947.6603104435</c:v>
                </c:pt>
                <c:pt idx="327">
                  <c:v>3615897.3878599135</c:v>
                </c:pt>
                <c:pt idx="328">
                  <c:v>3642460.1792038986</c:v>
                </c:pt>
                <c:pt idx="329">
                  <c:v>3655009.3633453092</c:v>
                </c:pt>
                <c:pt idx="330">
                  <c:v>3657588.18482946</c:v>
                </c:pt>
                <c:pt idx="331">
                  <c:v>3683913.8865420441</c:v>
                </c:pt>
                <c:pt idx="332">
                  <c:v>3678423.5963021531</c:v>
                </c:pt>
                <c:pt idx="333">
                  <c:v>3704605.0122211296</c:v>
                </c:pt>
                <c:pt idx="334">
                  <c:v>3948191.4938426269</c:v>
                </c:pt>
                <c:pt idx="335">
                  <c:v>3955327.9698025719</c:v>
                </c:pt>
                <c:pt idx="336">
                  <c:v>3698556.6276805112</c:v>
                </c:pt>
                <c:pt idx="337">
                  <c:v>3676058.4480851446</c:v>
                </c:pt>
                <c:pt idx="338">
                  <c:v>3643393.6039735656</c:v>
                </c:pt>
                <c:pt idx="339">
                  <c:v>3644250.1515839528</c:v>
                </c:pt>
                <c:pt idx="340">
                  <c:v>3642103.539085804</c:v>
                </c:pt>
                <c:pt idx="341">
                  <c:v>3608849.227214518</c:v>
                </c:pt>
                <c:pt idx="342">
                  <c:v>3672319.5272597992</c:v>
                </c:pt>
                <c:pt idx="343">
                  <c:v>3625928.5804126505</c:v>
                </c:pt>
                <c:pt idx="344">
                  <c:v>3632609.8503650771</c:v>
                </c:pt>
                <c:pt idx="345">
                  <c:v>3659201.4222905627</c:v>
                </c:pt>
                <c:pt idx="346">
                  <c:v>3652526.962174247</c:v>
                </c:pt>
                <c:pt idx="347">
                  <c:v>3628875.8466845029</c:v>
                </c:pt>
                <c:pt idx="348">
                  <c:v>3640695.0222209892</c:v>
                </c:pt>
                <c:pt idx="349">
                  <c:v>3633746.7557035936</c:v>
                </c:pt>
                <c:pt idx="350">
                  <c:v>3636899.9431807194</c:v>
                </c:pt>
                <c:pt idx="351">
                  <c:v>3594652.6336951652</c:v>
                </c:pt>
                <c:pt idx="352">
                  <c:v>3686041.3390832921</c:v>
                </c:pt>
                <c:pt idx="353">
                  <c:v>3686885.8182151685</c:v>
                </c:pt>
                <c:pt idx="354">
                  <c:v>3688878.7107534674</c:v>
                </c:pt>
                <c:pt idx="355">
                  <c:v>3709278.6678328933</c:v>
                </c:pt>
                <c:pt idx="356">
                  <c:v>3750650.9221443334</c:v>
                </c:pt>
                <c:pt idx="357">
                  <c:v>3699081.5642934102</c:v>
                </c:pt>
                <c:pt idx="358">
                  <c:v>3660487.4838165324</c:v>
                </c:pt>
                <c:pt idx="359">
                  <c:v>3664851.1088759312</c:v>
                </c:pt>
                <c:pt idx="360">
                  <c:v>3625748.2166036959</c:v>
                </c:pt>
                <c:pt idx="361">
                  <c:v>3621836.0278160996</c:v>
                </c:pt>
                <c:pt idx="362">
                  <c:v>3670232.9047827497</c:v>
                </c:pt>
                <c:pt idx="363">
                  <c:v>3753354.055068803</c:v>
                </c:pt>
                <c:pt idx="364">
                  <c:v>4134413.8008570843</c:v>
                </c:pt>
                <c:pt idx="365">
                  <c:v>3988123.189050925</c:v>
                </c:pt>
                <c:pt idx="366">
                  <c:v>3743431.9691233067</c:v>
                </c:pt>
                <c:pt idx="367">
                  <c:v>3633422.7316317395</c:v>
                </c:pt>
                <c:pt idx="368">
                  <c:v>3654284.4071141123</c:v>
                </c:pt>
                <c:pt idx="369">
                  <c:v>3607594.7946793297</c:v>
                </c:pt>
                <c:pt idx="370">
                  <c:v>3583042.8566776002</c:v>
                </c:pt>
                <c:pt idx="371">
                  <c:v>3581993.9759687386</c:v>
                </c:pt>
                <c:pt idx="372">
                  <c:v>3557823.5671005915</c:v>
                </c:pt>
                <c:pt idx="373">
                  <c:v>3595029.7896923572</c:v>
                </c:pt>
                <c:pt idx="374">
                  <c:v>3642799.9883324504</c:v>
                </c:pt>
                <c:pt idx="375">
                  <c:v>3650829.905768048</c:v>
                </c:pt>
                <c:pt idx="376">
                  <c:v>3666798.1982251615</c:v>
                </c:pt>
                <c:pt idx="377">
                  <c:v>3679868.576276599</c:v>
                </c:pt>
                <c:pt idx="378">
                  <c:v>3662094.727597273</c:v>
                </c:pt>
                <c:pt idx="379">
                  <c:v>3664554.1396126081</c:v>
                </c:pt>
                <c:pt idx="380">
                  <c:v>3585423.3394696452</c:v>
                </c:pt>
                <c:pt idx="381">
                  <c:v>3554495.3400537949</c:v>
                </c:pt>
                <c:pt idx="382">
                  <c:v>3601522.9988637357</c:v>
                </c:pt>
                <c:pt idx="383">
                  <c:v>3615864.0856795022</c:v>
                </c:pt>
                <c:pt idx="384">
                  <c:v>3586995.5852566515</c:v>
                </c:pt>
                <c:pt idx="385">
                  <c:v>3555291.029168406</c:v>
                </c:pt>
                <c:pt idx="386">
                  <c:v>3586014.848778402</c:v>
                </c:pt>
                <c:pt idx="387">
                  <c:v>3653887.9700747924</c:v>
                </c:pt>
                <c:pt idx="388">
                  <c:v>3600577.9923743638</c:v>
                </c:pt>
                <c:pt idx="389">
                  <c:v>3628883.3648341754</c:v>
                </c:pt>
                <c:pt idx="390">
                  <c:v>3628654.9477779646</c:v>
                </c:pt>
                <c:pt idx="391">
                  <c:v>3607247.6073492495</c:v>
                </c:pt>
                <c:pt idx="392">
                  <c:v>3612252.8374453555</c:v>
                </c:pt>
                <c:pt idx="393">
                  <c:v>3658321.3051502225</c:v>
                </c:pt>
                <c:pt idx="394">
                  <c:v>3608914.1191104641</c:v>
                </c:pt>
                <c:pt idx="395">
                  <c:v>3644441.8853893545</c:v>
                </c:pt>
                <c:pt idx="396">
                  <c:v>3634927.7563199606</c:v>
                </c:pt>
                <c:pt idx="397">
                  <c:v>3639972.7066302844</c:v>
                </c:pt>
                <c:pt idx="398">
                  <c:v>3660828.2592340694</c:v>
                </c:pt>
                <c:pt idx="399">
                  <c:v>3669979.7847752683</c:v>
                </c:pt>
                <c:pt idx="400">
                  <c:v>3659123.014905863</c:v>
                </c:pt>
                <c:pt idx="401">
                  <c:v>3633842.8887970494</c:v>
                </c:pt>
                <c:pt idx="402">
                  <c:v>3659028.8608642672</c:v>
                </c:pt>
                <c:pt idx="403">
                  <c:v>3690526.8057534806</c:v>
                </c:pt>
                <c:pt idx="404">
                  <c:v>3706697.9330843999</c:v>
                </c:pt>
                <c:pt idx="405">
                  <c:v>3719077.8544107671</c:v>
                </c:pt>
                <c:pt idx="406">
                  <c:v>3681375.404209069</c:v>
                </c:pt>
                <c:pt idx="407">
                  <c:v>3654667.8598599164</c:v>
                </c:pt>
                <c:pt idx="408">
                  <c:v>3698796.2474135263</c:v>
                </c:pt>
                <c:pt idx="409">
                  <c:v>3655150.8608984132</c:v>
                </c:pt>
                <c:pt idx="410">
                  <c:v>3671842.8781750104</c:v>
                </c:pt>
                <c:pt idx="411">
                  <c:v>3616759.4406998493</c:v>
                </c:pt>
                <c:pt idx="412">
                  <c:v>3688018.3810129059</c:v>
                </c:pt>
                <c:pt idx="413">
                  <c:v>3700136.8340838058</c:v>
                </c:pt>
                <c:pt idx="414">
                  <c:v>3664989.3738982552</c:v>
                </c:pt>
                <c:pt idx="415">
                  <c:v>3722642.3826119169</c:v>
                </c:pt>
                <c:pt idx="416">
                  <c:v>3790666.7622880135</c:v>
                </c:pt>
                <c:pt idx="417">
                  <c:v>3689051.2451085998</c:v>
                </c:pt>
                <c:pt idx="418">
                  <c:v>3669920.1164108329</c:v>
                </c:pt>
                <c:pt idx="419">
                  <c:v>3703064.3826568411</c:v>
                </c:pt>
                <c:pt idx="420">
                  <c:v>3698919.4570424738</c:v>
                </c:pt>
                <c:pt idx="421">
                  <c:v>3714816.3239380275</c:v>
                </c:pt>
                <c:pt idx="422">
                  <c:v>3716650.4363285024</c:v>
                </c:pt>
                <c:pt idx="423">
                  <c:v>3692659.9518451928</c:v>
                </c:pt>
                <c:pt idx="424">
                  <c:v>3708476.9252023986</c:v>
                </c:pt>
                <c:pt idx="425">
                  <c:v>3700607.3174472624</c:v>
                </c:pt>
                <c:pt idx="426">
                  <c:v>3650787.5358751444</c:v>
                </c:pt>
                <c:pt idx="427">
                  <c:v>3611731.9511851394</c:v>
                </c:pt>
                <c:pt idx="428">
                  <c:v>3635747.7853839495</c:v>
                </c:pt>
                <c:pt idx="429">
                  <c:v>3644553.0513900607</c:v>
                </c:pt>
                <c:pt idx="430">
                  <c:v>3686395.1874423157</c:v>
                </c:pt>
                <c:pt idx="431">
                  <c:v>3674301.6141573167</c:v>
                </c:pt>
                <c:pt idx="432">
                  <c:v>3669684.7293889667</c:v>
                </c:pt>
                <c:pt idx="433">
                  <c:v>3691793.7637911825</c:v>
                </c:pt>
                <c:pt idx="434">
                  <c:v>3712162.5497196256</c:v>
                </c:pt>
                <c:pt idx="435">
                  <c:v>3705142.6387856877</c:v>
                </c:pt>
                <c:pt idx="436">
                  <c:v>3686170.171614293</c:v>
                </c:pt>
                <c:pt idx="437">
                  <c:v>3676549.083186748</c:v>
                </c:pt>
                <c:pt idx="438">
                  <c:v>3669480.1729459474</c:v>
                </c:pt>
                <c:pt idx="439">
                  <c:v>3668559.1263510007</c:v>
                </c:pt>
                <c:pt idx="440">
                  <c:v>3718954.7337733763</c:v>
                </c:pt>
                <c:pt idx="441">
                  <c:v>3735514.663099735</c:v>
                </c:pt>
                <c:pt idx="442">
                  <c:v>3705071.1401171004</c:v>
                </c:pt>
                <c:pt idx="443">
                  <c:v>3656317.1425593831</c:v>
                </c:pt>
                <c:pt idx="444">
                  <c:v>3632969.3618134474</c:v>
                </c:pt>
                <c:pt idx="445">
                  <c:v>3597130.8608157686</c:v>
                </c:pt>
                <c:pt idx="446">
                  <c:v>3661508.9468650185</c:v>
                </c:pt>
                <c:pt idx="447">
                  <c:v>3682604.9325159988</c:v>
                </c:pt>
                <c:pt idx="448">
                  <c:v>3696444.2417502953</c:v>
                </c:pt>
                <c:pt idx="449">
                  <c:v>3701243.8306324212</c:v>
                </c:pt>
                <c:pt idx="450">
                  <c:v>3664440.5103301425</c:v>
                </c:pt>
                <c:pt idx="451">
                  <c:v>3654707.2161941691</c:v>
                </c:pt>
                <c:pt idx="452">
                  <c:v>3622596.0992038636</c:v>
                </c:pt>
                <c:pt idx="453">
                  <c:v>3689292.3271366674</c:v>
                </c:pt>
                <c:pt idx="454">
                  <c:v>3635444.1138908109</c:v>
                </c:pt>
                <c:pt idx="455">
                  <c:v>3595092.1144610494</c:v>
                </c:pt>
                <c:pt idx="456">
                  <c:v>3656060.5658649611</c:v>
                </c:pt>
                <c:pt idx="457">
                  <c:v>3693438.5213370067</c:v>
                </c:pt>
                <c:pt idx="458">
                  <c:v>3648973.3328490551</c:v>
                </c:pt>
                <c:pt idx="459">
                  <c:v>3653622.5612404635</c:v>
                </c:pt>
                <c:pt idx="460">
                  <c:v>3665961.4106624578</c:v>
                </c:pt>
                <c:pt idx="461">
                  <c:v>3659491.0607427857</c:v>
                </c:pt>
                <c:pt idx="462">
                  <c:v>3340668.1526251789</c:v>
                </c:pt>
                <c:pt idx="463">
                  <c:v>3351765.2636037883</c:v>
                </c:pt>
                <c:pt idx="464">
                  <c:v>3650121.4869452044</c:v>
                </c:pt>
                <c:pt idx="465">
                  <c:v>3684695.3083238164</c:v>
                </c:pt>
                <c:pt idx="466">
                  <c:v>3688119.1175969434</c:v>
                </c:pt>
                <c:pt idx="467">
                  <c:v>3936751.7128517688</c:v>
                </c:pt>
                <c:pt idx="468">
                  <c:v>5206522.2524066102</c:v>
                </c:pt>
                <c:pt idx="469">
                  <c:v>3838149.8800654882</c:v>
                </c:pt>
                <c:pt idx="470">
                  <c:v>3688691.9102313463</c:v>
                </c:pt>
                <c:pt idx="471">
                  <c:v>3654363.8626488564</c:v>
                </c:pt>
                <c:pt idx="472">
                  <c:v>3695193.5581568168</c:v>
                </c:pt>
                <c:pt idx="473">
                  <c:v>3690825.6777496589</c:v>
                </c:pt>
                <c:pt idx="474">
                  <c:v>3696027.4593807873</c:v>
                </c:pt>
                <c:pt idx="475">
                  <c:v>3702756.4350137832</c:v>
                </c:pt>
                <c:pt idx="476">
                  <c:v>3709784.9294887148</c:v>
                </c:pt>
                <c:pt idx="477">
                  <c:v>3682050.4938918343</c:v>
                </c:pt>
                <c:pt idx="478">
                  <c:v>3625813.4604493221</c:v>
                </c:pt>
                <c:pt idx="479">
                  <c:v>3680293.0521925976</c:v>
                </c:pt>
                <c:pt idx="480">
                  <c:v>3664707.4721694877</c:v>
                </c:pt>
                <c:pt idx="481">
                  <c:v>3684179.8035747712</c:v>
                </c:pt>
                <c:pt idx="482">
                  <c:v>3724492.4000904351</c:v>
                </c:pt>
                <c:pt idx="483">
                  <c:v>3743280.6519854683</c:v>
                </c:pt>
                <c:pt idx="484">
                  <c:v>3725447.0558664831</c:v>
                </c:pt>
                <c:pt idx="485">
                  <c:v>3689889.5792254671</c:v>
                </c:pt>
                <c:pt idx="486">
                  <c:v>3652206.7336364719</c:v>
                </c:pt>
                <c:pt idx="487">
                  <c:v>2086425.0997618143</c:v>
                </c:pt>
                <c:pt idx="488">
                  <c:v>3661950.8262995216</c:v>
                </c:pt>
                <c:pt idx="489">
                  <c:v>3692083.5533377118</c:v>
                </c:pt>
                <c:pt idx="490">
                  <c:v>3706940.3892593007</c:v>
                </c:pt>
                <c:pt idx="491">
                  <c:v>3729447.8960556188</c:v>
                </c:pt>
                <c:pt idx="492">
                  <c:v>3876630.669076493</c:v>
                </c:pt>
                <c:pt idx="493">
                  <c:v>4142158.1892598378</c:v>
                </c:pt>
                <c:pt idx="494">
                  <c:v>4094978.4704505433</c:v>
                </c:pt>
                <c:pt idx="495">
                  <c:v>0</c:v>
                </c:pt>
                <c:pt idx="496">
                  <c:v>0</c:v>
                </c:pt>
                <c:pt idx="497">
                  <c:v>0</c:v>
                </c:pt>
                <c:pt idx="498">
                  <c:v>0</c:v>
                </c:pt>
                <c:pt idx="499">
                  <c:v>3700446.1131983148</c:v>
                </c:pt>
                <c:pt idx="500">
                  <c:v>3659486.1478092554</c:v>
                </c:pt>
                <c:pt idx="501">
                  <c:v>3693223.3216828094</c:v>
                </c:pt>
                <c:pt idx="502">
                  <c:v>3688508.6664255382</c:v>
                </c:pt>
                <c:pt idx="503">
                  <c:v>3673614.0625678105</c:v>
                </c:pt>
                <c:pt idx="504">
                  <c:v>3693636.7564973184</c:v>
                </c:pt>
                <c:pt idx="505">
                  <c:v>3676266.1782992417</c:v>
                </c:pt>
                <c:pt idx="506">
                  <c:v>4248876.683102645</c:v>
                </c:pt>
                <c:pt idx="507">
                  <c:v>3724718.8120445791</c:v>
                </c:pt>
                <c:pt idx="508">
                  <c:v>3720443.4550039372</c:v>
                </c:pt>
                <c:pt idx="509">
                  <c:v>-4961637.790944987</c:v>
                </c:pt>
                <c:pt idx="510">
                  <c:v>3677493.0328095243</c:v>
                </c:pt>
                <c:pt idx="511">
                  <c:v>3661165.8507190696</c:v>
                </c:pt>
                <c:pt idx="512">
                  <c:v>3640230.1834119768</c:v>
                </c:pt>
                <c:pt idx="513">
                  <c:v>3645430.7235766049</c:v>
                </c:pt>
                <c:pt idx="514">
                  <c:v>3669629.3192763887</c:v>
                </c:pt>
                <c:pt idx="515">
                  <c:v>3677231.1307232277</c:v>
                </c:pt>
                <c:pt idx="516">
                  <c:v>3658200.6343605001</c:v>
                </c:pt>
                <c:pt idx="517">
                  <c:v>3689915.3580221967</c:v>
                </c:pt>
                <c:pt idx="518">
                  <c:v>3736401.19560656</c:v>
                </c:pt>
                <c:pt idx="519">
                  <c:v>3642466.6123736924</c:v>
                </c:pt>
                <c:pt idx="520">
                  <c:v>3646782.2345295683</c:v>
                </c:pt>
                <c:pt idx="521">
                  <c:v>3635233.005845421</c:v>
                </c:pt>
                <c:pt idx="522">
                  <c:v>3654666.2712653521</c:v>
                </c:pt>
                <c:pt idx="523">
                  <c:v>3689290.1546467943</c:v>
                </c:pt>
                <c:pt idx="524">
                  <c:v>3601599.5011667097</c:v>
                </c:pt>
                <c:pt idx="525">
                  <c:v>3659628.1067988081</c:v>
                </c:pt>
                <c:pt idx="526">
                  <c:v>3710842.6475754869</c:v>
                </c:pt>
                <c:pt idx="527">
                  <c:v>3732218.1433916474</c:v>
                </c:pt>
                <c:pt idx="528">
                  <c:v>3614365.5836847471</c:v>
                </c:pt>
                <c:pt idx="529">
                  <c:v>3718992.2243309049</c:v>
                </c:pt>
                <c:pt idx="530">
                  <c:v>3707930.734290007</c:v>
                </c:pt>
                <c:pt idx="531">
                  <c:v>3739210.6293844287</c:v>
                </c:pt>
                <c:pt idx="532">
                  <c:v>3702036.8766566366</c:v>
                </c:pt>
                <c:pt idx="533">
                  <c:v>3714869.8359335195</c:v>
                </c:pt>
                <c:pt idx="534">
                  <c:v>3646806.366507228</c:v>
                </c:pt>
                <c:pt idx="535">
                  <c:v>3622200.8655438367</c:v>
                </c:pt>
                <c:pt idx="536">
                  <c:v>3625631.6779499887</c:v>
                </c:pt>
                <c:pt idx="537">
                  <c:v>3680019.2169000292</c:v>
                </c:pt>
                <c:pt idx="538">
                  <c:v>3641643.7774745701</c:v>
                </c:pt>
                <c:pt idx="539">
                  <c:v>3683623.2987995949</c:v>
                </c:pt>
                <c:pt idx="540">
                  <c:v>3736576.0005041347</c:v>
                </c:pt>
                <c:pt idx="541">
                  <c:v>3842612.0710050701</c:v>
                </c:pt>
                <c:pt idx="542">
                  <c:v>3818667.005405759</c:v>
                </c:pt>
                <c:pt idx="543">
                  <c:v>3768280.862548708</c:v>
                </c:pt>
                <c:pt idx="544">
                  <c:v>-6172531.9290571921</c:v>
                </c:pt>
                <c:pt idx="545">
                  <c:v>3682456.6080840947</c:v>
                </c:pt>
                <c:pt idx="546">
                  <c:v>2068810.3438764871</c:v>
                </c:pt>
                <c:pt idx="547">
                  <c:v>3682135.678760855</c:v>
                </c:pt>
                <c:pt idx="548">
                  <c:v>3615805.2647941024</c:v>
                </c:pt>
                <c:pt idx="549">
                  <c:v>3735542.7410755977</c:v>
                </c:pt>
                <c:pt idx="550">
                  <c:v>3628963.9510026276</c:v>
                </c:pt>
                <c:pt idx="551">
                  <c:v>3598523.3958037649</c:v>
                </c:pt>
                <c:pt idx="552">
                  <c:v>3607465.8250857661</c:v>
                </c:pt>
                <c:pt idx="553">
                  <c:v>3622834.6219607731</c:v>
                </c:pt>
                <c:pt idx="554">
                  <c:v>3603109.3081439296</c:v>
                </c:pt>
                <c:pt idx="555">
                  <c:v>3638576.8946834411</c:v>
                </c:pt>
                <c:pt idx="556">
                  <c:v>3623633.0275033456</c:v>
                </c:pt>
                <c:pt idx="557">
                  <c:v>3630076.4723848258</c:v>
                </c:pt>
                <c:pt idx="558">
                  <c:v>3628249.9477520497</c:v>
                </c:pt>
                <c:pt idx="559">
                  <c:v>3602264.5621348815</c:v>
                </c:pt>
                <c:pt idx="560">
                  <c:v>3595817.2565001459</c:v>
                </c:pt>
                <c:pt idx="561">
                  <c:v>3565169.8270278405</c:v>
                </c:pt>
                <c:pt idx="562">
                  <c:v>3674946.1132218922</c:v>
                </c:pt>
                <c:pt idx="563">
                  <c:v>3640334.1801313674</c:v>
                </c:pt>
                <c:pt idx="564">
                  <c:v>3691345.4998305012</c:v>
                </c:pt>
                <c:pt idx="565">
                  <c:v>3718926.8995448644</c:v>
                </c:pt>
                <c:pt idx="566">
                  <c:v>3685163.6941819089</c:v>
                </c:pt>
                <c:pt idx="567">
                  <c:v>3679480.364919581</c:v>
                </c:pt>
                <c:pt idx="568">
                  <c:v>3772873.277752927</c:v>
                </c:pt>
                <c:pt idx="569">
                  <c:v>3718305.2088421006</c:v>
                </c:pt>
                <c:pt idx="570">
                  <c:v>3818916.9796670824</c:v>
                </c:pt>
                <c:pt idx="571">
                  <c:v>3715527.5684714569</c:v>
                </c:pt>
                <c:pt idx="572">
                  <c:v>3681120.9373589191</c:v>
                </c:pt>
                <c:pt idx="573">
                  <c:v>3705188.1047710995</c:v>
                </c:pt>
                <c:pt idx="574">
                  <c:v>3684104.5379978349</c:v>
                </c:pt>
                <c:pt idx="575">
                  <c:v>3659187.7156986175</c:v>
                </c:pt>
                <c:pt idx="576">
                  <c:v>3666075.3329896503</c:v>
                </c:pt>
                <c:pt idx="577">
                  <c:v>3634208.7142972858</c:v>
                </c:pt>
                <c:pt idx="578">
                  <c:v>3663605.4850922115</c:v>
                </c:pt>
                <c:pt idx="579">
                  <c:v>3698807.7023041458</c:v>
                </c:pt>
                <c:pt idx="580">
                  <c:v>3756926.6221079677</c:v>
                </c:pt>
                <c:pt idx="581">
                  <c:v>3760015.1702037146</c:v>
                </c:pt>
                <c:pt idx="582">
                  <c:v>3647591.7315788744</c:v>
                </c:pt>
                <c:pt idx="583">
                  <c:v>3654839.5759690362</c:v>
                </c:pt>
                <c:pt idx="584">
                  <c:v>3694076.4052876998</c:v>
                </c:pt>
                <c:pt idx="585">
                  <c:v>3666314.4351101462</c:v>
                </c:pt>
                <c:pt idx="586">
                  <c:v>3713612.8328369739</c:v>
                </c:pt>
                <c:pt idx="587">
                  <c:v>3688328.3994842255</c:v>
                </c:pt>
                <c:pt idx="588">
                  <c:v>3652196.3725284571</c:v>
                </c:pt>
                <c:pt idx="589">
                  <c:v>3654186.8910241141</c:v>
                </c:pt>
                <c:pt idx="590">
                  <c:v>3717581.771662679</c:v>
                </c:pt>
                <c:pt idx="591">
                  <c:v>3661284.0319679971</c:v>
                </c:pt>
                <c:pt idx="592">
                  <c:v>3647655.1932711639</c:v>
                </c:pt>
                <c:pt idx="593">
                  <c:v>3623003.1940825302</c:v>
                </c:pt>
                <c:pt idx="594">
                  <c:v>3595391.6272807722</c:v>
                </c:pt>
                <c:pt idx="595">
                  <c:v>3607818.9212504458</c:v>
                </c:pt>
                <c:pt idx="596">
                  <c:v>3627167.9326615119</c:v>
                </c:pt>
                <c:pt idx="597">
                  <c:v>3606749.6035337015</c:v>
                </c:pt>
                <c:pt idx="598">
                  <c:v>3617731.169807863</c:v>
                </c:pt>
                <c:pt idx="599">
                  <c:v>3662150.9647308351</c:v>
                </c:pt>
                <c:pt idx="600">
                  <c:v>3724199.0175945899</c:v>
                </c:pt>
                <c:pt idx="601">
                  <c:v>3769206.579839664</c:v>
                </c:pt>
                <c:pt idx="602">
                  <c:v>3699495.382167378</c:v>
                </c:pt>
                <c:pt idx="603">
                  <c:v>3694377.8550601457</c:v>
                </c:pt>
                <c:pt idx="604">
                  <c:v>3652947.7834223378</c:v>
                </c:pt>
                <c:pt idx="605">
                  <c:v>3600511.6849533557</c:v>
                </c:pt>
                <c:pt idx="606">
                  <c:v>3610141.2577171139</c:v>
                </c:pt>
                <c:pt idx="607">
                  <c:v>3842614.9000693331</c:v>
                </c:pt>
                <c:pt idx="608">
                  <c:v>3648582.4017058173</c:v>
                </c:pt>
                <c:pt idx="609">
                  <c:v>3653652.9589765929</c:v>
                </c:pt>
                <c:pt idx="610">
                  <c:v>3709635.4827888245</c:v>
                </c:pt>
                <c:pt idx="611">
                  <c:v>3724221.2568875318</c:v>
                </c:pt>
                <c:pt idx="612">
                  <c:v>3737809.419317327</c:v>
                </c:pt>
                <c:pt idx="613">
                  <c:v>3628466.8587987898</c:v>
                </c:pt>
                <c:pt idx="614">
                  <c:v>3648019.7705774591</c:v>
                </c:pt>
                <c:pt idx="615">
                  <c:v>3676798.1416418827</c:v>
                </c:pt>
                <c:pt idx="616">
                  <c:v>3727785.8184262607</c:v>
                </c:pt>
                <c:pt idx="617">
                  <c:v>3686462.7674146136</c:v>
                </c:pt>
                <c:pt idx="618">
                  <c:v>3632717.5918277921</c:v>
                </c:pt>
                <c:pt idx="619">
                  <c:v>3613530.0332793933</c:v>
                </c:pt>
                <c:pt idx="620">
                  <c:v>3605241.9976825765</c:v>
                </c:pt>
                <c:pt idx="621">
                  <c:v>3679816.4234414413</c:v>
                </c:pt>
                <c:pt idx="622">
                  <c:v>3678191.7787003927</c:v>
                </c:pt>
                <c:pt idx="623">
                  <c:v>3777853.2117816317</c:v>
                </c:pt>
                <c:pt idx="624">
                  <c:v>3785651.9911466017</c:v>
                </c:pt>
                <c:pt idx="625">
                  <c:v>3874295.6208527749</c:v>
                </c:pt>
                <c:pt idx="626">
                  <c:v>3906666.3843235914</c:v>
                </c:pt>
                <c:pt idx="627">
                  <c:v>3976349.876177351</c:v>
                </c:pt>
                <c:pt idx="628">
                  <c:v>4024383.7344670901</c:v>
                </c:pt>
                <c:pt idx="629">
                  <c:v>3803675.1744933478</c:v>
                </c:pt>
                <c:pt idx="630">
                  <c:v>3736114.8868515054</c:v>
                </c:pt>
                <c:pt idx="631">
                  <c:v>3685787.562964458</c:v>
                </c:pt>
                <c:pt idx="632">
                  <c:v>3630217.5566190253</c:v>
                </c:pt>
                <c:pt idx="633">
                  <c:v>3629790.8241286529</c:v>
                </c:pt>
                <c:pt idx="634">
                  <c:v>3583231.500593516</c:v>
                </c:pt>
                <c:pt idx="635">
                  <c:v>3602817.3708087532</c:v>
                </c:pt>
                <c:pt idx="636">
                  <c:v>3625896.2085811161</c:v>
                </c:pt>
                <c:pt idx="637">
                  <c:v>3628924.5405856776</c:v>
                </c:pt>
                <c:pt idx="638">
                  <c:v>3713394.2608207925</c:v>
                </c:pt>
                <c:pt idx="639">
                  <c:v>3923334.1805568156</c:v>
                </c:pt>
                <c:pt idx="640">
                  <c:v>4062606.076578171</c:v>
                </c:pt>
                <c:pt idx="641">
                  <c:v>4851752.1996231508</c:v>
                </c:pt>
                <c:pt idx="642">
                  <c:v>0</c:v>
                </c:pt>
                <c:pt idx="643">
                  <c:v>4071427.0864306646</c:v>
                </c:pt>
                <c:pt idx="644">
                  <c:v>3876786.392423457</c:v>
                </c:pt>
                <c:pt idx="645">
                  <c:v>3771290.0006539086</c:v>
                </c:pt>
                <c:pt idx="646">
                  <c:v>3824610.0311394553</c:v>
                </c:pt>
                <c:pt idx="647">
                  <c:v>3871823.8931887681</c:v>
                </c:pt>
                <c:pt idx="648">
                  <c:v>3836075.4335187371</c:v>
                </c:pt>
                <c:pt idx="649">
                  <c:v>3741321.6431415505</c:v>
                </c:pt>
                <c:pt idx="650">
                  <c:v>3709316.4682983859</c:v>
                </c:pt>
                <c:pt idx="651">
                  <c:v>1470218.1531592936</c:v>
                </c:pt>
                <c:pt idx="652">
                  <c:v>3678681.5681159468</c:v>
                </c:pt>
                <c:pt idx="653">
                  <c:v>3640983.136561058</c:v>
                </c:pt>
                <c:pt idx="654">
                  <c:v>3661759.7338164118</c:v>
                </c:pt>
                <c:pt idx="655">
                  <c:v>3953289.3594493363</c:v>
                </c:pt>
                <c:pt idx="656">
                  <c:v>3691055.6229645787</c:v>
                </c:pt>
                <c:pt idx="657">
                  <c:v>3700254.249769649</c:v>
                </c:pt>
                <c:pt idx="658">
                  <c:v>3678674.3233136386</c:v>
                </c:pt>
                <c:pt idx="659">
                  <c:v>3794847.6502025537</c:v>
                </c:pt>
                <c:pt idx="660">
                  <c:v>3635534.8913542372</c:v>
                </c:pt>
                <c:pt idx="661">
                  <c:v>3669356.5812452594</c:v>
                </c:pt>
                <c:pt idx="662">
                  <c:v>3609945.2533591921</c:v>
                </c:pt>
                <c:pt idx="663">
                  <c:v>3618292.5435141306</c:v>
                </c:pt>
                <c:pt idx="664">
                  <c:v>3591704.6661603721</c:v>
                </c:pt>
                <c:pt idx="665">
                  <c:v>3614727.9336109734</c:v>
                </c:pt>
                <c:pt idx="666">
                  <c:v>3684860.1525410851</c:v>
                </c:pt>
                <c:pt idx="667">
                  <c:v>3666434.6279493328</c:v>
                </c:pt>
                <c:pt idx="668">
                  <c:v>3671720.7251799842</c:v>
                </c:pt>
                <c:pt idx="669">
                  <c:v>3874005.3523075967</c:v>
                </c:pt>
                <c:pt idx="670">
                  <c:v>3623264.5314965495</c:v>
                </c:pt>
                <c:pt idx="671">
                  <c:v>3646508.7111337106</c:v>
                </c:pt>
                <c:pt idx="672">
                  <c:v>3637917.4136453513</c:v>
                </c:pt>
                <c:pt idx="673">
                  <c:v>3621040.4902793751</c:v>
                </c:pt>
                <c:pt idx="674">
                  <c:v>3646437.9814882553</c:v>
                </c:pt>
                <c:pt idx="675">
                  <c:v>3605093.0172629058</c:v>
                </c:pt>
                <c:pt idx="676">
                  <c:v>3637495.0748960306</c:v>
                </c:pt>
                <c:pt idx="677">
                  <c:v>3687030.6232301327</c:v>
                </c:pt>
                <c:pt idx="678">
                  <c:v>3633236.0740191704</c:v>
                </c:pt>
                <c:pt idx="679">
                  <c:v>3718546.7436960489</c:v>
                </c:pt>
                <c:pt idx="680">
                  <c:v>3675044.5498466669</c:v>
                </c:pt>
                <c:pt idx="681">
                  <c:v>3765417.2600946939</c:v>
                </c:pt>
                <c:pt idx="682">
                  <c:v>3732188.7205449794</c:v>
                </c:pt>
                <c:pt idx="683">
                  <c:v>3594329.9688735586</c:v>
                </c:pt>
                <c:pt idx="684">
                  <c:v>3689943.4454148542</c:v>
                </c:pt>
                <c:pt idx="685">
                  <c:v>3575315.5550178336</c:v>
                </c:pt>
                <c:pt idx="686">
                  <c:v>3607417.5282478337</c:v>
                </c:pt>
                <c:pt idx="687">
                  <c:v>3610903.1030927766</c:v>
                </c:pt>
                <c:pt idx="688">
                  <c:v>3591622.6869104193</c:v>
                </c:pt>
                <c:pt idx="689">
                  <c:v>3616109.761091698</c:v>
                </c:pt>
                <c:pt idx="690">
                  <c:v>3622118.7415608126</c:v>
                </c:pt>
                <c:pt idx="691">
                  <c:v>3643964.6980587007</c:v>
                </c:pt>
                <c:pt idx="692">
                  <c:v>3662259.9941988075</c:v>
                </c:pt>
                <c:pt idx="693">
                  <c:v>3631989.8856723844</c:v>
                </c:pt>
                <c:pt idx="694">
                  <c:v>3630564.6670911233</c:v>
                </c:pt>
                <c:pt idx="695">
                  <c:v>3614056.1045126542</c:v>
                </c:pt>
                <c:pt idx="696">
                  <c:v>3637397.9856939325</c:v>
                </c:pt>
                <c:pt idx="697">
                  <c:v>3645852.0043525388</c:v>
                </c:pt>
                <c:pt idx="698">
                  <c:v>3609581.4436051901</c:v>
                </c:pt>
                <c:pt idx="699">
                  <c:v>3612956.8749102145</c:v>
                </c:pt>
                <c:pt idx="700">
                  <c:v>3622245.8526733569</c:v>
                </c:pt>
                <c:pt idx="701">
                  <c:v>3731188.0381086352</c:v>
                </c:pt>
                <c:pt idx="702">
                  <c:v>3677210.3762309728</c:v>
                </c:pt>
                <c:pt idx="703">
                  <c:v>3615938.8661044752</c:v>
                </c:pt>
                <c:pt idx="704">
                  <c:v>3611108.3742654352</c:v>
                </c:pt>
                <c:pt idx="705">
                  <c:v>3628113.0971612842</c:v>
                </c:pt>
                <c:pt idx="706">
                  <c:v>3650147.2449585726</c:v>
                </c:pt>
                <c:pt idx="707">
                  <c:v>3623959.5020079562</c:v>
                </c:pt>
                <c:pt idx="708">
                  <c:v>3766578.8159533581</c:v>
                </c:pt>
                <c:pt idx="709">
                  <c:v>3676914.0745962816</c:v>
                </c:pt>
                <c:pt idx="710">
                  <c:v>3647268.6723015639</c:v>
                </c:pt>
                <c:pt idx="711">
                  <c:v>3622566.7439112361</c:v>
                </c:pt>
                <c:pt idx="712">
                  <c:v>3743764.6015594895</c:v>
                </c:pt>
                <c:pt idx="713">
                  <c:v>3713792.5051042642</c:v>
                </c:pt>
                <c:pt idx="714">
                  <c:v>3634158.6610432109</c:v>
                </c:pt>
                <c:pt idx="715">
                  <c:v>3693859.1901509948</c:v>
                </c:pt>
                <c:pt idx="716">
                  <c:v>3673204.3302552598</c:v>
                </c:pt>
                <c:pt idx="717">
                  <c:v>3677065.8598120636</c:v>
                </c:pt>
                <c:pt idx="718">
                  <c:v>3610912.2629001266</c:v>
                </c:pt>
                <c:pt idx="719">
                  <c:v>3646408.3931604768</c:v>
                </c:pt>
                <c:pt idx="720">
                  <c:v>3643301.4255538895</c:v>
                </c:pt>
                <c:pt idx="721">
                  <c:v>3684721.3365953295</c:v>
                </c:pt>
                <c:pt idx="722">
                  <c:v>3719118.8107427726</c:v>
                </c:pt>
                <c:pt idx="723">
                  <c:v>3724140.7313695466</c:v>
                </c:pt>
                <c:pt idx="724">
                  <c:v>3851268.5061163264</c:v>
                </c:pt>
                <c:pt idx="725">
                  <c:v>5757126.3302742653</c:v>
                </c:pt>
                <c:pt idx="726">
                  <c:v>4140371.3673973745</c:v>
                </c:pt>
                <c:pt idx="727">
                  <c:v>3729637.8561532297</c:v>
                </c:pt>
                <c:pt idx="728">
                  <c:v>3645381.5424524397</c:v>
                </c:pt>
                <c:pt idx="729">
                  <c:v>3637175.4154399568</c:v>
                </c:pt>
                <c:pt idx="730">
                  <c:v>3637535.3308072137</c:v>
                </c:pt>
                <c:pt idx="731">
                  <c:v>3654140.6558778724</c:v>
                </c:pt>
                <c:pt idx="732">
                  <c:v>3676576.6774422331</c:v>
                </c:pt>
                <c:pt idx="733">
                  <c:v>3639708.5271471082</c:v>
                </c:pt>
                <c:pt idx="734">
                  <c:v>3639346.7928042742</c:v>
                </c:pt>
                <c:pt idx="735">
                  <c:v>3640668.1548764776</c:v>
                </c:pt>
                <c:pt idx="736">
                  <c:v>3653500.7936642081</c:v>
                </c:pt>
                <c:pt idx="737">
                  <c:v>3645657.8718412863</c:v>
                </c:pt>
                <c:pt idx="738">
                  <c:v>3670338.0020210063</c:v>
                </c:pt>
                <c:pt idx="739">
                  <c:v>3685247.710985716</c:v>
                </c:pt>
                <c:pt idx="740">
                  <c:v>3642510.5249135443</c:v>
                </c:pt>
                <c:pt idx="741">
                  <c:v>3634778.9147374076</c:v>
                </c:pt>
                <c:pt idx="742">
                  <c:v>3637627.8635277282</c:v>
                </c:pt>
                <c:pt idx="743">
                  <c:v>3612384.0950483098</c:v>
                </c:pt>
                <c:pt idx="744">
                  <c:v>3606394.5492920447</c:v>
                </c:pt>
                <c:pt idx="745">
                  <c:v>3600251.708377209</c:v>
                </c:pt>
                <c:pt idx="746">
                  <c:v>3621345.2117182659</c:v>
                </c:pt>
                <c:pt idx="747">
                  <c:v>3641599.8059822326</c:v>
                </c:pt>
                <c:pt idx="748">
                  <c:v>3643048.7616350176</c:v>
                </c:pt>
                <c:pt idx="749">
                  <c:v>3624139.0335773807</c:v>
                </c:pt>
                <c:pt idx="750">
                  <c:v>3622621.8200669619</c:v>
                </c:pt>
                <c:pt idx="751">
                  <c:v>3638377.0452356962</c:v>
                </c:pt>
                <c:pt idx="752">
                  <c:v>3514882.5523535102</c:v>
                </c:pt>
                <c:pt idx="753">
                  <c:v>3624861.0238068942</c:v>
                </c:pt>
                <c:pt idx="754">
                  <c:v>3604764.249867938</c:v>
                </c:pt>
                <c:pt idx="755">
                  <c:v>3616127.9868312413</c:v>
                </c:pt>
                <c:pt idx="756">
                  <c:v>3654007.7446591477</c:v>
                </c:pt>
                <c:pt idx="757">
                  <c:v>3620495.326402083</c:v>
                </c:pt>
                <c:pt idx="758">
                  <c:v>3653980.5894235275</c:v>
                </c:pt>
                <c:pt idx="759">
                  <c:v>3655208.0092684473</c:v>
                </c:pt>
                <c:pt idx="760">
                  <c:v>3640291.5817767065</c:v>
                </c:pt>
                <c:pt idx="761">
                  <c:v>3666709.3822438889</c:v>
                </c:pt>
                <c:pt idx="762">
                  <c:v>3669300.1525760219</c:v>
                </c:pt>
                <c:pt idx="763">
                  <c:v>3633868.1435675644</c:v>
                </c:pt>
                <c:pt idx="764">
                  <c:v>3648737.2984718266</c:v>
                </c:pt>
                <c:pt idx="765">
                  <c:v>3692931.1168041239</c:v>
                </c:pt>
                <c:pt idx="766">
                  <c:v>3637072.3613587329</c:v>
                </c:pt>
                <c:pt idx="767">
                  <c:v>3699445.1200464373</c:v>
                </c:pt>
                <c:pt idx="768">
                  <c:v>3644047.4442910976</c:v>
                </c:pt>
                <c:pt idx="769">
                  <c:v>3719265.4995304029</c:v>
                </c:pt>
                <c:pt idx="770">
                  <c:v>3718846.6758432044</c:v>
                </c:pt>
                <c:pt idx="771">
                  <c:v>3662250.0065988312</c:v>
                </c:pt>
                <c:pt idx="772">
                  <c:v>3658113.4150723917</c:v>
                </c:pt>
                <c:pt idx="773">
                  <c:v>3630127.8066167245</c:v>
                </c:pt>
                <c:pt idx="774">
                  <c:v>3657077.9430307932</c:v>
                </c:pt>
                <c:pt idx="775">
                  <c:v>3642665.8351536263</c:v>
                </c:pt>
                <c:pt idx="776">
                  <c:v>3635490.3696315694</c:v>
                </c:pt>
                <c:pt idx="777">
                  <c:v>3660564.9222102794</c:v>
                </c:pt>
                <c:pt idx="778">
                  <c:v>3667056.522581826</c:v>
                </c:pt>
                <c:pt idx="779">
                  <c:v>3654642.6888724114</c:v>
                </c:pt>
                <c:pt idx="780">
                  <c:v>3642625.6757026897</c:v>
                </c:pt>
                <c:pt idx="781">
                  <c:v>3664754.3928707056</c:v>
                </c:pt>
                <c:pt idx="782">
                  <c:v>3662703.5419851067</c:v>
                </c:pt>
                <c:pt idx="783">
                  <c:v>3658502.60928895</c:v>
                </c:pt>
                <c:pt idx="784">
                  <c:v>3687500.085457772</c:v>
                </c:pt>
                <c:pt idx="785">
                  <c:v>3667781.8459592224</c:v>
                </c:pt>
                <c:pt idx="786">
                  <c:v>3668153.8827422475</c:v>
                </c:pt>
                <c:pt idx="787">
                  <c:v>3677204.7752403133</c:v>
                </c:pt>
                <c:pt idx="788">
                  <c:v>3790090.6304478385</c:v>
                </c:pt>
                <c:pt idx="789">
                  <c:v>4206411.4369665263</c:v>
                </c:pt>
                <c:pt idx="790">
                  <c:v>3705159.1731871874</c:v>
                </c:pt>
                <c:pt idx="791">
                  <c:v>3651748.3671598528</c:v>
                </c:pt>
                <c:pt idx="792">
                  <c:v>3668815.0870468169</c:v>
                </c:pt>
                <c:pt idx="793">
                  <c:v>3681756.2025096719</c:v>
                </c:pt>
                <c:pt idx="794">
                  <c:v>3657462.320398889</c:v>
                </c:pt>
                <c:pt idx="795">
                  <c:v>3661321.8249154775</c:v>
                </c:pt>
                <c:pt idx="796">
                  <c:v>3680461.3912110785</c:v>
                </c:pt>
                <c:pt idx="797">
                  <c:v>3668338.1226931964</c:v>
                </c:pt>
                <c:pt idx="798">
                  <c:v>3670618.7449826323</c:v>
                </c:pt>
                <c:pt idx="799">
                  <c:v>3683671.4801278296</c:v>
                </c:pt>
                <c:pt idx="800">
                  <c:v>3683149.4878078252</c:v>
                </c:pt>
                <c:pt idx="801">
                  <c:v>3659433.7610721444</c:v>
                </c:pt>
                <c:pt idx="802">
                  <c:v>3690221.4029123602</c:v>
                </c:pt>
                <c:pt idx="803">
                  <c:v>3678327.6070757867</c:v>
                </c:pt>
                <c:pt idx="804">
                  <c:v>3668104.8581583444</c:v>
                </c:pt>
                <c:pt idx="805">
                  <c:v>3713421.2403006577</c:v>
                </c:pt>
                <c:pt idx="806">
                  <c:v>3712954.7261228608</c:v>
                </c:pt>
                <c:pt idx="807">
                  <c:v>3689203.2362948707</c:v>
                </c:pt>
                <c:pt idx="808">
                  <c:v>3693494.2952502621</c:v>
                </c:pt>
                <c:pt idx="809">
                  <c:v>3701088.7758852206</c:v>
                </c:pt>
                <c:pt idx="810">
                  <c:v>3715479.8248049361</c:v>
                </c:pt>
                <c:pt idx="811">
                  <c:v>3711175.8203770421</c:v>
                </c:pt>
                <c:pt idx="812">
                  <c:v>3727528.6512058983</c:v>
                </c:pt>
                <c:pt idx="813">
                  <c:v>3737176.3980018725</c:v>
                </c:pt>
                <c:pt idx="814">
                  <c:v>3707229.2633800688</c:v>
                </c:pt>
                <c:pt idx="815">
                  <c:v>3725590.4953520377</c:v>
                </c:pt>
                <c:pt idx="816">
                  <c:v>3697863.5605390156</c:v>
                </c:pt>
                <c:pt idx="817">
                  <c:v>3671762.6952151819</c:v>
                </c:pt>
                <c:pt idx="818">
                  <c:v>3688883.6043852516</c:v>
                </c:pt>
                <c:pt idx="819">
                  <c:v>3713226.2927391105</c:v>
                </c:pt>
                <c:pt idx="820">
                  <c:v>3675119.5370815587</c:v>
                </c:pt>
                <c:pt idx="821">
                  <c:v>3787983.9533278383</c:v>
                </c:pt>
                <c:pt idx="822">
                  <c:v>3776731.8620300521</c:v>
                </c:pt>
                <c:pt idx="823">
                  <c:v>3776849.4910402186</c:v>
                </c:pt>
                <c:pt idx="824">
                  <c:v>3732671.6961311791</c:v>
                </c:pt>
                <c:pt idx="825">
                  <c:v>3796395.2574250381</c:v>
                </c:pt>
                <c:pt idx="826">
                  <c:v>3785178.7838524268</c:v>
                </c:pt>
                <c:pt idx="827">
                  <c:v>3800066.1391615206</c:v>
                </c:pt>
                <c:pt idx="828">
                  <c:v>3825929.7417898746</c:v>
                </c:pt>
                <c:pt idx="829">
                  <c:v>3791645.5781815113</c:v>
                </c:pt>
                <c:pt idx="830">
                  <c:v>3810789.3419257067</c:v>
                </c:pt>
                <c:pt idx="831">
                  <c:v>3818025.8651256962</c:v>
                </c:pt>
                <c:pt idx="832">
                  <c:v>3806014.3712212378</c:v>
                </c:pt>
                <c:pt idx="833">
                  <c:v>3797887.6275236844</c:v>
                </c:pt>
                <c:pt idx="834">
                  <c:v>3768023.1501992941</c:v>
                </c:pt>
                <c:pt idx="835">
                  <c:v>3672682.5632161782</c:v>
                </c:pt>
                <c:pt idx="836">
                  <c:v>3687670.5017248769</c:v>
                </c:pt>
                <c:pt idx="837">
                  <c:v>3692154.1688780133</c:v>
                </c:pt>
                <c:pt idx="838">
                  <c:v>3683075.902854952</c:v>
                </c:pt>
                <c:pt idx="839">
                  <c:v>3675111.4697114262</c:v>
                </c:pt>
                <c:pt idx="840">
                  <c:v>3708927.2922060848</c:v>
                </c:pt>
                <c:pt idx="841">
                  <c:v>3727390.4936235351</c:v>
                </c:pt>
                <c:pt idx="842">
                  <c:v>3694601.0100125787</c:v>
                </c:pt>
                <c:pt idx="843">
                  <c:v>3711555.4734243462</c:v>
                </c:pt>
                <c:pt idx="844">
                  <c:v>3707543.5146371271</c:v>
                </c:pt>
                <c:pt idx="845">
                  <c:v>3704629.2014139919</c:v>
                </c:pt>
                <c:pt idx="846">
                  <c:v>3754722.4185187914</c:v>
                </c:pt>
                <c:pt idx="847">
                  <c:v>3707896.4616734716</c:v>
                </c:pt>
                <c:pt idx="848">
                  <c:v>3679144.2911062962</c:v>
                </c:pt>
                <c:pt idx="849">
                  <c:v>3732307.7755670622</c:v>
                </c:pt>
                <c:pt idx="850">
                  <c:v>3698452.2352426848</c:v>
                </c:pt>
                <c:pt idx="851">
                  <c:v>3681377.6547717107</c:v>
                </c:pt>
                <c:pt idx="852">
                  <c:v>3769600.5865163868</c:v>
                </c:pt>
                <c:pt idx="853">
                  <c:v>3704992.0112693985</c:v>
                </c:pt>
                <c:pt idx="854">
                  <c:v>3715732.5118163573</c:v>
                </c:pt>
                <c:pt idx="855">
                  <c:v>3703310.9904605383</c:v>
                </c:pt>
                <c:pt idx="856">
                  <c:v>3746083.5429053935</c:v>
                </c:pt>
                <c:pt idx="857">
                  <c:v>3735795.6819595913</c:v>
                </c:pt>
                <c:pt idx="858">
                  <c:v>3728334.7098276168</c:v>
                </c:pt>
                <c:pt idx="859">
                  <c:v>3771526.5589603987</c:v>
                </c:pt>
                <c:pt idx="860">
                  <c:v>3862135.6263651145</c:v>
                </c:pt>
                <c:pt idx="861">
                  <c:v>4386849.6703926707</c:v>
                </c:pt>
                <c:pt idx="862">
                  <c:v>3946422.2455985467</c:v>
                </c:pt>
                <c:pt idx="863">
                  <c:v>3708626.4795250506</c:v>
                </c:pt>
                <c:pt idx="864">
                  <c:v>4081897.6938968776</c:v>
                </c:pt>
                <c:pt idx="865">
                  <c:v>4047431.4092726614</c:v>
                </c:pt>
                <c:pt idx="866">
                  <c:v>3677004.1556558334</c:v>
                </c:pt>
                <c:pt idx="867">
                  <c:v>3717342.349032958</c:v>
                </c:pt>
                <c:pt idx="868">
                  <c:v>3765406.3909821822</c:v>
                </c:pt>
                <c:pt idx="869">
                  <c:v>3703465.2541257935</c:v>
                </c:pt>
                <c:pt idx="870">
                  <c:v>3669774.8548583668</c:v>
                </c:pt>
                <c:pt idx="871">
                  <c:v>3680264.8763283254</c:v>
                </c:pt>
                <c:pt idx="872">
                  <c:v>3697701.6626395509</c:v>
                </c:pt>
                <c:pt idx="873">
                  <c:v>3702178.9447810366</c:v>
                </c:pt>
                <c:pt idx="874">
                  <c:v>3696448.8646370233</c:v>
                </c:pt>
                <c:pt idx="875">
                  <c:v>3714340.5504712895</c:v>
                </c:pt>
                <c:pt idx="876">
                  <c:v>3713265.9954590783</c:v>
                </c:pt>
                <c:pt idx="877">
                  <c:v>3697650.6553229275</c:v>
                </c:pt>
                <c:pt idx="878">
                  <c:v>3688674.7602596264</c:v>
                </c:pt>
                <c:pt idx="879">
                  <c:v>3690424.2638454949</c:v>
                </c:pt>
                <c:pt idx="880">
                  <c:v>3691528.3959414186</c:v>
                </c:pt>
                <c:pt idx="881">
                  <c:v>3685615.8514136383</c:v>
                </c:pt>
                <c:pt idx="882">
                  <c:v>3715596.8753809095</c:v>
                </c:pt>
                <c:pt idx="883">
                  <c:v>3647543.6229033065</c:v>
                </c:pt>
                <c:pt idx="884">
                  <c:v>3688955.6060671369</c:v>
                </c:pt>
                <c:pt idx="885">
                  <c:v>3691464.8398134382</c:v>
                </c:pt>
                <c:pt idx="886">
                  <c:v>3714991.7279012557</c:v>
                </c:pt>
                <c:pt idx="887">
                  <c:v>3681185.3292143024</c:v>
                </c:pt>
                <c:pt idx="888">
                  <c:v>3711965.6109429328</c:v>
                </c:pt>
                <c:pt idx="889">
                  <c:v>3705710.4179355763</c:v>
                </c:pt>
                <c:pt idx="890">
                  <c:v>3710269.6265019584</c:v>
                </c:pt>
                <c:pt idx="891">
                  <c:v>3725818.6556040552</c:v>
                </c:pt>
                <c:pt idx="892">
                  <c:v>3718782.9952162993</c:v>
                </c:pt>
                <c:pt idx="893">
                  <c:v>3704974.4489610335</c:v>
                </c:pt>
                <c:pt idx="894">
                  <c:v>3703780.5622214796</c:v>
                </c:pt>
                <c:pt idx="895">
                  <c:v>3717776.9662749371</c:v>
                </c:pt>
                <c:pt idx="896">
                  <c:v>3707093.8172255154</c:v>
                </c:pt>
                <c:pt idx="897">
                  <c:v>3726517.5818861891</c:v>
                </c:pt>
                <c:pt idx="898">
                  <c:v>3728739.9924189388</c:v>
                </c:pt>
                <c:pt idx="899">
                  <c:v>3687236.286276957</c:v>
                </c:pt>
                <c:pt idx="900">
                  <c:v>3717037.7997783595</c:v>
                </c:pt>
                <c:pt idx="901">
                  <c:v>3738127.3850876745</c:v>
                </c:pt>
                <c:pt idx="902">
                  <c:v>3710536.7569742533</c:v>
                </c:pt>
                <c:pt idx="903">
                  <c:v>3701322.8639952261</c:v>
                </c:pt>
                <c:pt idx="904">
                  <c:v>3724893.1086500161</c:v>
                </c:pt>
                <c:pt idx="905">
                  <c:v>3752475.1190606654</c:v>
                </c:pt>
                <c:pt idx="906">
                  <c:v>3753738.8867805586</c:v>
                </c:pt>
                <c:pt idx="907">
                  <c:v>3755481.6718188007</c:v>
                </c:pt>
                <c:pt idx="908">
                  <c:v>3742181.604593704</c:v>
                </c:pt>
                <c:pt idx="909">
                  <c:v>3765546.2920497782</c:v>
                </c:pt>
                <c:pt idx="910">
                  <c:v>3720328.0058140764</c:v>
                </c:pt>
                <c:pt idx="911">
                  <c:v>3732911.64039431</c:v>
                </c:pt>
                <c:pt idx="912">
                  <c:v>3711460.7544507659</c:v>
                </c:pt>
                <c:pt idx="913">
                  <c:v>3675490.6166668343</c:v>
                </c:pt>
                <c:pt idx="914">
                  <c:v>3701000.965396638</c:v>
                </c:pt>
                <c:pt idx="915">
                  <c:v>3697351.5174043658</c:v>
                </c:pt>
                <c:pt idx="916">
                  <c:v>3714825.6075882073</c:v>
                </c:pt>
                <c:pt idx="917">
                  <c:v>3679615.2784529254</c:v>
                </c:pt>
                <c:pt idx="918">
                  <c:v>3740400.3331733742</c:v>
                </c:pt>
                <c:pt idx="919">
                  <c:v>3747438.0635605869</c:v>
                </c:pt>
                <c:pt idx="920">
                  <c:v>3744381.1646536356</c:v>
                </c:pt>
                <c:pt idx="921">
                  <c:v>3724360.963967727</c:v>
                </c:pt>
                <c:pt idx="922">
                  <c:v>3780161.3737595226</c:v>
                </c:pt>
                <c:pt idx="923">
                  <c:v>3846288.6451594648</c:v>
                </c:pt>
                <c:pt idx="924">
                  <c:v>3760293.4902569382</c:v>
                </c:pt>
                <c:pt idx="925">
                  <c:v>3778646.3072122619</c:v>
                </c:pt>
                <c:pt idx="926">
                  <c:v>3752026.2406191458</c:v>
                </c:pt>
                <c:pt idx="927">
                  <c:v>3702822.2964430694</c:v>
                </c:pt>
                <c:pt idx="928">
                  <c:v>3713978.8582867435</c:v>
                </c:pt>
                <c:pt idx="929">
                  <c:v>3750632.2551810089</c:v>
                </c:pt>
                <c:pt idx="930">
                  <c:v>3673242.8698172844</c:v>
                </c:pt>
                <c:pt idx="931">
                  <c:v>3737411.5087132957</c:v>
                </c:pt>
                <c:pt idx="932">
                  <c:v>3745583.289455561</c:v>
                </c:pt>
                <c:pt idx="933">
                  <c:v>3679798.1267425204</c:v>
                </c:pt>
                <c:pt idx="934">
                  <c:v>3716044.9857155317</c:v>
                </c:pt>
                <c:pt idx="935">
                  <c:v>3737312.379824827</c:v>
                </c:pt>
                <c:pt idx="936">
                  <c:v>3655534.3866953477</c:v>
                </c:pt>
                <c:pt idx="937">
                  <c:v>3569060.4662296865</c:v>
                </c:pt>
                <c:pt idx="938">
                  <c:v>3555166.5899819108</c:v>
                </c:pt>
                <c:pt idx="939">
                  <c:v>3650327.2267355421</c:v>
                </c:pt>
                <c:pt idx="940">
                  <c:v>3671973.1305261124</c:v>
                </c:pt>
                <c:pt idx="941">
                  <c:v>3669395.3369584423</c:v>
                </c:pt>
                <c:pt idx="942">
                  <c:v>3679910.9302317854</c:v>
                </c:pt>
                <c:pt idx="943">
                  <c:v>3698033.7188439448</c:v>
                </c:pt>
                <c:pt idx="944">
                  <c:v>3700866.062712084</c:v>
                </c:pt>
                <c:pt idx="945">
                  <c:v>3732255.7440634016</c:v>
                </c:pt>
                <c:pt idx="946">
                  <c:v>3667655.2847811719</c:v>
                </c:pt>
                <c:pt idx="947">
                  <c:v>3691317.7871990423</c:v>
                </c:pt>
                <c:pt idx="948">
                  <c:v>3740983.3380097998</c:v>
                </c:pt>
                <c:pt idx="949">
                  <c:v>3738640.5586858001</c:v>
                </c:pt>
                <c:pt idx="950">
                  <c:v>3723426.9430773668</c:v>
                </c:pt>
                <c:pt idx="951">
                  <c:v>3718148.5550578348</c:v>
                </c:pt>
                <c:pt idx="952">
                  <c:v>3710523.2421166645</c:v>
                </c:pt>
                <c:pt idx="953">
                  <c:v>3702975.0127695389</c:v>
                </c:pt>
                <c:pt idx="954">
                  <c:v>3733995.6976067233</c:v>
                </c:pt>
                <c:pt idx="955">
                  <c:v>3967624.7859702501</c:v>
                </c:pt>
                <c:pt idx="956">
                  <c:v>5852023.359255353</c:v>
                </c:pt>
                <c:pt idx="957">
                  <c:v>5372503.4523484455</c:v>
                </c:pt>
                <c:pt idx="958">
                  <c:v>4004404.4181912597</c:v>
                </c:pt>
                <c:pt idx="959">
                  <c:v>3731577.8489217153</c:v>
                </c:pt>
                <c:pt idx="960">
                  <c:v>3761818.5260174335</c:v>
                </c:pt>
                <c:pt idx="961">
                  <c:v>3714724.1912598382</c:v>
                </c:pt>
                <c:pt idx="962">
                  <c:v>3721226.1331877685</c:v>
                </c:pt>
                <c:pt idx="963">
                  <c:v>3766754.9151034569</c:v>
                </c:pt>
                <c:pt idx="964">
                  <c:v>3752265.8399867285</c:v>
                </c:pt>
                <c:pt idx="965">
                  <c:v>3718558.0631863843</c:v>
                </c:pt>
                <c:pt idx="966">
                  <c:v>3669072.6915674796</c:v>
                </c:pt>
                <c:pt idx="967">
                  <c:v>3666427.3660838003</c:v>
                </c:pt>
                <c:pt idx="968">
                  <c:v>3668662.2806165544</c:v>
                </c:pt>
                <c:pt idx="969">
                  <c:v>3685354.4448047248</c:v>
                </c:pt>
                <c:pt idx="970">
                  <c:v>3680920.4411483831</c:v>
                </c:pt>
                <c:pt idx="971">
                  <c:v>3693069.2128043212</c:v>
                </c:pt>
                <c:pt idx="972">
                  <c:v>3668409.8971689786</c:v>
                </c:pt>
                <c:pt idx="973">
                  <c:v>3678042.6528663863</c:v>
                </c:pt>
                <c:pt idx="974">
                  <c:v>3698617.7047994817</c:v>
                </c:pt>
                <c:pt idx="975">
                  <c:v>3683446.0417502197</c:v>
                </c:pt>
                <c:pt idx="976">
                  <c:v>3697592.5403996082</c:v>
                </c:pt>
                <c:pt idx="977">
                  <c:v>3694909.3307339209</c:v>
                </c:pt>
                <c:pt idx="978">
                  <c:v>3718421.4542843211</c:v>
                </c:pt>
                <c:pt idx="979">
                  <c:v>3701937.9341428108</c:v>
                </c:pt>
                <c:pt idx="980">
                  <c:v>3690977.0217726175</c:v>
                </c:pt>
                <c:pt idx="981">
                  <c:v>3725633.9766778424</c:v>
                </c:pt>
                <c:pt idx="982">
                  <c:v>3711986.9762624535</c:v>
                </c:pt>
                <c:pt idx="983">
                  <c:v>3736060.6965026422</c:v>
                </c:pt>
                <c:pt idx="984">
                  <c:v>3737644.6743942453</c:v>
                </c:pt>
                <c:pt idx="985">
                  <c:v>3752612.3701014114</c:v>
                </c:pt>
                <c:pt idx="986">
                  <c:v>3822247.2411932927</c:v>
                </c:pt>
                <c:pt idx="987">
                  <c:v>3757205.1936094286</c:v>
                </c:pt>
                <c:pt idx="988">
                  <c:v>3699310.9607694005</c:v>
                </c:pt>
                <c:pt idx="989">
                  <c:v>3695494.346160125</c:v>
                </c:pt>
                <c:pt idx="990">
                  <c:v>3711219.8733490561</c:v>
                </c:pt>
                <c:pt idx="991">
                  <c:v>3723803.715827181</c:v>
                </c:pt>
                <c:pt idx="992">
                  <c:v>3719194.9745184337</c:v>
                </c:pt>
                <c:pt idx="993">
                  <c:v>3735678.1919687646</c:v>
                </c:pt>
                <c:pt idx="994">
                  <c:v>3739608.0284596719</c:v>
                </c:pt>
                <c:pt idx="995">
                  <c:v>3737647.3657338219</c:v>
                </c:pt>
                <c:pt idx="996">
                  <c:v>3750851.4214229537</c:v>
                </c:pt>
                <c:pt idx="997">
                  <c:v>3827361.2901579412</c:v>
                </c:pt>
                <c:pt idx="998">
                  <c:v>3800691.2269027121</c:v>
                </c:pt>
                <c:pt idx="999">
                  <c:v>3809664.2193511436</c:v>
                </c:pt>
                <c:pt idx="1000">
                  <c:v>3815524.8748836936</c:v>
                </c:pt>
                <c:pt idx="1001">
                  <c:v>3769438.9141489333</c:v>
                </c:pt>
                <c:pt idx="1002">
                  <c:v>3710200.1280036792</c:v>
                </c:pt>
                <c:pt idx="1003">
                  <c:v>3692856.7536159162</c:v>
                </c:pt>
                <c:pt idx="1004">
                  <c:v>3699382.8505677609</c:v>
                </c:pt>
                <c:pt idx="1005">
                  <c:v>3649684.7434537755</c:v>
                </c:pt>
                <c:pt idx="1006">
                  <c:v>3712350.2728544418</c:v>
                </c:pt>
                <c:pt idx="1007">
                  <c:v>3717177.6382920556</c:v>
                </c:pt>
                <c:pt idx="1008">
                  <c:v>1786084.9932528562</c:v>
                </c:pt>
                <c:pt idx="1009">
                  <c:v>3679651.5993576013</c:v>
                </c:pt>
                <c:pt idx="1010">
                  <c:v>3710674.712608099</c:v>
                </c:pt>
                <c:pt idx="1011">
                  <c:v>3772473.9447880764</c:v>
                </c:pt>
                <c:pt idx="1012">
                  <c:v>3789239.711471634</c:v>
                </c:pt>
                <c:pt idx="1013">
                  <c:v>3727849.2665821351</c:v>
                </c:pt>
                <c:pt idx="1014">
                  <c:v>3707401.9188754</c:v>
                </c:pt>
                <c:pt idx="1015">
                  <c:v>3719138.8118545953</c:v>
                </c:pt>
                <c:pt idx="1016">
                  <c:v>3708362.1900875787</c:v>
                </c:pt>
                <c:pt idx="1017">
                  <c:v>3735255.2373708673</c:v>
                </c:pt>
                <c:pt idx="1018">
                  <c:v>3745530.26758654</c:v>
                </c:pt>
                <c:pt idx="1019">
                  <c:v>3733538.1001130259</c:v>
                </c:pt>
                <c:pt idx="1020">
                  <c:v>3728132.5158306658</c:v>
                </c:pt>
                <c:pt idx="1021">
                  <c:v>3758846.2138536493</c:v>
                </c:pt>
                <c:pt idx="1022">
                  <c:v>3776430.841662033</c:v>
                </c:pt>
                <c:pt idx="1023">
                  <c:v>3686849.9252369436</c:v>
                </c:pt>
                <c:pt idx="1024">
                  <c:v>3731042.8501618998</c:v>
                </c:pt>
                <c:pt idx="1025">
                  <c:v>3752564.3835513014</c:v>
                </c:pt>
                <c:pt idx="1026">
                  <c:v>3818438.1363107897</c:v>
                </c:pt>
                <c:pt idx="1027">
                  <c:v>3808725.8497620039</c:v>
                </c:pt>
                <c:pt idx="1028">
                  <c:v>3886282.0663461662</c:v>
                </c:pt>
                <c:pt idx="1029">
                  <c:v>3880722.468612215</c:v>
                </c:pt>
                <c:pt idx="1030">
                  <c:v>4419803.6610162752</c:v>
                </c:pt>
                <c:pt idx="1031">
                  <c:v>5808734.2623235574</c:v>
                </c:pt>
                <c:pt idx="1032">
                  <c:v>3834875.7877806146</c:v>
                </c:pt>
                <c:pt idx="1033">
                  <c:v>3732477.2205852107</c:v>
                </c:pt>
                <c:pt idx="1034">
                  <c:v>3758473.7991845263</c:v>
                </c:pt>
                <c:pt idx="1035">
                  <c:v>3755677.5451461785</c:v>
                </c:pt>
                <c:pt idx="1036">
                  <c:v>3788201.5157954283</c:v>
                </c:pt>
                <c:pt idx="1037">
                  <c:v>3768789.6629928742</c:v>
                </c:pt>
                <c:pt idx="1038">
                  <c:v>4128851.5940638646</c:v>
                </c:pt>
                <c:pt idx="1039">
                  <c:v>3800773.0006125905</c:v>
                </c:pt>
                <c:pt idx="1040">
                  <c:v>3867565.0657876683</c:v>
                </c:pt>
                <c:pt idx="1041">
                  <c:v>3848921.0402537081</c:v>
                </c:pt>
                <c:pt idx="1042">
                  <c:v>3810193.1248155977</c:v>
                </c:pt>
                <c:pt idx="1043">
                  <c:v>4007681.5326218801</c:v>
                </c:pt>
                <c:pt idx="1044">
                  <c:v>3783436.8189002331</c:v>
                </c:pt>
                <c:pt idx="1045">
                  <c:v>3735885.4629340116</c:v>
                </c:pt>
                <c:pt idx="1046">
                  <c:v>3737066.3713080199</c:v>
                </c:pt>
                <c:pt idx="1047">
                  <c:v>3708035.6219772347</c:v>
                </c:pt>
                <c:pt idx="1048">
                  <c:v>3731998.8239021078</c:v>
                </c:pt>
                <c:pt idx="1049">
                  <c:v>3739077.2712233188</c:v>
                </c:pt>
                <c:pt idx="1050">
                  <c:v>3739444.8490676261</c:v>
                </c:pt>
                <c:pt idx="1051">
                  <c:v>3682096.0602357904</c:v>
                </c:pt>
                <c:pt idx="1052">
                  <c:v>3683217.0925537343</c:v>
                </c:pt>
                <c:pt idx="1053">
                  <c:v>3738067.6601835899</c:v>
                </c:pt>
                <c:pt idx="1054">
                  <c:v>3845743.2080335505</c:v>
                </c:pt>
                <c:pt idx="1055">
                  <c:v>3774669.0290003577</c:v>
                </c:pt>
                <c:pt idx="1056">
                  <c:v>3700833.6325775087</c:v>
                </c:pt>
                <c:pt idx="1057">
                  <c:v>3709457.1552710687</c:v>
                </c:pt>
                <c:pt idx="1058">
                  <c:v>3773194.6952636847</c:v>
                </c:pt>
                <c:pt idx="1059">
                  <c:v>3784971.6221655929</c:v>
                </c:pt>
                <c:pt idx="1060">
                  <c:v>3732331.6142296535</c:v>
                </c:pt>
                <c:pt idx="1061">
                  <c:v>3725789.2169407858</c:v>
                </c:pt>
                <c:pt idx="1062">
                  <c:v>3748617.1741444771</c:v>
                </c:pt>
                <c:pt idx="1063">
                  <c:v>3782405.6433802992</c:v>
                </c:pt>
                <c:pt idx="1064">
                  <c:v>3779263.2204862572</c:v>
                </c:pt>
                <c:pt idx="1065">
                  <c:v>3781000.2822774076</c:v>
                </c:pt>
                <c:pt idx="1066">
                  <c:v>3724357.8731823079</c:v>
                </c:pt>
                <c:pt idx="1067">
                  <c:v>3740511.3685473553</c:v>
                </c:pt>
                <c:pt idx="1068">
                  <c:v>3791939.9942139224</c:v>
                </c:pt>
                <c:pt idx="1069">
                  <c:v>3841650.1043807454</c:v>
                </c:pt>
                <c:pt idx="1070">
                  <c:v>3788375.3857227699</c:v>
                </c:pt>
                <c:pt idx="1071">
                  <c:v>3831505.0569448373</c:v>
                </c:pt>
                <c:pt idx="1072">
                  <c:v>3814445.7288971264</c:v>
                </c:pt>
                <c:pt idx="1073">
                  <c:v>3823200.376983203</c:v>
                </c:pt>
                <c:pt idx="1074">
                  <c:v>3841689.0730797956</c:v>
                </c:pt>
                <c:pt idx="1075">
                  <c:v>3820564.5462851501</c:v>
                </c:pt>
                <c:pt idx="1076">
                  <c:v>3889715.2658209819</c:v>
                </c:pt>
                <c:pt idx="1077">
                  <c:v>3863404.7945773457</c:v>
                </c:pt>
                <c:pt idx="1078">
                  <c:v>3821848.3082789271</c:v>
                </c:pt>
                <c:pt idx="1079">
                  <c:v>3827196.1383693893</c:v>
                </c:pt>
                <c:pt idx="1080">
                  <c:v>3821620.0482905162</c:v>
                </c:pt>
                <c:pt idx="1081">
                  <c:v>3848118.3399583297</c:v>
                </c:pt>
                <c:pt idx="1082">
                  <c:v>3833427.7848649621</c:v>
                </c:pt>
                <c:pt idx="1083">
                  <c:v>3931864.9487436898</c:v>
                </c:pt>
                <c:pt idx="1084">
                  <c:v>4066187.4931324958</c:v>
                </c:pt>
                <c:pt idx="1085">
                  <c:v>3927018.0312427795</c:v>
                </c:pt>
                <c:pt idx="1086">
                  <c:v>3822890.3365384075</c:v>
                </c:pt>
                <c:pt idx="1087">
                  <c:v>3790971.6698307497</c:v>
                </c:pt>
                <c:pt idx="1088">
                  <c:v>3778226.4471161286</c:v>
                </c:pt>
                <c:pt idx="1089">
                  <c:v>3780427.7193612023</c:v>
                </c:pt>
                <c:pt idx="1090">
                  <c:v>3781359.4531449396</c:v>
                </c:pt>
                <c:pt idx="1091">
                  <c:v>3780950.6666120826</c:v>
                </c:pt>
                <c:pt idx="1092">
                  <c:v>3790282.1047469075</c:v>
                </c:pt>
                <c:pt idx="1093">
                  <c:v>3771369.726743394</c:v>
                </c:pt>
                <c:pt idx="1094">
                  <c:v>3763590.7898465935</c:v>
                </c:pt>
                <c:pt idx="1095">
                  <c:v>3758115.9622769239</c:v>
                </c:pt>
              </c:numCache>
            </c:numRef>
          </c:xVal>
          <c:yVal>
            <c:numRef>
              <c:f>'Parameters ranges for ANN step1'!$AM$3:$AM$1137</c:f>
              <c:numCache>
                <c:formatCode>0</c:formatCode>
                <c:ptCount val="1135"/>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204.23485725682175</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204.9854741107371</c:v>
                </c:pt>
                <c:pt idx="18">
                  <c:v>200.86132216632797</c:v>
                </c:pt>
                <c:pt idx="19">
                  <c:v>200.17306711282052</c:v>
                </c:pt>
                <c:pt idx="20">
                  <c:v>204.4587150016421</c:v>
                </c:pt>
                <c:pt idx="21">
                  <c:v>204.3411578349818</c:v>
                </c:pt>
                <c:pt idx="22">
                  <c:v>205.39641517325504</c:v>
                </c:pt>
                <c:pt idx="23">
                  <c:v>211.42894853503395</c:v>
                </c:pt>
                <c:pt idx="24">
                  <c:v>210.1118244813469</c:v>
                </c:pt>
                <c:pt idx="25">
                  <c:v>209.81106247452513</c:v>
                </c:pt>
                <c:pt idx="26">
                  <c:v>200.11319713725905</c:v>
                </c:pt>
                <c:pt idx="27">
                  <c:v>173.67865142747749</c:v>
                </c:pt>
                <c:pt idx="28">
                  <c:v>203.54901586662913</c:v>
                </c:pt>
                <c:pt idx="29">
                  <c:v>205.44527388108517</c:v>
                </c:pt>
                <c:pt idx="30">
                  <c:v>198.80113941896195</c:v>
                </c:pt>
                <c:pt idx="31">
                  <c:v>208.3547156699791</c:v>
                </c:pt>
                <c:pt idx="32">
                  <c:v>204.97710129072723</c:v>
                </c:pt>
                <c:pt idx="33">
                  <c:v>196.03589432171418</c:v>
                </c:pt>
                <c:pt idx="34">
                  <c:v>182.5595009983401</c:v>
                </c:pt>
                <c:pt idx="35">
                  <c:v>183</c:v>
                </c:pt>
                <c:pt idx="36">
                  <c:v>190.2037903840403</c:v>
                </c:pt>
                <c:pt idx="37">
                  <c:v>202.77186371182805</c:v>
                </c:pt>
                <c:pt idx="38">
                  <c:v>204.4456666396741</c:v>
                </c:pt>
                <c:pt idx="39">
                  <c:v>199.0306694122568</c:v>
                </c:pt>
                <c:pt idx="40">
                  <c:v>199.40765687845391</c:v>
                </c:pt>
                <c:pt idx="41">
                  <c:v>197.89153341741755</c:v>
                </c:pt>
                <c:pt idx="42">
                  <c:v>188.00692709323579</c:v>
                </c:pt>
                <c:pt idx="43">
                  <c:v>178.62371304274293</c:v>
                </c:pt>
                <c:pt idx="44">
                  <c:v>157.1835588434451</c:v>
                </c:pt>
                <c:pt idx="45">
                  <c:v>90.264375751437598</c:v>
                </c:pt>
                <c:pt idx="46">
                  <c:v>93.619960051127521</c:v>
                </c:pt>
                <c:pt idx="47">
                  <c:v>168.17878837871211</c:v>
                </c:pt>
                <c:pt idx="48">
                  <c:v>190.45977180578873</c:v>
                </c:pt>
                <c:pt idx="49">
                  <c:v>186.06141522536356</c:v>
                </c:pt>
                <c:pt idx="50">
                  <c:v>194.42344753769504</c:v>
                </c:pt>
                <c:pt idx="51">
                  <c:v>193.26092064238506</c:v>
                </c:pt>
                <c:pt idx="52">
                  <c:v>194.88152309283421</c:v>
                </c:pt>
                <c:pt idx="53">
                  <c:v>204.16933157639949</c:v>
                </c:pt>
                <c:pt idx="54">
                  <c:v>206.99102854411368</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189.45283358020691</c:v>
                </c:pt>
                <c:pt idx="69">
                  <c:v>198.09208163020048</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200.34529527456326</c:v>
                </c:pt>
                <c:pt idx="110">
                  <c:v>204.59989468205592</c:v>
                </c:pt>
                <c:pt idx="111">
                  <c:v>205.42229572465371</c:v>
                </c:pt>
                <c:pt idx="112">
                  <c:v>193.70361963208651</c:v>
                </c:pt>
                <c:pt idx="113">
                  <c:v>190.65854630669233</c:v>
                </c:pt>
                <c:pt idx="114">
                  <c:v>198.05574008021773</c:v>
                </c:pt>
                <c:pt idx="115">
                  <c:v>177.21101646872836</c:v>
                </c:pt>
                <c:pt idx="116">
                  <c:v>203.99336148504639</c:v>
                </c:pt>
                <c:pt idx="117">
                  <c:v>198.65814750554023</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0</c:v>
                </c:pt>
                <c:pt idx="149">
                  <c:v>0</c:v>
                </c:pt>
                <c:pt idx="150">
                  <c:v>59.922850515450001</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183.67564572317701</c:v>
                </c:pt>
                <c:pt idx="160">
                  <c:v>182.13725069832299</c:v>
                </c:pt>
                <c:pt idx="161">
                  <c:v>181.94320776918099</c:v>
                </c:pt>
                <c:pt idx="162">
                  <c:v>191.74179510009</c:v>
                </c:pt>
                <c:pt idx="163">
                  <c:v>197.45405984671601</c:v>
                </c:pt>
                <c:pt idx="164">
                  <c:v>208.24809973350699</c:v>
                </c:pt>
                <c:pt idx="165">
                  <c:v>209.336772296264</c:v>
                </c:pt>
                <c:pt idx="166">
                  <c:v>206.93214712700799</c:v>
                </c:pt>
                <c:pt idx="167">
                  <c:v>208.23197421418899</c:v>
                </c:pt>
                <c:pt idx="168">
                  <c:v>209.62684202933701</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193.00778233618999</c:v>
                </c:pt>
                <c:pt idx="178">
                  <c:v>202.564554544923</c:v>
                </c:pt>
                <c:pt idx="179">
                  <c:v>201.867407228378</c:v>
                </c:pt>
                <c:pt idx="180">
                  <c:v>202.48205478732899</c:v>
                </c:pt>
                <c:pt idx="181">
                  <c:v>210.50410235335701</c:v>
                </c:pt>
                <c:pt idx="182">
                  <c:v>206.72212819481999</c:v>
                </c:pt>
                <c:pt idx="183">
                  <c:v>189.785173048677</c:v>
                </c:pt>
                <c:pt idx="184">
                  <c:v>195.41703532181401</c:v>
                </c:pt>
                <c:pt idx="185">
                  <c:v>194.76924152241099</c:v>
                </c:pt>
                <c:pt idx="186">
                  <c:v>207.328777578049</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210.01170741985499</c:v>
                </c:pt>
                <c:pt idx="201">
                  <c:v>210.20412866665799</c:v>
                </c:pt>
                <c:pt idx="202">
                  <c:v>199.70215738161301</c:v>
                </c:pt>
                <c:pt idx="203">
                  <c:v>190.647296690302</c:v>
                </c:pt>
                <c:pt idx="204">
                  <c:v>197.72543263838301</c:v>
                </c:pt>
                <c:pt idx="205">
                  <c:v>196.93914842305901</c:v>
                </c:pt>
                <c:pt idx="206">
                  <c:v>196.72991510273701</c:v>
                </c:pt>
                <c:pt idx="207">
                  <c:v>207.777894083316</c:v>
                </c:pt>
                <c:pt idx="208">
                  <c:v>208.83200254090801</c:v>
                </c:pt>
                <c:pt idx="209">
                  <c:v>208.23062774383899</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196.00917183168201</c:v>
                </c:pt>
                <c:pt idx="220">
                  <c:v>211.59340286438601</c:v>
                </c:pt>
                <c:pt idx="221">
                  <c:v>209.14073880869799</c:v>
                </c:pt>
                <c:pt idx="222">
                  <c:v>203.12033249689401</c:v>
                </c:pt>
                <c:pt idx="223">
                  <c:v>211.523462291176</c:v>
                </c:pt>
                <c:pt idx="224">
                  <c:v>211.81077765009499</c:v>
                </c:pt>
                <c:pt idx="225">
                  <c:v>211.32603242399199</c:v>
                </c:pt>
                <c:pt idx="226">
                  <c:v>198.47818272088901</c:v>
                </c:pt>
                <c:pt idx="227">
                  <c:v>210.12645670348999</c:v>
                </c:pt>
                <c:pt idx="228">
                  <c:v>204.110230037799</c:v>
                </c:pt>
                <c:pt idx="229">
                  <c:v>196.75329555706</c:v>
                </c:pt>
                <c:pt idx="230">
                  <c:v>203.255966573363</c:v>
                </c:pt>
                <c:pt idx="231">
                  <c:v>197.34498332552201</c:v>
                </c:pt>
                <c:pt idx="232">
                  <c:v>181.31150567497701</c:v>
                </c:pt>
                <c:pt idx="233">
                  <c:v>195.64953782477599</c:v>
                </c:pt>
                <c:pt idx="234">
                  <c:v>203.959943500392</c:v>
                </c:pt>
                <c:pt idx="235">
                  <c:v>178.60152971854899</c:v>
                </c:pt>
                <c:pt idx="236">
                  <c:v>190.793168397024</c:v>
                </c:pt>
                <c:pt idx="237">
                  <c:v>202.394235923297</c:v>
                </c:pt>
                <c:pt idx="238">
                  <c:v>209.94557877343999</c:v>
                </c:pt>
                <c:pt idx="239">
                  <c:v>195.48295273423599</c:v>
                </c:pt>
                <c:pt idx="240">
                  <c:v>172.15223546562399</c:v>
                </c:pt>
                <c:pt idx="241">
                  <c:v>170.48176291699201</c:v>
                </c:pt>
                <c:pt idx="242">
                  <c:v>181.93214392793399</c:v>
                </c:pt>
                <c:pt idx="243">
                  <c:v>179.612415507425</c:v>
                </c:pt>
                <c:pt idx="244">
                  <c:v>174.472774488119</c:v>
                </c:pt>
                <c:pt idx="245">
                  <c:v>117.74555131036399</c:v>
                </c:pt>
                <c:pt idx="246">
                  <c:v>138.92974343908901</c:v>
                </c:pt>
                <c:pt idx="247">
                  <c:v>125.100134916952</c:v>
                </c:pt>
                <c:pt idx="248">
                  <c:v>140.803276088144</c:v>
                </c:pt>
                <c:pt idx="249">
                  <c:v>151.34502549916999</c:v>
                </c:pt>
                <c:pt idx="250">
                  <c:v>149.83854421042</c:v>
                </c:pt>
                <c:pt idx="251">
                  <c:v>178.60252485124801</c:v>
                </c:pt>
                <c:pt idx="252">
                  <c:v>171.64255227816301</c:v>
                </c:pt>
                <c:pt idx="253">
                  <c:v>170.05826919215099</c:v>
                </c:pt>
                <c:pt idx="254">
                  <c:v>179.56099730714899</c:v>
                </c:pt>
                <c:pt idx="255">
                  <c:v>170.180850816401</c:v>
                </c:pt>
                <c:pt idx="256">
                  <c:v>202.58945730613101</c:v>
                </c:pt>
                <c:pt idx="257">
                  <c:v>208.80892981364201</c:v>
                </c:pt>
                <c:pt idx="258">
                  <c:v>191.54506271347</c:v>
                </c:pt>
                <c:pt idx="259">
                  <c:v>100.379153832909</c:v>
                </c:pt>
                <c:pt idx="260">
                  <c:v>86.404099136261394</c:v>
                </c:pt>
                <c:pt idx="261">
                  <c:v>173.39193134753299</c:v>
                </c:pt>
                <c:pt idx="262">
                  <c:v>184.46046040777</c:v>
                </c:pt>
                <c:pt idx="263">
                  <c:v>176.59625965425201</c:v>
                </c:pt>
                <c:pt idx="264">
                  <c:v>197.38488654618601</c:v>
                </c:pt>
                <c:pt idx="265">
                  <c:v>189.966517129848</c:v>
                </c:pt>
                <c:pt idx="266">
                  <c:v>193.56260335391801</c:v>
                </c:pt>
                <c:pt idx="267">
                  <c:v>171.68709832832499</c:v>
                </c:pt>
                <c:pt idx="268">
                  <c:v>205.907457880826</c:v>
                </c:pt>
                <c:pt idx="269">
                  <c:v>202.97785964145299</c:v>
                </c:pt>
                <c:pt idx="270">
                  <c:v>199.937482425881</c:v>
                </c:pt>
                <c:pt idx="271">
                  <c:v>206.94785873537299</c:v>
                </c:pt>
                <c:pt idx="272">
                  <c:v>211.83629621987299</c:v>
                </c:pt>
                <c:pt idx="273">
                  <c:v>210.25017162800501</c:v>
                </c:pt>
                <c:pt idx="274">
                  <c:v>199.802347634901</c:v>
                </c:pt>
                <c:pt idx="275">
                  <c:v>197.2399877933</c:v>
                </c:pt>
                <c:pt idx="276">
                  <c:v>198.67665657612599</c:v>
                </c:pt>
                <c:pt idx="277">
                  <c:v>194.23131899335601</c:v>
                </c:pt>
                <c:pt idx="278">
                  <c:v>185.20579750444199</c:v>
                </c:pt>
                <c:pt idx="279">
                  <c:v>210.50811395635</c:v>
                </c:pt>
                <c:pt idx="280">
                  <c:v>213.780016927952</c:v>
                </c:pt>
                <c:pt idx="281">
                  <c:v>213.633222080118</c:v>
                </c:pt>
                <c:pt idx="282">
                  <c:v>214.10461180059599</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206.107296638729</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188.00933253043999</c:v>
                </c:pt>
                <c:pt idx="335">
                  <c:v>170.244128774269</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200.763000645886</c:v>
                </c:pt>
                <c:pt idx="357">
                  <c:v>207.038617517175</c:v>
                </c:pt>
                <c:pt idx="358">
                  <c:v>195.48047291531901</c:v>
                </c:pt>
                <c:pt idx="359">
                  <c:v>213.42871447377101</c:v>
                </c:pt>
                <c:pt idx="360">
                  <c:v>214.579969931638</c:v>
                </c:pt>
                <c:pt idx="361">
                  <c:v>210.05308815120301</c:v>
                </c:pt>
                <c:pt idx="362">
                  <c:v>202.591847461756</c:v>
                </c:pt>
                <c:pt idx="363">
                  <c:v>173.46667430850999</c:v>
                </c:pt>
                <c:pt idx="364">
                  <c:v>95.0082083065018</c:v>
                </c:pt>
                <c:pt idx="365">
                  <c:v>99.469568021421395</c:v>
                </c:pt>
                <c:pt idx="366" formatCode="General">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212.084719308568</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211.34931868997501</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191.84450886993</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215.46349192291899</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211.838106770704</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215.00048363333499</c:v>
                </c:pt>
                <c:pt idx="454">
                  <c:v>216.99357226464201</c:v>
                </c:pt>
                <c:pt idx="455">
                  <c:v>220.443474562939</c:v>
                </c:pt>
                <c:pt idx="456">
                  <c:v>220.17628686295001</c:v>
                </c:pt>
                <c:pt idx="457">
                  <c:v>217.76361151301401</c:v>
                </c:pt>
                <c:pt idx="458">
                  <c:v>216.79963752675701</c:v>
                </c:pt>
                <c:pt idx="459">
                  <c:v>220.753680756276</c:v>
                </c:pt>
                <c:pt idx="460">
                  <c:v>224.153485219619</c:v>
                </c:pt>
                <c:pt idx="461">
                  <c:v>223.24377771201699</c:v>
                </c:pt>
                <c:pt idx="462">
                  <c:v>223.31982925877401</c:v>
                </c:pt>
                <c:pt idx="463">
                  <c:v>220.52500265213101</c:v>
                </c:pt>
                <c:pt idx="464">
                  <c:v>212.849607368845</c:v>
                </c:pt>
                <c:pt idx="465">
                  <c:v>211.68618011279199</c:v>
                </c:pt>
                <c:pt idx="466">
                  <c:v>203.01595913883901</c:v>
                </c:pt>
                <c:pt idx="467">
                  <c:v>127.938194657867</c:v>
                </c:pt>
                <c:pt idx="468">
                  <c:v>104.23288644929001</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209.607809014606</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41.427343997948903</c:v>
                </c:pt>
                <c:pt idx="496">
                  <c:v>185.32334532565201</c:v>
                </c:pt>
                <c:pt idx="498">
                  <c:v>0</c:v>
                </c:pt>
                <c:pt idx="499">
                  <c:v>216.29640478550601</c:v>
                </c:pt>
                <c:pt idx="500">
                  <c:v>214.70909178833099</c:v>
                </c:pt>
                <c:pt idx="501">
                  <c:v>209.84345530065301</c:v>
                </c:pt>
                <c:pt idx="502">
                  <c:v>205.45196735902201</c:v>
                </c:pt>
                <c:pt idx="503">
                  <c:v>200.23528273940201</c:v>
                </c:pt>
                <c:pt idx="504">
                  <c:v>197.369133482878</c:v>
                </c:pt>
                <c:pt idx="505">
                  <c:v>199.73838875631299</c:v>
                </c:pt>
                <c:pt idx="506">
                  <c:v>201.79092126516801</c:v>
                </c:pt>
                <c:pt idx="507">
                  <c:v>203.60721717669199</c:v>
                </c:pt>
                <c:pt idx="508">
                  <c:v>206.32909209578099</c:v>
                </c:pt>
                <c:pt idx="509">
                  <c:v>209.94757868297401</c:v>
                </c:pt>
                <c:pt idx="510">
                  <c:v>210.18914525296</c:v>
                </c:pt>
                <c:pt idx="511">
                  <c:v>209.66868631574999</c:v>
                </c:pt>
                <c:pt idx="512">
                  <c:v>208.11187206002199</c:v>
                </c:pt>
                <c:pt idx="513">
                  <c:v>214.191940938058</c:v>
                </c:pt>
                <c:pt idx="514">
                  <c:v>210.64199835321199</c:v>
                </c:pt>
                <c:pt idx="515">
                  <c:v>211.50644393550701</c:v>
                </c:pt>
                <c:pt idx="516">
                  <c:v>210.712137592912</c:v>
                </c:pt>
                <c:pt idx="517">
                  <c:v>192.53066040612299</c:v>
                </c:pt>
                <c:pt idx="518">
                  <c:v>202.975907563379</c:v>
                </c:pt>
                <c:pt idx="519">
                  <c:v>208.154512512976</c:v>
                </c:pt>
                <c:pt idx="520">
                  <c:v>209.790430644846</c:v>
                </c:pt>
                <c:pt idx="521">
                  <c:v>212.42647704067599</c:v>
                </c:pt>
                <c:pt idx="522">
                  <c:v>214.90916136788601</c:v>
                </c:pt>
                <c:pt idx="523">
                  <c:v>214.84527140445499</c:v>
                </c:pt>
                <c:pt idx="524">
                  <c:v>214.90446733138199</c:v>
                </c:pt>
                <c:pt idx="525">
                  <c:v>214.22177973914501</c:v>
                </c:pt>
                <c:pt idx="526">
                  <c:v>205.068833961038</c:v>
                </c:pt>
                <c:pt idx="527">
                  <c:v>186.77264306491301</c:v>
                </c:pt>
                <c:pt idx="528">
                  <c:v>189.914166041713</c:v>
                </c:pt>
                <c:pt idx="529">
                  <c:v>163.55443233067899</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189.69939529311799</c:v>
                </c:pt>
                <c:pt idx="543">
                  <c:v>184.97375638193299</c:v>
                </c:pt>
                <c:pt idx="544">
                  <c:v>184.94264355067</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175.08653427554799</c:v>
                </c:pt>
                <c:pt idx="571">
                  <c:v>179.611103427063</c:v>
                </c:pt>
                <c:pt idx="572">
                  <c:v>185.73023315803999</c:v>
                </c:pt>
                <c:pt idx="573">
                  <c:v>199.731652819185</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198.365242991006</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180.340262113184</c:v>
                </c:pt>
                <c:pt idx="603">
                  <c:v>177.11262035307701</c:v>
                </c:pt>
                <c:pt idx="604">
                  <c:v>185.058473237144</c:v>
                </c:pt>
                <c:pt idx="605">
                  <c:v>198.038747189525</c:v>
                </c:pt>
                <c:pt idx="606">
                  <c:v>190.40639698840801</c:v>
                </c:pt>
                <c:pt idx="607">
                  <c:v>135.461545377871</c:v>
                </c:pt>
                <c:pt idx="608">
                  <c:v>203.494331568908</c:v>
                </c:pt>
                <c:pt idx="609">
                  <c:v>199.05418758923099</c:v>
                </c:pt>
                <c:pt idx="610">
                  <c:v>182.56889224868601</c:v>
                </c:pt>
                <c:pt idx="611">
                  <c:v>172.564320917212</c:v>
                </c:pt>
                <c:pt idx="612">
                  <c:v>170.685156385721</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178.53512362924201</c:v>
                </c:pt>
                <c:pt idx="629">
                  <c:v>195.63474523749201</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178.070465936831</c:v>
                </c:pt>
                <c:pt idx="641">
                  <c:v>35.0224499773148</c:v>
                </c:pt>
                <c:pt idx="643">
                  <c:v>83.531049277316896</c:v>
                </c:pt>
                <c:pt idx="644">
                  <c:v>184.56771327403001</c:v>
                </c:pt>
                <c:pt idx="645">
                  <c:v>200.285270302383</c:v>
                </c:pt>
                <c:pt idx="646">
                  <c:v>199.50436093752501</c:v>
                </c:pt>
                <c:pt idx="647">
                  <c:v>199.78683609901699</c:v>
                </c:pt>
                <c:pt idx="648">
                  <c:v>200.17669418412899</c:v>
                </c:pt>
                <c:pt idx="649">
                  <c:v>201.80837143852801</c:v>
                </c:pt>
                <c:pt idx="650">
                  <c:v>200.307079736529</c:v>
                </c:pt>
                <c:pt idx="651">
                  <c:v>200.91932366613301</c:v>
                </c:pt>
                <c:pt idx="652">
                  <c:v>199.71928463089</c:v>
                </c:pt>
                <c:pt idx="653">
                  <c:v>199.72715825433099</c:v>
                </c:pt>
                <c:pt idx="654">
                  <c:v>200.47337203379101</c:v>
                </c:pt>
                <c:pt idx="655">
                  <c:v>186.36484504437999</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200.116867541311</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133.02832575859301</c:v>
                </c:pt>
                <c:pt idx="702">
                  <c:v>170.967465006097</c:v>
                </c:pt>
                <c:pt idx="703">
                  <c:v>194.82277440936701</c:v>
                </c:pt>
                <c:pt idx="704">
                  <c:v>195.698949010825</c:v>
                </c:pt>
                <c:pt idx="705">
                  <c:v>195.56037357538099</c:v>
                </c:pt>
                <c:pt idx="706">
                  <c:v>189.552547455704</c:v>
                </c:pt>
                <c:pt idx="707">
                  <c:v>185.11205439355501</c:v>
                </c:pt>
                <c:pt idx="708">
                  <c:v>196.461881726039</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199.08000130975199</c:v>
                </c:pt>
                <c:pt idx="719">
                  <c:v>198.654111100318</c:v>
                </c:pt>
                <c:pt idx="720">
                  <c:v>199.07211316560699</c:v>
                </c:pt>
                <c:pt idx="721">
                  <c:v>200.466453362854</c:v>
                </c:pt>
                <c:pt idx="722">
                  <c:v>198.15825906388699</c:v>
                </c:pt>
                <c:pt idx="723">
                  <c:v>194.26387662660301</c:v>
                </c:pt>
                <c:pt idx="724">
                  <c:v>159.72463653362999</c:v>
                </c:pt>
                <c:pt idx="725">
                  <c:v>-2.5501573389323799E-9</c:v>
                </c:pt>
                <c:pt idx="726">
                  <c:v>71.178680406847803</c:v>
                </c:pt>
                <c:pt idx="727">
                  <c:v>181.524668195239</c:v>
                </c:pt>
                <c:pt idx="728">
                  <c:v>196.47276508566799</c:v>
                </c:pt>
                <c:pt idx="729">
                  <c:v>199.847304953178</c:v>
                </c:pt>
                <c:pt idx="730">
                  <c:v>197.65918572191899</c:v>
                </c:pt>
                <c:pt idx="731">
                  <c:v>196.5943893063845</c:v>
                </c:pt>
                <c:pt idx="732">
                  <c:v>194.51249989842162</c:v>
                </c:pt>
                <c:pt idx="733">
                  <c:v>195.47466834948239</c:v>
                </c:pt>
                <c:pt idx="734">
                  <c:v>196.16422385037691</c:v>
                </c:pt>
                <c:pt idx="735">
                  <c:v>194.73202153113448</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111.28112512317084</c:v>
                </c:pt>
                <c:pt idx="790">
                  <c:v>183.63519228282792</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174.20444678136769</c:v>
                </c:pt>
                <c:pt idx="812">
                  <c:v>170.02985832780968</c:v>
                </c:pt>
                <c:pt idx="813">
                  <c:v>170.19158117597544</c:v>
                </c:pt>
                <c:pt idx="814">
                  <c:v>169.5931368174424</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160.60385763950646</c:v>
                </c:pt>
                <c:pt idx="829">
                  <c:v>160.15049111354321</c:v>
                </c:pt>
                <c:pt idx="830">
                  <c:v>163.10111823204591</c:v>
                </c:pt>
                <c:pt idx="831">
                  <c:v>162.49552817067033</c:v>
                </c:pt>
                <c:pt idx="832">
                  <c:v>164.06702012001867</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160.68117976442608</c:v>
                </c:pt>
                <c:pt idx="861">
                  <c:v>101.96828892676182</c:v>
                </c:pt>
                <c:pt idx="862">
                  <c:v>199.11097182949177</c:v>
                </c:pt>
                <c:pt idx="863">
                  <c:v>197.90826406043936</c:v>
                </c:pt>
                <c:pt idx="864">
                  <c:v>170.93069683413199</c:v>
                </c:pt>
                <c:pt idx="865">
                  <c:v>135.47799916344161</c:v>
                </c:pt>
                <c:pt idx="866">
                  <c:v>201.92772237426297</c:v>
                </c:pt>
                <c:pt idx="867">
                  <c:v>196.83810389292307</c:v>
                </c:pt>
                <c:pt idx="868">
                  <c:v>203.4938953563277</c:v>
                </c:pt>
                <c:pt idx="869">
                  <c:v>199.99858238075475</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190.69367953106632</c:v>
                </c:pt>
                <c:pt idx="895">
                  <c:v>190.99507929097189</c:v>
                </c:pt>
                <c:pt idx="896">
                  <c:v>195.79846682536672</c:v>
                </c:pt>
                <c:pt idx="897">
                  <c:v>190.0539120853183</c:v>
                </c:pt>
                <c:pt idx="898">
                  <c:v>179.54258888435314</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172.16082475612498</c:v>
                </c:pt>
                <c:pt idx="912">
                  <c:v>183.5784087816505</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157.72858441138965</c:v>
                </c:pt>
                <c:pt idx="925">
                  <c:v>165.53527531529423</c:v>
                </c:pt>
                <c:pt idx="926">
                  <c:v>186.86790401561026</c:v>
                </c:pt>
                <c:pt idx="927">
                  <c:v>198.25691933070721</c:v>
                </c:pt>
                <c:pt idx="928">
                  <c:v>195.85276737334419</c:v>
                </c:pt>
                <c:pt idx="929">
                  <c:v>166.78424912457371</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120.70595504451498</c:v>
                </c:pt>
                <c:pt idx="956">
                  <c:v>0.10269381774752381</c:v>
                </c:pt>
                <c:pt idx="957">
                  <c:v>91.927651254056613</c:v>
                </c:pt>
                <c:pt idx="958">
                  <c:v>142.80678165061826</c:v>
                </c:pt>
                <c:pt idx="959">
                  <c:v>192.4656875185255</c:v>
                </c:pt>
                <c:pt idx="960">
                  <c:v>190.17188343099733</c:v>
                </c:pt>
                <c:pt idx="961">
                  <c:v>196.77224301022241</c:v>
                </c:pt>
                <c:pt idx="962">
                  <c:v>195.21480039773192</c:v>
                </c:pt>
                <c:pt idx="963">
                  <c:v>179.49657280631141</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176.13062732573817</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182.20201487109492</c:v>
                </c:pt>
                <c:pt idx="1021">
                  <c:v>171.6300787578738</c:v>
                </c:pt>
                <c:pt idx="1022">
                  <c:v>182.8492835209826</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96.643294930628159</c:v>
                </c:pt>
                <c:pt idx="1032">
                  <c:v>173.28908123769781</c:v>
                </c:pt>
                <c:pt idx="1033">
                  <c:v>189.75289489076087</c:v>
                </c:pt>
                <c:pt idx="1034">
                  <c:v>194.21678639066241</c:v>
                </c:pt>
                <c:pt idx="1035">
                  <c:v>191.94066070613019</c:v>
                </c:pt>
                <c:pt idx="1036">
                  <c:v>181.09936127829653</c:v>
                </c:pt>
                <c:pt idx="1037">
                  <c:v>188.30530648196631</c:v>
                </c:pt>
                <c:pt idx="1038">
                  <c:v>183.32906990176988</c:v>
                </c:pt>
                <c:pt idx="1039">
                  <c:v>169.1998332501891</c:v>
                </c:pt>
                <c:pt idx="1040">
                  <c:v>147.8853599680393</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186.38615262093737</c:v>
                </c:pt>
                <c:pt idx="1052">
                  <c:v>180.01103621756548</c:v>
                </c:pt>
                <c:pt idx="1053">
                  <c:v>179.38999796040625</c:v>
                </c:pt>
                <c:pt idx="1054">
                  <c:v>170.66616217802033</c:v>
                </c:pt>
                <c:pt idx="1055">
                  <c:v>172.76375482356508</c:v>
                </c:pt>
                <c:pt idx="1056">
                  <c:v>185.83453848596551</c:v>
                </c:pt>
                <c:pt idx="1057">
                  <c:v>187.05240858007895</c:v>
                </c:pt>
                <c:pt idx="1058">
                  <c:v>171.05155633494076</c:v>
                </c:pt>
                <c:pt idx="1059">
                  <c:v>176.56895677067467</c:v>
                </c:pt>
                <c:pt idx="1060">
                  <c:v>188.96564296500739</c:v>
                </c:pt>
                <c:pt idx="1061">
                  <c:v>188.36963384658122</c:v>
                </c:pt>
                <c:pt idx="1062">
                  <c:v>187.24727744517713</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175.71996940048535</c:v>
                </c:pt>
                <c:pt idx="1071">
                  <c:v>174.31562083605635</c:v>
                </c:pt>
                <c:pt idx="1072">
                  <c:v>181.79563025720668</c:v>
                </c:pt>
                <c:pt idx="1073">
                  <c:v>181.57409208584204</c:v>
                </c:pt>
                <c:pt idx="1074">
                  <c:v>176.12905552827499</c:v>
                </c:pt>
                <c:pt idx="1075">
                  <c:v>167.41712213090335</c:v>
                </c:pt>
                <c:pt idx="1076">
                  <c:v>148.42618726013114</c:v>
                </c:pt>
                <c:pt idx="1077">
                  <c:v>158.86493140605128</c:v>
                </c:pt>
                <c:pt idx="1078">
                  <c:v>181.83919075656124</c:v>
                </c:pt>
                <c:pt idx="1079">
                  <c:v>179.92665631772826</c:v>
                </c:pt>
                <c:pt idx="1080">
                  <c:v>177.07717732998904</c:v>
                </c:pt>
                <c:pt idx="1081">
                  <c:v>169.47434599013408</c:v>
                </c:pt>
                <c:pt idx="1082">
                  <c:v>167.10507783739064</c:v>
                </c:pt>
                <c:pt idx="1083">
                  <c:v>142.63633816492805</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C59C-4619-AC81-4F46B732196A}"/>
            </c:ext>
          </c:extLst>
        </c:ser>
        <c:dLbls>
          <c:showLegendKey val="0"/>
          <c:showVal val="0"/>
          <c:showCatName val="0"/>
          <c:showSerName val="0"/>
          <c:showPercent val="0"/>
          <c:showBubbleSize val="0"/>
        </c:dLbls>
        <c:axId val="1833625791"/>
        <c:axId val="1833624127"/>
      </c:scatterChart>
      <c:valAx>
        <c:axId val="1833625791"/>
        <c:scaling>
          <c:orientation val="minMax"/>
          <c:max val="3750000"/>
          <c:min val="358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3624127"/>
        <c:crosses val="autoZero"/>
        <c:crossBetween val="midCat"/>
      </c:valAx>
      <c:valAx>
        <c:axId val="1833624127"/>
        <c:scaling>
          <c:orientation val="minMax"/>
          <c:max val="220"/>
          <c:min val="19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3625791"/>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DI </a:t>
            </a:r>
            <a:r>
              <a:rPr lang="en-US" dirty="0" smtClean="0"/>
              <a:t>(kg) </a:t>
            </a:r>
            <a:r>
              <a:rPr lang="en-US" dirty="0"/>
              <a:t>v/s CO</a:t>
            </a:r>
            <a:r>
              <a:rPr lang="en-US" baseline="0" dirty="0"/>
              <a:t> </a:t>
            </a:r>
            <a:r>
              <a:rPr lang="en-US" baseline="0" dirty="0" smtClean="0"/>
              <a:t>(Nm3)</a:t>
            </a:r>
            <a:endParaRPr lang="en-US" baseline="0"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M$1:$AM$2</c:f>
              <c:strCache>
                <c:ptCount val="2"/>
                <c:pt idx="0">
                  <c:v>CDI</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B$3:$AB$1137</c:f>
              <c:numCache>
                <c:formatCode>0</c:formatCode>
                <c:ptCount val="1135"/>
                <c:pt idx="0">
                  <c:v>41.382142893888293</c:v>
                </c:pt>
                <c:pt idx="1">
                  <c:v>289.25476399511342</c:v>
                </c:pt>
                <c:pt idx="2">
                  <c:v>315.36969172035964</c:v>
                </c:pt>
                <c:pt idx="3">
                  <c:v>353.94416824198885</c:v>
                </c:pt>
                <c:pt idx="4">
                  <c:v>353.15360227143026</c:v>
                </c:pt>
                <c:pt idx="5">
                  <c:v>356.71052396004188</c:v>
                </c:pt>
                <c:pt idx="6">
                  <c:v>371.46289964720063</c:v>
                </c:pt>
                <c:pt idx="7">
                  <c:v>354.53043475102362</c:v>
                </c:pt>
                <c:pt idx="8">
                  <c:v>285.03319216442293</c:v>
                </c:pt>
                <c:pt idx="9">
                  <c:v>321.72088539061775</c:v>
                </c:pt>
                <c:pt idx="10">
                  <c:v>355.20728865996784</c:v>
                </c:pt>
                <c:pt idx="11">
                  <c:v>344.58640981410167</c:v>
                </c:pt>
                <c:pt idx="12">
                  <c:v>337.35686762020401</c:v>
                </c:pt>
                <c:pt idx="13">
                  <c:v>364.99395132392692</c:v>
                </c:pt>
                <c:pt idx="14">
                  <c:v>350.10205268034088</c:v>
                </c:pt>
                <c:pt idx="15">
                  <c:v>340.2650658861416</c:v>
                </c:pt>
                <c:pt idx="16">
                  <c:v>338.53731214244215</c:v>
                </c:pt>
                <c:pt idx="17">
                  <c:v>346.49267088662123</c:v>
                </c:pt>
                <c:pt idx="18">
                  <c:v>372.09134520998606</c:v>
                </c:pt>
                <c:pt idx="19">
                  <c:v>343.42200154894215</c:v>
                </c:pt>
                <c:pt idx="20">
                  <c:v>347.60056289108081</c:v>
                </c:pt>
                <c:pt idx="21">
                  <c:v>355.74193265712177</c:v>
                </c:pt>
                <c:pt idx="22">
                  <c:v>348.56807908489844</c:v>
                </c:pt>
                <c:pt idx="23">
                  <c:v>349.45266747634861</c:v>
                </c:pt>
                <c:pt idx="24">
                  <c:v>342.67462579607582</c:v>
                </c:pt>
                <c:pt idx="25">
                  <c:v>351.43985053596407</c:v>
                </c:pt>
                <c:pt idx="26">
                  <c:v>369.09400930445878</c:v>
                </c:pt>
                <c:pt idx="27">
                  <c:v>348.32583850339461</c:v>
                </c:pt>
                <c:pt idx="28">
                  <c:v>356.84812195416964</c:v>
                </c:pt>
                <c:pt idx="29">
                  <c:v>373.02841003417205</c:v>
                </c:pt>
                <c:pt idx="30">
                  <c:v>251.28659839488753</c:v>
                </c:pt>
                <c:pt idx="31">
                  <c:v>331.0584958084396</c:v>
                </c:pt>
                <c:pt idx="32">
                  <c:v>408.96089219014073</c:v>
                </c:pt>
                <c:pt idx="33">
                  <c:v>394.52112251887678</c:v>
                </c:pt>
                <c:pt idx="34">
                  <c:v>395.29960551685224</c:v>
                </c:pt>
                <c:pt idx="35">
                  <c:v>412.45210149229473</c:v>
                </c:pt>
                <c:pt idx="36">
                  <c:v>383.40194959400156</c:v>
                </c:pt>
                <c:pt idx="37">
                  <c:v>400.96199537488349</c:v>
                </c:pt>
                <c:pt idx="38">
                  <c:v>386.25846633511037</c:v>
                </c:pt>
                <c:pt idx="39">
                  <c:v>387.59043974875408</c:v>
                </c:pt>
                <c:pt idx="40">
                  <c:v>373.31080107045096</c:v>
                </c:pt>
                <c:pt idx="41">
                  <c:v>391.49792354910113</c:v>
                </c:pt>
                <c:pt idx="42">
                  <c:v>409.37991504639922</c:v>
                </c:pt>
                <c:pt idx="43">
                  <c:v>432.67125103754381</c:v>
                </c:pt>
                <c:pt idx="44">
                  <c:v>481.10761246703242</c:v>
                </c:pt>
                <c:pt idx="45">
                  <c:v>975.51208448553905</c:v>
                </c:pt>
                <c:pt idx="46">
                  <c:v>1769.1184732451418</c:v>
                </c:pt>
                <c:pt idx="47">
                  <c:v>416.23951653366049</c:v>
                </c:pt>
                <c:pt idx="48">
                  <c:v>390.74788008731946</c:v>
                </c:pt>
                <c:pt idx="49">
                  <c:v>374.33804523041192</c:v>
                </c:pt>
                <c:pt idx="50">
                  <c:v>399.08890699329203</c:v>
                </c:pt>
                <c:pt idx="51">
                  <c:v>367.68345157216567</c:v>
                </c:pt>
                <c:pt idx="52">
                  <c:v>367.68068932638607</c:v>
                </c:pt>
                <c:pt idx="53">
                  <c:v>375.53850989397887</c:v>
                </c:pt>
                <c:pt idx="54">
                  <c:v>380.69233576984686</c:v>
                </c:pt>
                <c:pt idx="55">
                  <c:v>361.50741687253912</c:v>
                </c:pt>
                <c:pt idx="56">
                  <c:v>356.9146047309498</c:v>
                </c:pt>
                <c:pt idx="57">
                  <c:v>356.93918544328073</c:v>
                </c:pt>
                <c:pt idx="58">
                  <c:v>369.2874197579701</c:v>
                </c:pt>
                <c:pt idx="59">
                  <c:v>365.4798169655752</c:v>
                </c:pt>
                <c:pt idx="60">
                  <c:v>350.97595797770242</c:v>
                </c:pt>
                <c:pt idx="61">
                  <c:v>355.48471892776945</c:v>
                </c:pt>
                <c:pt idx="62">
                  <c:v>360.25347977719389</c:v>
                </c:pt>
                <c:pt idx="63">
                  <c:v>370.41837567045599</c:v>
                </c:pt>
                <c:pt idx="64">
                  <c:v>356.82137704374657</c:v>
                </c:pt>
                <c:pt idx="65">
                  <c:v>364.44017075738293</c:v>
                </c:pt>
                <c:pt idx="66">
                  <c:v>355.37075354983369</c:v>
                </c:pt>
                <c:pt idx="67">
                  <c:v>380.72871879028696</c:v>
                </c:pt>
                <c:pt idx="68">
                  <c:v>396.71467752438588</c:v>
                </c:pt>
                <c:pt idx="69">
                  <c:v>568.06798866741894</c:v>
                </c:pt>
                <c:pt idx="70">
                  <c:v>378.24736222177449</c:v>
                </c:pt>
                <c:pt idx="71">
                  <c:v>389.17527367730219</c:v>
                </c:pt>
                <c:pt idx="72">
                  <c:v>384.59042942004845</c:v>
                </c:pt>
                <c:pt idx="73">
                  <c:v>372.47460964243288</c:v>
                </c:pt>
                <c:pt idx="74">
                  <c:v>367.46465206726913</c:v>
                </c:pt>
                <c:pt idx="75">
                  <c:v>378.50604065445691</c:v>
                </c:pt>
                <c:pt idx="76">
                  <c:v>376.73125954147099</c:v>
                </c:pt>
                <c:pt idx="77">
                  <c:v>368.41863625381495</c:v>
                </c:pt>
                <c:pt idx="78">
                  <c:v>374.69259686039891</c:v>
                </c:pt>
                <c:pt idx="79">
                  <c:v>374.26324730218579</c:v>
                </c:pt>
                <c:pt idx="80">
                  <c:v>380.63160554349986</c:v>
                </c:pt>
                <c:pt idx="81">
                  <c:v>381.02211505808214</c:v>
                </c:pt>
                <c:pt idx="82">
                  <c:v>381.16631997153138</c:v>
                </c:pt>
                <c:pt idx="83">
                  <c:v>370.72358596799711</c:v>
                </c:pt>
                <c:pt idx="84">
                  <c:v>384.23521739115108</c:v>
                </c:pt>
                <c:pt idx="85">
                  <c:v>398.48042972601456</c:v>
                </c:pt>
                <c:pt idx="86">
                  <c:v>398.10195199695215</c:v>
                </c:pt>
                <c:pt idx="87">
                  <c:v>371.94840660703466</c:v>
                </c:pt>
                <c:pt idx="88">
                  <c:v>339.81482796315964</c:v>
                </c:pt>
                <c:pt idx="89">
                  <c:v>355.05192533882212</c:v>
                </c:pt>
                <c:pt idx="90">
                  <c:v>379.70760915809416</c:v>
                </c:pt>
                <c:pt idx="91">
                  <c:v>379.30296039997359</c:v>
                </c:pt>
                <c:pt idx="92">
                  <c:v>370.3752457977584</c:v>
                </c:pt>
                <c:pt idx="93">
                  <c:v>350.77002588888678</c:v>
                </c:pt>
                <c:pt idx="94">
                  <c:v>352.52938085797354</c:v>
                </c:pt>
                <c:pt idx="95">
                  <c:v>374.76609130865796</c:v>
                </c:pt>
                <c:pt idx="96">
                  <c:v>376.8409167159266</c:v>
                </c:pt>
                <c:pt idx="97">
                  <c:v>381.37165586715309</c:v>
                </c:pt>
                <c:pt idx="98">
                  <c:v>222.08252002639446</c:v>
                </c:pt>
                <c:pt idx="99">
                  <c:v>401.66304581496041</c:v>
                </c:pt>
                <c:pt idx="100">
                  <c:v>432.01568813575022</c:v>
                </c:pt>
                <c:pt idx="101">
                  <c:v>376.09085245786736</c:v>
                </c:pt>
                <c:pt idx="102">
                  <c:v>348.37687804459733</c:v>
                </c:pt>
                <c:pt idx="103">
                  <c:v>369.11614615203854</c:v>
                </c:pt>
                <c:pt idx="104">
                  <c:v>362.77127521795944</c:v>
                </c:pt>
                <c:pt idx="105">
                  <c:v>26.730159680159552</c:v>
                </c:pt>
                <c:pt idx="106">
                  <c:v>283.18742090116541</c:v>
                </c:pt>
                <c:pt idx="107">
                  <c:v>364.79798690130883</c:v>
                </c:pt>
                <c:pt idx="108">
                  <c:v>371.40121749551173</c:v>
                </c:pt>
                <c:pt idx="109">
                  <c:v>369.63740798218447</c:v>
                </c:pt>
                <c:pt idx="110">
                  <c:v>336.19573616268474</c:v>
                </c:pt>
                <c:pt idx="111">
                  <c:v>346.7791203359659</c:v>
                </c:pt>
                <c:pt idx="112">
                  <c:v>367.22178730291569</c:v>
                </c:pt>
                <c:pt idx="113">
                  <c:v>396.51294318741998</c:v>
                </c:pt>
                <c:pt idx="114">
                  <c:v>381.20447857977689</c:v>
                </c:pt>
                <c:pt idx="115">
                  <c:v>309.19912857577026</c:v>
                </c:pt>
                <c:pt idx="116">
                  <c:v>269.57548758440487</c:v>
                </c:pt>
                <c:pt idx="117">
                  <c:v>261.02399227149897</c:v>
                </c:pt>
                <c:pt idx="118">
                  <c:v>273.36567170340197</c:v>
                </c:pt>
                <c:pt idx="119">
                  <c:v>246.62888850979408</c:v>
                </c:pt>
                <c:pt idx="120">
                  <c:v>274.29076024707956</c:v>
                </c:pt>
                <c:pt idx="121">
                  <c:v>354.67553149952386</c:v>
                </c:pt>
                <c:pt idx="122">
                  <c:v>353.65682025110459</c:v>
                </c:pt>
                <c:pt idx="123">
                  <c:v>365.04646167953638</c:v>
                </c:pt>
                <c:pt idx="124">
                  <c:v>364.83453544559688</c:v>
                </c:pt>
                <c:pt idx="125">
                  <c:v>349.69644334967114</c:v>
                </c:pt>
                <c:pt idx="126">
                  <c:v>345.82058545190193</c:v>
                </c:pt>
                <c:pt idx="127">
                  <c:v>332.61061210997036</c:v>
                </c:pt>
                <c:pt idx="128">
                  <c:v>332.34938099079505</c:v>
                </c:pt>
                <c:pt idx="129">
                  <c:v>342.8454689952157</c:v>
                </c:pt>
                <c:pt idx="130">
                  <c:v>350.8322846828429</c:v>
                </c:pt>
                <c:pt idx="131">
                  <c:v>350.61827074090354</c:v>
                </c:pt>
                <c:pt idx="132">
                  <c:v>347.57874060414184</c:v>
                </c:pt>
                <c:pt idx="133">
                  <c:v>357.7500822995039</c:v>
                </c:pt>
                <c:pt idx="134">
                  <c:v>368.57775718980065</c:v>
                </c:pt>
                <c:pt idx="135">
                  <c:v>353.61629146712255</c:v>
                </c:pt>
                <c:pt idx="136">
                  <c:v>343.44789214925845</c:v>
                </c:pt>
                <c:pt idx="137">
                  <c:v>343.75714222816356</c:v>
                </c:pt>
                <c:pt idx="138">
                  <c:v>328.03754600023484</c:v>
                </c:pt>
                <c:pt idx="139">
                  <c:v>321.33421632199452</c:v>
                </c:pt>
                <c:pt idx="140">
                  <c:v>326.37110326743124</c:v>
                </c:pt>
                <c:pt idx="141">
                  <c:v>404.98354994463108</c:v>
                </c:pt>
                <c:pt idx="142">
                  <c:v>480.3561269520136</c:v>
                </c:pt>
                <c:pt idx="143">
                  <c:v>547.6192501094356</c:v>
                </c:pt>
                <c:pt idx="144">
                  <c:v>1073.2751725605506</c:v>
                </c:pt>
                <c:pt idx="145">
                  <c:v>44577.402760833465</c:v>
                </c:pt>
                <c:pt idx="146">
                  <c:v>0</c:v>
                </c:pt>
                <c:pt idx="147">
                  <c:v>0</c:v>
                </c:pt>
                <c:pt idx="148">
                  <c:v>0</c:v>
                </c:pt>
                <c:pt idx="149">
                  <c:v>2082.6074434897441</c:v>
                </c:pt>
                <c:pt idx="150">
                  <c:v>450.05773790472227</c:v>
                </c:pt>
                <c:pt idx="151">
                  <c:v>393.23971204457195</c:v>
                </c:pt>
                <c:pt idx="152">
                  <c:v>373.05745225227383</c:v>
                </c:pt>
                <c:pt idx="153">
                  <c:v>363.84526538652852</c:v>
                </c:pt>
                <c:pt idx="154">
                  <c:v>365.10240663443449</c:v>
                </c:pt>
                <c:pt idx="155">
                  <c:v>368.80680442133388</c:v>
                </c:pt>
                <c:pt idx="156">
                  <c:v>380.46578895875984</c:v>
                </c:pt>
                <c:pt idx="157">
                  <c:v>383.61553017700845</c:v>
                </c:pt>
                <c:pt idx="158">
                  <c:v>389.47294306646359</c:v>
                </c:pt>
                <c:pt idx="159">
                  <c:v>387.35952583609372</c:v>
                </c:pt>
                <c:pt idx="160">
                  <c:v>392.43130523048058</c:v>
                </c:pt>
                <c:pt idx="161">
                  <c:v>399.49924127260726</c:v>
                </c:pt>
                <c:pt idx="162">
                  <c:v>410.4729063352774</c:v>
                </c:pt>
                <c:pt idx="163">
                  <c:v>383.77942405984396</c:v>
                </c:pt>
                <c:pt idx="164">
                  <c:v>378.54948490427518</c:v>
                </c:pt>
                <c:pt idx="165">
                  <c:v>373.34744072943226</c:v>
                </c:pt>
                <c:pt idx="166">
                  <c:v>382.6387852970276</c:v>
                </c:pt>
                <c:pt idx="167">
                  <c:v>378.1377225160507</c:v>
                </c:pt>
                <c:pt idx="168">
                  <c:v>379.75865659034923</c:v>
                </c:pt>
                <c:pt idx="169">
                  <c:v>358.79791765905816</c:v>
                </c:pt>
                <c:pt idx="170">
                  <c:v>349.85297650183594</c:v>
                </c:pt>
                <c:pt idx="171">
                  <c:v>346.67669161157971</c:v>
                </c:pt>
                <c:pt idx="172">
                  <c:v>341.54223847484417</c:v>
                </c:pt>
                <c:pt idx="173">
                  <c:v>360.41383207912224</c:v>
                </c:pt>
                <c:pt idx="174">
                  <c:v>371.43605869297181</c:v>
                </c:pt>
                <c:pt idx="175">
                  <c:v>363.49998305709732</c:v>
                </c:pt>
                <c:pt idx="176">
                  <c:v>383.84318767882132</c:v>
                </c:pt>
                <c:pt idx="177">
                  <c:v>394.32463841207709</c:v>
                </c:pt>
                <c:pt idx="178">
                  <c:v>356.72331192696419</c:v>
                </c:pt>
                <c:pt idx="179">
                  <c:v>371.6074345067999</c:v>
                </c:pt>
                <c:pt idx="180">
                  <c:v>361.83429374892017</c:v>
                </c:pt>
                <c:pt idx="181">
                  <c:v>348.27284440209888</c:v>
                </c:pt>
                <c:pt idx="182">
                  <c:v>361.80477668378381</c:v>
                </c:pt>
                <c:pt idx="183">
                  <c:v>345.87913721283479</c:v>
                </c:pt>
                <c:pt idx="184">
                  <c:v>354.7321126532625</c:v>
                </c:pt>
                <c:pt idx="185">
                  <c:v>356.23252315225335</c:v>
                </c:pt>
                <c:pt idx="186">
                  <c:v>349.04111131477453</c:v>
                </c:pt>
                <c:pt idx="187">
                  <c:v>355.52812547965692</c:v>
                </c:pt>
                <c:pt idx="188">
                  <c:v>333.90648715279951</c:v>
                </c:pt>
                <c:pt idx="189">
                  <c:v>346.9177887504303</c:v>
                </c:pt>
                <c:pt idx="190">
                  <c:v>349.28029670539041</c:v>
                </c:pt>
                <c:pt idx="191">
                  <c:v>339.74227793107923</c:v>
                </c:pt>
                <c:pt idx="192">
                  <c:v>344.48569450418347</c:v>
                </c:pt>
                <c:pt idx="193">
                  <c:v>342.13044129185096</c:v>
                </c:pt>
                <c:pt idx="194">
                  <c:v>350.45138505190937</c:v>
                </c:pt>
                <c:pt idx="195">
                  <c:v>353.4740917348737</c:v>
                </c:pt>
                <c:pt idx="196">
                  <c:v>342.44471663651103</c:v>
                </c:pt>
                <c:pt idx="197">
                  <c:v>340.55674441552412</c:v>
                </c:pt>
                <c:pt idx="198">
                  <c:v>343.20217875698199</c:v>
                </c:pt>
                <c:pt idx="199">
                  <c:v>337.44415620427191</c:v>
                </c:pt>
                <c:pt idx="200">
                  <c:v>342.23283867229236</c:v>
                </c:pt>
                <c:pt idx="201">
                  <c:v>339.48856471978098</c:v>
                </c:pt>
                <c:pt idx="202">
                  <c:v>341.05946609141381</c:v>
                </c:pt>
                <c:pt idx="203">
                  <c:v>339.31572523467429</c:v>
                </c:pt>
                <c:pt idx="204">
                  <c:v>345.57772783081703</c:v>
                </c:pt>
                <c:pt idx="205">
                  <c:v>349.85671334960313</c:v>
                </c:pt>
                <c:pt idx="206">
                  <c:v>363.90549484901857</c:v>
                </c:pt>
                <c:pt idx="207">
                  <c:v>374.59563686935678</c:v>
                </c:pt>
                <c:pt idx="208">
                  <c:v>377.21216749735362</c:v>
                </c:pt>
                <c:pt idx="209">
                  <c:v>388.89328782616212</c:v>
                </c:pt>
                <c:pt idx="210">
                  <c:v>359.92725268660365</c:v>
                </c:pt>
                <c:pt idx="211">
                  <c:v>372.47005955767088</c:v>
                </c:pt>
                <c:pt idx="212">
                  <c:v>380.16306112700505</c:v>
                </c:pt>
                <c:pt idx="213">
                  <c:v>385.15704916356685</c:v>
                </c:pt>
                <c:pt idx="214">
                  <c:v>386.11457191341839</c:v>
                </c:pt>
                <c:pt idx="215">
                  <c:v>350.07113578310583</c:v>
                </c:pt>
                <c:pt idx="216">
                  <c:v>44.54781094400763</c:v>
                </c:pt>
                <c:pt idx="217">
                  <c:v>0</c:v>
                </c:pt>
                <c:pt idx="218">
                  <c:v>0</c:v>
                </c:pt>
                <c:pt idx="219">
                  <c:v>0</c:v>
                </c:pt>
                <c:pt idx="220">
                  <c:v>50.820981965991287</c:v>
                </c:pt>
                <c:pt idx="221">
                  <c:v>336.93525200405321</c:v>
                </c:pt>
                <c:pt idx="222">
                  <c:v>293.19459106467787</c:v>
                </c:pt>
                <c:pt idx="223">
                  <c:v>312.06341755660594</c:v>
                </c:pt>
                <c:pt idx="224">
                  <c:v>335.00531317622858</c:v>
                </c:pt>
                <c:pt idx="225">
                  <c:v>348.08015963520364</c:v>
                </c:pt>
                <c:pt idx="226">
                  <c:v>371.61334886866933</c:v>
                </c:pt>
                <c:pt idx="227">
                  <c:v>345.22722456933138</c:v>
                </c:pt>
                <c:pt idx="228">
                  <c:v>344.40563211072896</c:v>
                </c:pt>
                <c:pt idx="229">
                  <c:v>341.42806956811978</c:v>
                </c:pt>
                <c:pt idx="230">
                  <c:v>364.96927554145373</c:v>
                </c:pt>
                <c:pt idx="231">
                  <c:v>346.50127431229248</c:v>
                </c:pt>
                <c:pt idx="232">
                  <c:v>358.46331925353257</c:v>
                </c:pt>
                <c:pt idx="233">
                  <c:v>369.36031480711063</c:v>
                </c:pt>
                <c:pt idx="234">
                  <c:v>364.62805147842499</c:v>
                </c:pt>
                <c:pt idx="235">
                  <c:v>369.18642925805148</c:v>
                </c:pt>
                <c:pt idx="236">
                  <c:v>367.28755644185031</c:v>
                </c:pt>
                <c:pt idx="237">
                  <c:v>371.07285472981596</c:v>
                </c:pt>
                <c:pt idx="238">
                  <c:v>370.47644694547165</c:v>
                </c:pt>
                <c:pt idx="239">
                  <c:v>369.57643806888694</c:v>
                </c:pt>
                <c:pt idx="240">
                  <c:v>394.39265885980842</c:v>
                </c:pt>
                <c:pt idx="241">
                  <c:v>378.90204099165027</c:v>
                </c:pt>
                <c:pt idx="242">
                  <c:v>376.92950286877311</c:v>
                </c:pt>
                <c:pt idx="243">
                  <c:v>388.13851376700188</c:v>
                </c:pt>
                <c:pt idx="244">
                  <c:v>409.07601140768196</c:v>
                </c:pt>
                <c:pt idx="245">
                  <c:v>484.99073950451839</c:v>
                </c:pt>
                <c:pt idx="246">
                  <c:v>606.37592648610087</c:v>
                </c:pt>
                <c:pt idx="247">
                  <c:v>549.01665731414425</c:v>
                </c:pt>
                <c:pt idx="248">
                  <c:v>547.42751151143636</c:v>
                </c:pt>
                <c:pt idx="249">
                  <c:v>488.51176415476493</c:v>
                </c:pt>
                <c:pt idx="250">
                  <c:v>496.64514356853726</c:v>
                </c:pt>
                <c:pt idx="251">
                  <c:v>411.55016089963078</c:v>
                </c:pt>
                <c:pt idx="252">
                  <c:v>374.80597858672957</c:v>
                </c:pt>
                <c:pt idx="253">
                  <c:v>413.13406786585091</c:v>
                </c:pt>
                <c:pt idx="254">
                  <c:v>412.36193626154824</c:v>
                </c:pt>
                <c:pt idx="255">
                  <c:v>437.46803511844644</c:v>
                </c:pt>
                <c:pt idx="256">
                  <c:v>370.86604888598856</c:v>
                </c:pt>
                <c:pt idx="257">
                  <c:v>375.2788403178738</c:v>
                </c:pt>
                <c:pt idx="258">
                  <c:v>398.76635804709952</c:v>
                </c:pt>
                <c:pt idx="259">
                  <c:v>591.45102121658761</c:v>
                </c:pt>
                <c:pt idx="260">
                  <c:v>1971.3273859151222</c:v>
                </c:pt>
                <c:pt idx="261">
                  <c:v>401.18420262490582</c:v>
                </c:pt>
                <c:pt idx="262">
                  <c:v>407.15062919503555</c:v>
                </c:pt>
                <c:pt idx="263">
                  <c:v>419.05773780701605</c:v>
                </c:pt>
                <c:pt idx="264">
                  <c:v>395.10206432185061</c:v>
                </c:pt>
                <c:pt idx="265">
                  <c:v>333.09838948006194</c:v>
                </c:pt>
                <c:pt idx="266">
                  <c:v>378.3385801190031</c:v>
                </c:pt>
                <c:pt idx="267">
                  <c:v>592.23680759643582</c:v>
                </c:pt>
                <c:pt idx="268">
                  <c:v>366.04201536787588</c:v>
                </c:pt>
                <c:pt idx="269">
                  <c:v>373.89711194300196</c:v>
                </c:pt>
                <c:pt idx="270">
                  <c:v>380.61745909229677</c:v>
                </c:pt>
                <c:pt idx="271">
                  <c:v>387.59761226041468</c:v>
                </c:pt>
                <c:pt idx="272">
                  <c:v>369.37995293747974</c:v>
                </c:pt>
                <c:pt idx="273">
                  <c:v>368.35698716404823</c:v>
                </c:pt>
                <c:pt idx="274">
                  <c:v>372.72576257692964</c:v>
                </c:pt>
                <c:pt idx="275">
                  <c:v>381.34643868228198</c:v>
                </c:pt>
                <c:pt idx="276">
                  <c:v>365.59714824568442</c:v>
                </c:pt>
                <c:pt idx="277">
                  <c:v>370.7388964606933</c:v>
                </c:pt>
                <c:pt idx="278">
                  <c:v>385.62769431605517</c:v>
                </c:pt>
                <c:pt idx="279">
                  <c:v>371.93342350423745</c:v>
                </c:pt>
                <c:pt idx="280">
                  <c:v>356.42351928521549</c:v>
                </c:pt>
                <c:pt idx="281">
                  <c:v>368.83804988329564</c:v>
                </c:pt>
                <c:pt idx="282">
                  <c:v>362.80710712427839</c:v>
                </c:pt>
                <c:pt idx="283">
                  <c:v>355.65803614696807</c:v>
                </c:pt>
                <c:pt idx="284">
                  <c:v>362.33368402022245</c:v>
                </c:pt>
                <c:pt idx="285">
                  <c:v>363.08005684929907</c:v>
                </c:pt>
                <c:pt idx="286">
                  <c:v>358.69773480348249</c:v>
                </c:pt>
                <c:pt idx="287">
                  <c:v>357.43679531488709</c:v>
                </c:pt>
                <c:pt idx="288">
                  <c:v>361.58287367300727</c:v>
                </c:pt>
                <c:pt idx="289">
                  <c:v>357.68284310717348</c:v>
                </c:pt>
                <c:pt idx="290">
                  <c:v>347.04756447660657</c:v>
                </c:pt>
                <c:pt idx="291">
                  <c:v>387.02201818791258</c:v>
                </c:pt>
                <c:pt idx="292">
                  <c:v>373.99722251237165</c:v>
                </c:pt>
                <c:pt idx="293">
                  <c:v>362.30442564382298</c:v>
                </c:pt>
                <c:pt idx="294">
                  <c:v>357.39399837052406</c:v>
                </c:pt>
                <c:pt idx="295">
                  <c:v>364.08676745096568</c:v>
                </c:pt>
                <c:pt idx="296">
                  <c:v>202.29544232573622</c:v>
                </c:pt>
                <c:pt idx="297">
                  <c:v>328.91608416018619</c:v>
                </c:pt>
                <c:pt idx="298">
                  <c:v>347.39199384612078</c:v>
                </c:pt>
                <c:pt idx="299">
                  <c:v>361.40706477778633</c:v>
                </c:pt>
                <c:pt idx="300">
                  <c:v>367.01516151852309</c:v>
                </c:pt>
                <c:pt idx="301">
                  <c:v>364.9043948961114</c:v>
                </c:pt>
                <c:pt idx="302">
                  <c:v>354.22362864729519</c:v>
                </c:pt>
                <c:pt idx="303">
                  <c:v>348.94279549010554</c:v>
                </c:pt>
                <c:pt idx="304">
                  <c:v>359.75870371927715</c:v>
                </c:pt>
                <c:pt idx="305">
                  <c:v>336.09139612959382</c:v>
                </c:pt>
                <c:pt idx="306">
                  <c:v>353.52469872358915</c:v>
                </c:pt>
                <c:pt idx="307">
                  <c:v>350.53005328563245</c:v>
                </c:pt>
                <c:pt idx="308">
                  <c:v>358.31339351564122</c:v>
                </c:pt>
                <c:pt idx="309">
                  <c:v>354.60039208426866</c:v>
                </c:pt>
                <c:pt idx="310">
                  <c:v>345.43480016458079</c:v>
                </c:pt>
                <c:pt idx="311">
                  <c:v>334.25503327487445</c:v>
                </c:pt>
                <c:pt idx="312">
                  <c:v>341.66404671298875</c:v>
                </c:pt>
                <c:pt idx="313">
                  <c:v>343.84963803766942</c:v>
                </c:pt>
                <c:pt idx="314">
                  <c:v>347.53032015913521</c:v>
                </c:pt>
                <c:pt idx="315">
                  <c:v>310.45195167120642</c:v>
                </c:pt>
                <c:pt idx="316">
                  <c:v>351.9387872452121</c:v>
                </c:pt>
                <c:pt idx="317">
                  <c:v>340.30374451779915</c:v>
                </c:pt>
                <c:pt idx="318">
                  <c:v>306.77506412065429</c:v>
                </c:pt>
                <c:pt idx="319">
                  <c:v>24.23758664137214</c:v>
                </c:pt>
                <c:pt idx="320">
                  <c:v>151.29781275918151</c:v>
                </c:pt>
                <c:pt idx="321">
                  <c:v>282.800702637906</c:v>
                </c:pt>
                <c:pt idx="322">
                  <c:v>330.84234372390023</c:v>
                </c:pt>
                <c:pt idx="323">
                  <c:v>328.94401912902504</c:v>
                </c:pt>
                <c:pt idx="324">
                  <c:v>334.31518791068834</c:v>
                </c:pt>
                <c:pt idx="325">
                  <c:v>332.49966213858505</c:v>
                </c:pt>
                <c:pt idx="326">
                  <c:v>333.40563696132983</c:v>
                </c:pt>
                <c:pt idx="327">
                  <c:v>334.37495530292517</c:v>
                </c:pt>
                <c:pt idx="328">
                  <c:v>326.08539947416585</c:v>
                </c:pt>
                <c:pt idx="329">
                  <c:v>327.89382309828068</c:v>
                </c:pt>
                <c:pt idx="330">
                  <c:v>309.29598935774271</c:v>
                </c:pt>
                <c:pt idx="331">
                  <c:v>343.17847522772303</c:v>
                </c:pt>
                <c:pt idx="332">
                  <c:v>333.12845183642764</c:v>
                </c:pt>
                <c:pt idx="333">
                  <c:v>325.12899288309791</c:v>
                </c:pt>
                <c:pt idx="334">
                  <c:v>409.36196568857832</c:v>
                </c:pt>
                <c:pt idx="335">
                  <c:v>506.33863280675422</c:v>
                </c:pt>
                <c:pt idx="336">
                  <c:v>339.14860467476427</c:v>
                </c:pt>
                <c:pt idx="337">
                  <c:v>335.41791228210963</c:v>
                </c:pt>
                <c:pt idx="338">
                  <c:v>342.8657316978838</c:v>
                </c:pt>
                <c:pt idx="339">
                  <c:v>322.71336550960035</c:v>
                </c:pt>
                <c:pt idx="340">
                  <c:v>318.17644880594298</c:v>
                </c:pt>
                <c:pt idx="341">
                  <c:v>320.40694239183097</c:v>
                </c:pt>
                <c:pt idx="342">
                  <c:v>316.58912769824792</c:v>
                </c:pt>
                <c:pt idx="343">
                  <c:v>316.64255940291639</c:v>
                </c:pt>
                <c:pt idx="344">
                  <c:v>312.20297366893629</c:v>
                </c:pt>
                <c:pt idx="345">
                  <c:v>324.60714182053317</c:v>
                </c:pt>
                <c:pt idx="346">
                  <c:v>322.59783288742</c:v>
                </c:pt>
                <c:pt idx="347">
                  <c:v>299.43208257039095</c:v>
                </c:pt>
                <c:pt idx="348">
                  <c:v>313.27140653151542</c:v>
                </c:pt>
                <c:pt idx="349">
                  <c:v>317.14080427490438</c:v>
                </c:pt>
                <c:pt idx="350">
                  <c:v>321.90362430546111</c:v>
                </c:pt>
                <c:pt idx="351">
                  <c:v>316.43490228274572</c:v>
                </c:pt>
                <c:pt idx="352">
                  <c:v>328.10382513928448</c:v>
                </c:pt>
                <c:pt idx="353">
                  <c:v>325.94500523043848</c:v>
                </c:pt>
                <c:pt idx="354">
                  <c:v>321.87884894166604</c:v>
                </c:pt>
                <c:pt idx="355">
                  <c:v>315.36524100858577</c:v>
                </c:pt>
                <c:pt idx="356">
                  <c:v>363.40593021802846</c:v>
                </c:pt>
                <c:pt idx="357">
                  <c:v>383.45682811193569</c:v>
                </c:pt>
                <c:pt idx="358">
                  <c:v>315.5866617954436</c:v>
                </c:pt>
                <c:pt idx="359">
                  <c:v>314.95079947052022</c:v>
                </c:pt>
                <c:pt idx="360">
                  <c:v>316.47000683808454</c:v>
                </c:pt>
                <c:pt idx="361">
                  <c:v>316.41540508778098</c:v>
                </c:pt>
                <c:pt idx="362">
                  <c:v>310.93176406253878</c:v>
                </c:pt>
                <c:pt idx="363">
                  <c:v>377.4348353856156</c:v>
                </c:pt>
                <c:pt idx="364">
                  <c:v>508.54480383443052</c:v>
                </c:pt>
                <c:pt idx="365">
                  <c:v>1626.9131510883394</c:v>
                </c:pt>
                <c:pt idx="366">
                  <c:v>366.1923336443657</c:v>
                </c:pt>
                <c:pt idx="367">
                  <c:v>366.32061184752621</c:v>
                </c:pt>
                <c:pt idx="368">
                  <c:v>373.10781271947747</c:v>
                </c:pt>
                <c:pt idx="369">
                  <c:v>372.65409704078888</c:v>
                </c:pt>
                <c:pt idx="370">
                  <c:v>63.244498171710696</c:v>
                </c:pt>
                <c:pt idx="371">
                  <c:v>31.454895058243245</c:v>
                </c:pt>
                <c:pt idx="372">
                  <c:v>316.58084594276187</c:v>
                </c:pt>
                <c:pt idx="373">
                  <c:v>348.57132848025321</c:v>
                </c:pt>
                <c:pt idx="374">
                  <c:v>340.64310765060202</c:v>
                </c:pt>
                <c:pt idx="375">
                  <c:v>356.88680757489431</c:v>
                </c:pt>
                <c:pt idx="376">
                  <c:v>327.20818156355125</c:v>
                </c:pt>
                <c:pt idx="377">
                  <c:v>343.77429343241067</c:v>
                </c:pt>
                <c:pt idx="378">
                  <c:v>343.33391051527661</c:v>
                </c:pt>
                <c:pt idx="379">
                  <c:v>344.26713415189948</c:v>
                </c:pt>
                <c:pt idx="380">
                  <c:v>344.08645157524643</c:v>
                </c:pt>
                <c:pt idx="381">
                  <c:v>335.53871371161785</c:v>
                </c:pt>
                <c:pt idx="382">
                  <c:v>327.84068099170645</c:v>
                </c:pt>
                <c:pt idx="383">
                  <c:v>342.02577093770702</c:v>
                </c:pt>
                <c:pt idx="384">
                  <c:v>332.49175990876137</c:v>
                </c:pt>
                <c:pt idx="385">
                  <c:v>339.93024920820261</c:v>
                </c:pt>
                <c:pt idx="386">
                  <c:v>340.84079956534896</c:v>
                </c:pt>
                <c:pt idx="387">
                  <c:v>332.09956630679153</c:v>
                </c:pt>
                <c:pt idx="388">
                  <c:v>337.05972234107981</c:v>
                </c:pt>
                <c:pt idx="389">
                  <c:v>349.30680424400373</c:v>
                </c:pt>
                <c:pt idx="390">
                  <c:v>321.8256816548103</c:v>
                </c:pt>
                <c:pt idx="391">
                  <c:v>337.89607370759285</c:v>
                </c:pt>
                <c:pt idx="392">
                  <c:v>341.42186482371363</c:v>
                </c:pt>
                <c:pt idx="393">
                  <c:v>334.75005762465878</c:v>
                </c:pt>
                <c:pt idx="394">
                  <c:v>316.43692604114062</c:v>
                </c:pt>
                <c:pt idx="395">
                  <c:v>323.90512337052814</c:v>
                </c:pt>
                <c:pt idx="396">
                  <c:v>341.8559406098226</c:v>
                </c:pt>
                <c:pt idx="397">
                  <c:v>336.33874260671291</c:v>
                </c:pt>
                <c:pt idx="398">
                  <c:v>344.09239601810384</c:v>
                </c:pt>
                <c:pt idx="399">
                  <c:v>332.77208188899931</c:v>
                </c:pt>
                <c:pt idx="400">
                  <c:v>338.53250464161852</c:v>
                </c:pt>
                <c:pt idx="401">
                  <c:v>333.18284678991949</c:v>
                </c:pt>
                <c:pt idx="402">
                  <c:v>330.33355958448567</c:v>
                </c:pt>
                <c:pt idx="403">
                  <c:v>336.42450882574542</c:v>
                </c:pt>
                <c:pt idx="404">
                  <c:v>343.19087364681167</c:v>
                </c:pt>
                <c:pt idx="405">
                  <c:v>344.6061096480646</c:v>
                </c:pt>
                <c:pt idx="406">
                  <c:v>341.34200315033286</c:v>
                </c:pt>
                <c:pt idx="407">
                  <c:v>343.77974176091152</c:v>
                </c:pt>
                <c:pt idx="408">
                  <c:v>354.56912920378034</c:v>
                </c:pt>
                <c:pt idx="409">
                  <c:v>340.96731947118963</c:v>
                </c:pt>
                <c:pt idx="410">
                  <c:v>346.92353703682397</c:v>
                </c:pt>
                <c:pt idx="411">
                  <c:v>348.47087415276604</c:v>
                </c:pt>
                <c:pt idx="412">
                  <c:v>367.49510090472313</c:v>
                </c:pt>
                <c:pt idx="413">
                  <c:v>362.10513792802158</c:v>
                </c:pt>
                <c:pt idx="414">
                  <c:v>387.6307346128109</c:v>
                </c:pt>
                <c:pt idx="415">
                  <c:v>398.16564013804663</c:v>
                </c:pt>
                <c:pt idx="416">
                  <c:v>407.14599882352064</c:v>
                </c:pt>
                <c:pt idx="417">
                  <c:v>393.95889894571741</c:v>
                </c:pt>
                <c:pt idx="418">
                  <c:v>370.55467933253243</c:v>
                </c:pt>
                <c:pt idx="419">
                  <c:v>376.66099786136039</c:v>
                </c:pt>
                <c:pt idx="420">
                  <c:v>369.97660572118974</c:v>
                </c:pt>
                <c:pt idx="421">
                  <c:v>366.79685805983934</c:v>
                </c:pt>
                <c:pt idx="422">
                  <c:v>370.91587706021278</c:v>
                </c:pt>
                <c:pt idx="423">
                  <c:v>365.92123390324133</c:v>
                </c:pt>
                <c:pt idx="424">
                  <c:v>357.39366395984928</c:v>
                </c:pt>
                <c:pt idx="425">
                  <c:v>367.20897531526617</c:v>
                </c:pt>
                <c:pt idx="426">
                  <c:v>359.5998695563747</c:v>
                </c:pt>
                <c:pt idx="427">
                  <c:v>359.44742839213336</c:v>
                </c:pt>
                <c:pt idx="428">
                  <c:v>353.7808704637697</c:v>
                </c:pt>
                <c:pt idx="429">
                  <c:v>355.68145799297491</c:v>
                </c:pt>
                <c:pt idx="430">
                  <c:v>354.08646184216957</c:v>
                </c:pt>
                <c:pt idx="431">
                  <c:v>347.76541382484794</c:v>
                </c:pt>
                <c:pt idx="432">
                  <c:v>337.22911693970542</c:v>
                </c:pt>
                <c:pt idx="433">
                  <c:v>355.32924868843708</c:v>
                </c:pt>
                <c:pt idx="434">
                  <c:v>359.28933172598624</c:v>
                </c:pt>
                <c:pt idx="435">
                  <c:v>359.64164951879047</c:v>
                </c:pt>
                <c:pt idx="436">
                  <c:v>363.45388286723323</c:v>
                </c:pt>
                <c:pt idx="437">
                  <c:v>367.73695315575213</c:v>
                </c:pt>
                <c:pt idx="438">
                  <c:v>361.40243947356419</c:v>
                </c:pt>
                <c:pt idx="439">
                  <c:v>364.00877448507492</c:v>
                </c:pt>
                <c:pt idx="440">
                  <c:v>354.83829818901376</c:v>
                </c:pt>
                <c:pt idx="441">
                  <c:v>229.57508709502574</c:v>
                </c:pt>
                <c:pt idx="442">
                  <c:v>350.99516223375554</c:v>
                </c:pt>
                <c:pt idx="443">
                  <c:v>355.08954306655437</c:v>
                </c:pt>
                <c:pt idx="444">
                  <c:v>355.09746339553135</c:v>
                </c:pt>
                <c:pt idx="445">
                  <c:v>349.1847611220951</c:v>
                </c:pt>
                <c:pt idx="446">
                  <c:v>356.8273121125265</c:v>
                </c:pt>
                <c:pt idx="447">
                  <c:v>377.27054275327419</c:v>
                </c:pt>
                <c:pt idx="448">
                  <c:v>376.56415685887373</c:v>
                </c:pt>
                <c:pt idx="449">
                  <c:v>380.18831549830878</c:v>
                </c:pt>
                <c:pt idx="450">
                  <c:v>363.38952262999112</c:v>
                </c:pt>
                <c:pt idx="451">
                  <c:v>355.38039616479529</c:v>
                </c:pt>
                <c:pt idx="452">
                  <c:v>348.41170561069242</c:v>
                </c:pt>
                <c:pt idx="453">
                  <c:v>64.016534654598061</c:v>
                </c:pt>
                <c:pt idx="454">
                  <c:v>0</c:v>
                </c:pt>
                <c:pt idx="455">
                  <c:v>75.701765059500048</c:v>
                </c:pt>
                <c:pt idx="456">
                  <c:v>318.83816483328798</c:v>
                </c:pt>
                <c:pt idx="457">
                  <c:v>369.36491318012537</c:v>
                </c:pt>
                <c:pt idx="458">
                  <c:v>365.08630230064483</c:v>
                </c:pt>
                <c:pt idx="459">
                  <c:v>380.00300743666241</c:v>
                </c:pt>
                <c:pt idx="460">
                  <c:v>373.22470186119261</c:v>
                </c:pt>
                <c:pt idx="461">
                  <c:v>374.52232465793821</c:v>
                </c:pt>
                <c:pt idx="462">
                  <c:v>365.08431987360609</c:v>
                </c:pt>
                <c:pt idx="463">
                  <c:v>365.73900160652181</c:v>
                </c:pt>
                <c:pt idx="464">
                  <c:v>376.72278970231446</c:v>
                </c:pt>
                <c:pt idx="465">
                  <c:v>380.41730843493082</c:v>
                </c:pt>
                <c:pt idx="466">
                  <c:v>387.19063017819985</c:v>
                </c:pt>
                <c:pt idx="467">
                  <c:v>492.26656936470732</c:v>
                </c:pt>
                <c:pt idx="468">
                  <c:v>1658.8064246274539</c:v>
                </c:pt>
                <c:pt idx="469">
                  <c:v>342.73139928733156</c:v>
                </c:pt>
                <c:pt idx="470">
                  <c:v>338.80215650904785</c:v>
                </c:pt>
                <c:pt idx="471">
                  <c:v>350.64752616793589</c:v>
                </c:pt>
                <c:pt idx="472">
                  <c:v>360.61024357518801</c:v>
                </c:pt>
                <c:pt idx="473">
                  <c:v>373.09970615769174</c:v>
                </c:pt>
                <c:pt idx="474">
                  <c:v>357.0979186836293</c:v>
                </c:pt>
                <c:pt idx="475">
                  <c:v>339.44653829772113</c:v>
                </c:pt>
                <c:pt idx="476">
                  <c:v>340.64251092160276</c:v>
                </c:pt>
                <c:pt idx="477">
                  <c:v>353.78168094095389</c:v>
                </c:pt>
                <c:pt idx="478">
                  <c:v>338.17559940447342</c:v>
                </c:pt>
                <c:pt idx="479">
                  <c:v>342.86134876577239</c:v>
                </c:pt>
                <c:pt idx="480">
                  <c:v>354.95032085166122</c:v>
                </c:pt>
                <c:pt idx="481">
                  <c:v>361.9526012306676</c:v>
                </c:pt>
                <c:pt idx="482">
                  <c:v>358.9520133117187</c:v>
                </c:pt>
                <c:pt idx="483">
                  <c:v>366.00667528161853</c:v>
                </c:pt>
                <c:pt idx="484">
                  <c:v>331.82349206714423</c:v>
                </c:pt>
                <c:pt idx="485">
                  <c:v>372.92443980756929</c:v>
                </c:pt>
                <c:pt idx="486">
                  <c:v>351.43548108467212</c:v>
                </c:pt>
                <c:pt idx="487">
                  <c:v>358.18350531478239</c:v>
                </c:pt>
                <c:pt idx="488">
                  <c:v>350.1011857010987</c:v>
                </c:pt>
                <c:pt idx="489">
                  <c:v>349.11748526938811</c:v>
                </c:pt>
                <c:pt idx="490">
                  <c:v>364.37802158073396</c:v>
                </c:pt>
                <c:pt idx="491">
                  <c:v>359.73726392005142</c:v>
                </c:pt>
                <c:pt idx="492">
                  <c:v>365.20433911130891</c:v>
                </c:pt>
                <c:pt idx="493">
                  <c:v>476.91906481069287</c:v>
                </c:pt>
                <c:pt idx="494">
                  <c:v>593.3493473104611</c:v>
                </c:pt>
                <c:pt idx="495">
                  <c:v>1214.2692572280787</c:v>
                </c:pt>
                <c:pt idx="496">
                  <c:v>1505.2078861953989</c:v>
                </c:pt>
                <c:pt idx="497">
                  <c:v>0</c:v>
                </c:pt>
                <c:pt idx="498">
                  <c:v>11316.420766194698</c:v>
                </c:pt>
                <c:pt idx="499">
                  <c:v>358.01196207231186</c:v>
                </c:pt>
                <c:pt idx="500">
                  <c:v>342.34019861409922</c:v>
                </c:pt>
                <c:pt idx="501">
                  <c:v>350.21904916339031</c:v>
                </c:pt>
                <c:pt idx="502">
                  <c:v>346.71635897722479</c:v>
                </c:pt>
                <c:pt idx="503">
                  <c:v>335.48770411709029</c:v>
                </c:pt>
                <c:pt idx="504">
                  <c:v>353.71877207831955</c:v>
                </c:pt>
                <c:pt idx="505">
                  <c:v>351.39619784801567</c:v>
                </c:pt>
                <c:pt idx="506">
                  <c:v>641.23583569015864</c:v>
                </c:pt>
                <c:pt idx="507">
                  <c:v>351.63912497113404</c:v>
                </c:pt>
                <c:pt idx="508">
                  <c:v>369.07807264703212</c:v>
                </c:pt>
                <c:pt idx="509">
                  <c:v>347.92189429660237</c:v>
                </c:pt>
                <c:pt idx="510">
                  <c:v>332.17865718040275</c:v>
                </c:pt>
                <c:pt idx="511">
                  <c:v>343.00928614684119</c:v>
                </c:pt>
                <c:pt idx="512">
                  <c:v>352.76872065598923</c:v>
                </c:pt>
                <c:pt idx="513">
                  <c:v>347.98351516284811</c:v>
                </c:pt>
                <c:pt idx="514">
                  <c:v>354.29068803649193</c:v>
                </c:pt>
                <c:pt idx="515">
                  <c:v>344.40533501617404</c:v>
                </c:pt>
                <c:pt idx="516">
                  <c:v>343.16770453656414</c:v>
                </c:pt>
                <c:pt idx="517">
                  <c:v>349.39433825125678</c:v>
                </c:pt>
                <c:pt idx="518">
                  <c:v>350.34827927677907</c:v>
                </c:pt>
                <c:pt idx="519">
                  <c:v>343.31935707382758</c:v>
                </c:pt>
                <c:pt idx="520">
                  <c:v>341.9869211879971</c:v>
                </c:pt>
                <c:pt idx="521">
                  <c:v>347.74054220292697</c:v>
                </c:pt>
                <c:pt idx="522">
                  <c:v>350.09506657684716</c:v>
                </c:pt>
                <c:pt idx="523">
                  <c:v>349.7545349249487</c:v>
                </c:pt>
                <c:pt idx="524">
                  <c:v>320.52675484821594</c:v>
                </c:pt>
                <c:pt idx="525">
                  <c:v>336.82883013991409</c:v>
                </c:pt>
                <c:pt idx="526">
                  <c:v>273.31964005733658</c:v>
                </c:pt>
                <c:pt idx="527">
                  <c:v>356.26023266947641</c:v>
                </c:pt>
                <c:pt idx="528">
                  <c:v>355.21505993144297</c:v>
                </c:pt>
                <c:pt idx="529">
                  <c:v>368.23996154529806</c:v>
                </c:pt>
                <c:pt idx="530">
                  <c:v>363.44930048389961</c:v>
                </c:pt>
                <c:pt idx="531">
                  <c:v>387.38989281426382</c:v>
                </c:pt>
                <c:pt idx="532">
                  <c:v>363.20886600470465</c:v>
                </c:pt>
                <c:pt idx="533">
                  <c:v>375.47363088414085</c:v>
                </c:pt>
                <c:pt idx="534">
                  <c:v>356.87643744265785</c:v>
                </c:pt>
                <c:pt idx="535">
                  <c:v>355.52290112424282</c:v>
                </c:pt>
                <c:pt idx="536">
                  <c:v>357.28201411231515</c:v>
                </c:pt>
                <c:pt idx="537">
                  <c:v>366.76979148036139</c:v>
                </c:pt>
                <c:pt idx="538">
                  <c:v>370.37578991099349</c:v>
                </c:pt>
                <c:pt idx="539">
                  <c:v>370.95706643407112</c:v>
                </c:pt>
                <c:pt idx="540">
                  <c:v>370.94040932555259</c:v>
                </c:pt>
                <c:pt idx="541">
                  <c:v>375.98574700468095</c:v>
                </c:pt>
                <c:pt idx="542">
                  <c:v>389.68579109696162</c:v>
                </c:pt>
                <c:pt idx="543">
                  <c:v>384.63559917071331</c:v>
                </c:pt>
                <c:pt idx="544">
                  <c:v>396.88599643024457</c:v>
                </c:pt>
                <c:pt idx="545">
                  <c:v>369.04184255495085</c:v>
                </c:pt>
                <c:pt idx="546">
                  <c:v>374.87677114294956</c:v>
                </c:pt>
                <c:pt idx="547">
                  <c:v>370.98570016823425</c:v>
                </c:pt>
                <c:pt idx="548">
                  <c:v>367.86157655021469</c:v>
                </c:pt>
                <c:pt idx="549">
                  <c:v>368.49194799683829</c:v>
                </c:pt>
                <c:pt idx="550">
                  <c:v>346.4315533678037</c:v>
                </c:pt>
                <c:pt idx="551">
                  <c:v>344.47767796267408</c:v>
                </c:pt>
                <c:pt idx="552">
                  <c:v>338.55773966694153</c:v>
                </c:pt>
                <c:pt idx="553">
                  <c:v>334.70450918589057</c:v>
                </c:pt>
                <c:pt idx="554">
                  <c:v>342.97793067966228</c:v>
                </c:pt>
                <c:pt idx="555">
                  <c:v>358.54102620967245</c:v>
                </c:pt>
                <c:pt idx="556">
                  <c:v>365.74071664018487</c:v>
                </c:pt>
                <c:pt idx="557">
                  <c:v>364.95994451615798</c:v>
                </c:pt>
                <c:pt idx="558">
                  <c:v>350.11711875676212</c:v>
                </c:pt>
                <c:pt idx="559">
                  <c:v>350.63553468564101</c:v>
                </c:pt>
                <c:pt idx="560">
                  <c:v>351.97267047223971</c:v>
                </c:pt>
                <c:pt idx="561">
                  <c:v>351.51078196698137</c:v>
                </c:pt>
                <c:pt idx="562">
                  <c:v>369.36743547528812</c:v>
                </c:pt>
                <c:pt idx="563">
                  <c:v>367.07706375490363</c:v>
                </c:pt>
                <c:pt idx="564">
                  <c:v>378.28315878474967</c:v>
                </c:pt>
                <c:pt idx="565">
                  <c:v>350.1670485661009</c:v>
                </c:pt>
                <c:pt idx="566">
                  <c:v>351.47220813748874</c:v>
                </c:pt>
                <c:pt idx="567">
                  <c:v>374.17824445204303</c:v>
                </c:pt>
                <c:pt idx="568">
                  <c:v>383.67010323915252</c:v>
                </c:pt>
                <c:pt idx="569">
                  <c:v>391.41310191981285</c:v>
                </c:pt>
                <c:pt idx="570">
                  <c:v>494.24345248444598</c:v>
                </c:pt>
                <c:pt idx="571">
                  <c:v>395.16501920230019</c:v>
                </c:pt>
                <c:pt idx="572">
                  <c:v>400.1274808562755</c:v>
                </c:pt>
                <c:pt idx="573">
                  <c:v>371.88900189295572</c:v>
                </c:pt>
                <c:pt idx="574">
                  <c:v>373.81606650679169</c:v>
                </c:pt>
                <c:pt idx="575">
                  <c:v>364.70923052543344</c:v>
                </c:pt>
                <c:pt idx="576">
                  <c:v>372.21353402442446</c:v>
                </c:pt>
                <c:pt idx="577">
                  <c:v>385.76133898440219</c:v>
                </c:pt>
                <c:pt idx="578">
                  <c:v>381.58689126815625</c:v>
                </c:pt>
                <c:pt idx="579">
                  <c:v>397.12025851334238</c:v>
                </c:pt>
                <c:pt idx="580">
                  <c:v>399.02734114260596</c:v>
                </c:pt>
                <c:pt idx="581">
                  <c:v>410.65683243631992</c:v>
                </c:pt>
                <c:pt idx="582">
                  <c:v>392.96164598708617</c:v>
                </c:pt>
                <c:pt idx="583">
                  <c:v>369.15065739532349</c:v>
                </c:pt>
                <c:pt idx="584">
                  <c:v>386.01798844419949</c:v>
                </c:pt>
                <c:pt idx="585">
                  <c:v>388.52720818926571</c:v>
                </c:pt>
                <c:pt idx="586">
                  <c:v>394.96022787709694</c:v>
                </c:pt>
                <c:pt idx="587">
                  <c:v>372.71687949552825</c:v>
                </c:pt>
                <c:pt idx="588">
                  <c:v>372.356336026549</c:v>
                </c:pt>
                <c:pt idx="589">
                  <c:v>375.62588420927557</c:v>
                </c:pt>
                <c:pt idx="590">
                  <c:v>234.51212534739554</c:v>
                </c:pt>
                <c:pt idx="591">
                  <c:v>377.01011447387248</c:v>
                </c:pt>
                <c:pt idx="592">
                  <c:v>377.31204513947324</c:v>
                </c:pt>
                <c:pt idx="593">
                  <c:v>357.89273531162644</c:v>
                </c:pt>
                <c:pt idx="594">
                  <c:v>367.45874000797335</c:v>
                </c:pt>
                <c:pt idx="595">
                  <c:v>373.39660908024831</c:v>
                </c:pt>
                <c:pt idx="596">
                  <c:v>364.75680476601144</c:v>
                </c:pt>
                <c:pt idx="597">
                  <c:v>351.45192749511608</c:v>
                </c:pt>
                <c:pt idx="598">
                  <c:v>0.28313893092797177</c:v>
                </c:pt>
                <c:pt idx="599">
                  <c:v>0</c:v>
                </c:pt>
                <c:pt idx="600">
                  <c:v>114.69151730197487</c:v>
                </c:pt>
                <c:pt idx="601">
                  <c:v>107.77057637947594</c:v>
                </c:pt>
                <c:pt idx="602">
                  <c:v>228.7908049501695</c:v>
                </c:pt>
                <c:pt idx="603">
                  <c:v>286.9579768556867</c:v>
                </c:pt>
                <c:pt idx="604">
                  <c:v>336.01774991420604</c:v>
                </c:pt>
                <c:pt idx="605">
                  <c:v>326.23919747704929</c:v>
                </c:pt>
                <c:pt idx="606">
                  <c:v>335.93275187318477</c:v>
                </c:pt>
                <c:pt idx="607">
                  <c:v>378.20765741974202</c:v>
                </c:pt>
                <c:pt idx="608">
                  <c:v>340.50565422529843</c:v>
                </c:pt>
                <c:pt idx="609">
                  <c:v>342.28244688255057</c:v>
                </c:pt>
                <c:pt idx="610">
                  <c:v>351.43589447760166</c:v>
                </c:pt>
                <c:pt idx="611">
                  <c:v>347.88862745375138</c:v>
                </c:pt>
                <c:pt idx="612">
                  <c:v>343.03136224456614</c:v>
                </c:pt>
                <c:pt idx="613">
                  <c:v>309.08614945336325</c:v>
                </c:pt>
                <c:pt idx="614">
                  <c:v>354.32123238641714</c:v>
                </c:pt>
                <c:pt idx="615">
                  <c:v>359.41446655454445</c:v>
                </c:pt>
                <c:pt idx="616">
                  <c:v>394.59206950298358</c:v>
                </c:pt>
                <c:pt idx="617">
                  <c:v>409.13765394635857</c:v>
                </c:pt>
                <c:pt idx="618">
                  <c:v>386.48800012630528</c:v>
                </c:pt>
                <c:pt idx="619">
                  <c:v>388.1002274100249</c:v>
                </c:pt>
                <c:pt idx="620">
                  <c:v>386.56247430616969</c:v>
                </c:pt>
                <c:pt idx="621">
                  <c:v>394.99831738978651</c:v>
                </c:pt>
                <c:pt idx="622">
                  <c:v>359.48076289525471</c:v>
                </c:pt>
                <c:pt idx="623">
                  <c:v>383.21220807357128</c:v>
                </c:pt>
                <c:pt idx="624">
                  <c:v>388.87287969901666</c:v>
                </c:pt>
                <c:pt idx="625">
                  <c:v>418.37927444870138</c:v>
                </c:pt>
                <c:pt idx="626">
                  <c:v>437.23990998563869</c:v>
                </c:pt>
                <c:pt idx="627">
                  <c:v>442.4688415197644</c:v>
                </c:pt>
                <c:pt idx="628">
                  <c:v>66.335924657456857</c:v>
                </c:pt>
                <c:pt idx="629">
                  <c:v>310.19851552016456</c:v>
                </c:pt>
                <c:pt idx="630">
                  <c:v>327.17693873902255</c:v>
                </c:pt>
                <c:pt idx="631">
                  <c:v>324.17123131809745</c:v>
                </c:pt>
                <c:pt idx="632">
                  <c:v>315.40775927505933</c:v>
                </c:pt>
                <c:pt idx="633">
                  <c:v>314.92137430251313</c:v>
                </c:pt>
                <c:pt idx="634">
                  <c:v>311.03647933882399</c:v>
                </c:pt>
                <c:pt idx="635">
                  <c:v>319.40459794769436</c:v>
                </c:pt>
                <c:pt idx="636">
                  <c:v>317.89935956047901</c:v>
                </c:pt>
                <c:pt idx="637">
                  <c:v>336.52231908219221</c:v>
                </c:pt>
                <c:pt idx="638">
                  <c:v>413.05242129426625</c:v>
                </c:pt>
                <c:pt idx="639">
                  <c:v>474.74699724989608</c:v>
                </c:pt>
                <c:pt idx="640">
                  <c:v>527.29287805246179</c:v>
                </c:pt>
                <c:pt idx="641">
                  <c:v>1523.4718574762298</c:v>
                </c:pt>
                <c:pt idx="642">
                  <c:v>0</c:v>
                </c:pt>
                <c:pt idx="643">
                  <c:v>1881.172954195524</c:v>
                </c:pt>
                <c:pt idx="644">
                  <c:v>402.62807287865672</c:v>
                </c:pt>
                <c:pt idx="645">
                  <c:v>386.99240485783554</c:v>
                </c:pt>
                <c:pt idx="646">
                  <c:v>392.638825847627</c:v>
                </c:pt>
                <c:pt idx="647">
                  <c:v>413.39509860901666</c:v>
                </c:pt>
                <c:pt idx="648">
                  <c:v>385.56008921633099</c:v>
                </c:pt>
                <c:pt idx="649">
                  <c:v>361.51415764787976</c:v>
                </c:pt>
                <c:pt idx="650">
                  <c:v>382.86343142424226</c:v>
                </c:pt>
                <c:pt idx="651">
                  <c:v>368.1323632190967</c:v>
                </c:pt>
                <c:pt idx="652">
                  <c:v>372.50194039983671</c:v>
                </c:pt>
                <c:pt idx="653">
                  <c:v>360.36319971294381</c:v>
                </c:pt>
                <c:pt idx="654">
                  <c:v>355.80474996374454</c:v>
                </c:pt>
                <c:pt idx="655">
                  <c:v>565.93690117164181</c:v>
                </c:pt>
                <c:pt idx="656">
                  <c:v>367.53487821906452</c:v>
                </c:pt>
                <c:pt idx="657">
                  <c:v>364.79737155355434</c:v>
                </c:pt>
                <c:pt idx="658">
                  <c:v>370.43606614360942</c:v>
                </c:pt>
                <c:pt idx="659">
                  <c:v>385.03425400263353</c:v>
                </c:pt>
                <c:pt idx="660">
                  <c:v>372.8894837461981</c:v>
                </c:pt>
                <c:pt idx="661">
                  <c:v>385.30476632185201</c:v>
                </c:pt>
                <c:pt idx="662">
                  <c:v>360.75351860163386</c:v>
                </c:pt>
                <c:pt idx="663">
                  <c:v>360.58647461006814</c:v>
                </c:pt>
                <c:pt idx="664">
                  <c:v>357.00262235880979</c:v>
                </c:pt>
                <c:pt idx="665">
                  <c:v>351.75009790566338</c:v>
                </c:pt>
                <c:pt idx="666">
                  <c:v>367.97464848089317</c:v>
                </c:pt>
                <c:pt idx="667">
                  <c:v>362.35393540107901</c:v>
                </c:pt>
                <c:pt idx="668">
                  <c:v>354.70112945309177</c:v>
                </c:pt>
                <c:pt idx="669">
                  <c:v>372.47590994296007</c:v>
                </c:pt>
                <c:pt idx="670">
                  <c:v>344.36393330447623</c:v>
                </c:pt>
                <c:pt idx="671">
                  <c:v>364.90086060228123</c:v>
                </c:pt>
                <c:pt idx="672">
                  <c:v>353.91532400562556</c:v>
                </c:pt>
                <c:pt idx="673">
                  <c:v>342.93018088428903</c:v>
                </c:pt>
                <c:pt idx="674">
                  <c:v>355.68025866460215</c:v>
                </c:pt>
                <c:pt idx="675">
                  <c:v>341.37591317619734</c:v>
                </c:pt>
                <c:pt idx="676">
                  <c:v>348.44115141366075</c:v>
                </c:pt>
                <c:pt idx="677">
                  <c:v>339.42574574902625</c:v>
                </c:pt>
                <c:pt idx="678">
                  <c:v>324.94472742254175</c:v>
                </c:pt>
                <c:pt idx="679">
                  <c:v>344.52575901357062</c:v>
                </c:pt>
                <c:pt idx="680">
                  <c:v>399.79996985214302</c:v>
                </c:pt>
                <c:pt idx="681">
                  <c:v>400.06635615613095</c:v>
                </c:pt>
                <c:pt idx="682">
                  <c:v>398.0087082981064</c:v>
                </c:pt>
                <c:pt idx="683">
                  <c:v>377.25094405040778</c:v>
                </c:pt>
                <c:pt idx="684">
                  <c:v>419.81767078743081</c:v>
                </c:pt>
                <c:pt idx="685">
                  <c:v>368.4866317493109</c:v>
                </c:pt>
                <c:pt idx="686">
                  <c:v>392.06657813043239</c:v>
                </c:pt>
                <c:pt idx="687">
                  <c:v>347.0887643644507</c:v>
                </c:pt>
                <c:pt idx="688">
                  <c:v>328.61650280151355</c:v>
                </c:pt>
                <c:pt idx="689">
                  <c:v>333.56170242955335</c:v>
                </c:pt>
                <c:pt idx="690">
                  <c:v>332.24354275701984</c:v>
                </c:pt>
                <c:pt idx="691">
                  <c:v>329.52218845700969</c:v>
                </c:pt>
                <c:pt idx="692">
                  <c:v>340.17858511538964</c:v>
                </c:pt>
                <c:pt idx="693">
                  <c:v>342.32482516739515</c:v>
                </c:pt>
                <c:pt idx="694">
                  <c:v>336.9637803602904</c:v>
                </c:pt>
                <c:pt idx="695">
                  <c:v>333.92575780086224</c:v>
                </c:pt>
                <c:pt idx="696">
                  <c:v>330.27930153737822</c:v>
                </c:pt>
                <c:pt idx="697">
                  <c:v>350.61538959433659</c:v>
                </c:pt>
                <c:pt idx="698">
                  <c:v>348.32779443057996</c:v>
                </c:pt>
                <c:pt idx="699">
                  <c:v>343.77641900095097</c:v>
                </c:pt>
                <c:pt idx="700">
                  <c:v>347.12513742553568</c:v>
                </c:pt>
                <c:pt idx="701">
                  <c:v>366.47812882256807</c:v>
                </c:pt>
                <c:pt idx="702">
                  <c:v>370.5385527373187</c:v>
                </c:pt>
                <c:pt idx="703">
                  <c:v>335.83702865615436</c:v>
                </c:pt>
                <c:pt idx="704">
                  <c:v>329.22111871692039</c:v>
                </c:pt>
                <c:pt idx="705">
                  <c:v>326.38844841089372</c:v>
                </c:pt>
                <c:pt idx="706">
                  <c:v>345.72750723393727</c:v>
                </c:pt>
                <c:pt idx="707">
                  <c:v>330.37981962926216</c:v>
                </c:pt>
                <c:pt idx="708">
                  <c:v>364.87964674024272</c:v>
                </c:pt>
                <c:pt idx="709">
                  <c:v>356.01610097360646</c:v>
                </c:pt>
                <c:pt idx="710">
                  <c:v>339.31736667597767</c:v>
                </c:pt>
                <c:pt idx="711">
                  <c:v>335.47630889006109</c:v>
                </c:pt>
                <c:pt idx="712">
                  <c:v>354.4231619054591</c:v>
                </c:pt>
                <c:pt idx="713">
                  <c:v>339.97498696123785</c:v>
                </c:pt>
                <c:pt idx="714">
                  <c:v>335.80649534252427</c:v>
                </c:pt>
                <c:pt idx="715">
                  <c:v>332.34548735777878</c:v>
                </c:pt>
                <c:pt idx="716">
                  <c:v>326.33982790877343</c:v>
                </c:pt>
                <c:pt idx="717">
                  <c:v>337.25150394949787</c:v>
                </c:pt>
                <c:pt idx="718">
                  <c:v>332.17421372809156</c:v>
                </c:pt>
                <c:pt idx="719">
                  <c:v>345.69297267911116</c:v>
                </c:pt>
                <c:pt idx="720">
                  <c:v>351.36224811307613</c:v>
                </c:pt>
                <c:pt idx="721">
                  <c:v>338.2282889920973</c:v>
                </c:pt>
                <c:pt idx="722">
                  <c:v>344.06328325988517</c:v>
                </c:pt>
                <c:pt idx="723">
                  <c:v>356.7039290356459</c:v>
                </c:pt>
                <c:pt idx="724">
                  <c:v>402.77551158019787</c:v>
                </c:pt>
                <c:pt idx="725">
                  <c:v>2672.2996481294922</c:v>
                </c:pt>
                <c:pt idx="726">
                  <c:v>1747.6101716864957</c:v>
                </c:pt>
                <c:pt idx="727">
                  <c:v>363.41483308887348</c:v>
                </c:pt>
                <c:pt idx="728">
                  <c:v>352.53877507271949</c:v>
                </c:pt>
                <c:pt idx="729">
                  <c:v>351.43957223867329</c:v>
                </c:pt>
                <c:pt idx="730">
                  <c:v>351.38662093141374</c:v>
                </c:pt>
                <c:pt idx="731">
                  <c:v>335.68565548394417</c:v>
                </c:pt>
                <c:pt idx="732">
                  <c:v>357.59301860000909</c:v>
                </c:pt>
                <c:pt idx="733">
                  <c:v>345.5791601471272</c:v>
                </c:pt>
                <c:pt idx="734">
                  <c:v>346.31333467665723</c:v>
                </c:pt>
                <c:pt idx="735">
                  <c:v>337.3121701782444</c:v>
                </c:pt>
                <c:pt idx="736">
                  <c:v>347.97691352283351</c:v>
                </c:pt>
                <c:pt idx="737">
                  <c:v>340.10617220941816</c:v>
                </c:pt>
                <c:pt idx="738">
                  <c:v>329.94456126493367</c:v>
                </c:pt>
                <c:pt idx="739">
                  <c:v>333.04552083961585</c:v>
                </c:pt>
                <c:pt idx="740">
                  <c:v>316.81717619493963</c:v>
                </c:pt>
                <c:pt idx="741">
                  <c:v>277.49829494463455</c:v>
                </c:pt>
                <c:pt idx="742">
                  <c:v>315.26426964253034</c:v>
                </c:pt>
                <c:pt idx="743">
                  <c:v>343.79931877212226</c:v>
                </c:pt>
                <c:pt idx="744">
                  <c:v>345.75247833091902</c:v>
                </c:pt>
                <c:pt idx="745">
                  <c:v>345.08896959407264</c:v>
                </c:pt>
                <c:pt idx="746">
                  <c:v>346.85140392019582</c:v>
                </c:pt>
                <c:pt idx="747">
                  <c:v>347.84018526026097</c:v>
                </c:pt>
                <c:pt idx="748">
                  <c:v>340.51782096418816</c:v>
                </c:pt>
                <c:pt idx="749">
                  <c:v>355.67470834991002</c:v>
                </c:pt>
                <c:pt idx="750">
                  <c:v>330.04791740473337</c:v>
                </c:pt>
                <c:pt idx="751">
                  <c:v>331.02823886542768</c:v>
                </c:pt>
                <c:pt idx="752">
                  <c:v>347.58440955658705</c:v>
                </c:pt>
                <c:pt idx="753">
                  <c:v>348.19201241888976</c:v>
                </c:pt>
                <c:pt idx="754">
                  <c:v>349.27799938743755</c:v>
                </c:pt>
                <c:pt idx="755">
                  <c:v>332.68948818387764</c:v>
                </c:pt>
                <c:pt idx="756">
                  <c:v>355.33497640133299</c:v>
                </c:pt>
                <c:pt idx="757">
                  <c:v>347.01296660870963</c:v>
                </c:pt>
                <c:pt idx="758">
                  <c:v>355.63821818867359</c:v>
                </c:pt>
                <c:pt idx="759">
                  <c:v>343.74342499788776</c:v>
                </c:pt>
                <c:pt idx="760">
                  <c:v>343.18237375040781</c:v>
                </c:pt>
                <c:pt idx="761">
                  <c:v>360.10646848951905</c:v>
                </c:pt>
                <c:pt idx="762">
                  <c:v>365.14486372920459</c:v>
                </c:pt>
                <c:pt idx="763">
                  <c:v>360.45880091851916</c:v>
                </c:pt>
                <c:pt idx="764">
                  <c:v>358.51261098475817</c:v>
                </c:pt>
                <c:pt idx="765">
                  <c:v>369.89702448298948</c:v>
                </c:pt>
                <c:pt idx="766">
                  <c:v>352.98871331365001</c:v>
                </c:pt>
                <c:pt idx="767">
                  <c:v>378.48735625752812</c:v>
                </c:pt>
                <c:pt idx="768">
                  <c:v>367.00700284929627</c:v>
                </c:pt>
                <c:pt idx="769">
                  <c:v>363.57156752876989</c:v>
                </c:pt>
                <c:pt idx="770">
                  <c:v>367.46074877269291</c:v>
                </c:pt>
                <c:pt idx="771">
                  <c:v>364.63828837087567</c:v>
                </c:pt>
                <c:pt idx="772">
                  <c:v>366.19821288503641</c:v>
                </c:pt>
                <c:pt idx="773">
                  <c:v>352.38177547291531</c:v>
                </c:pt>
                <c:pt idx="774">
                  <c:v>348.87611007477176</c:v>
                </c:pt>
                <c:pt idx="775">
                  <c:v>350.79614154664483</c:v>
                </c:pt>
                <c:pt idx="776">
                  <c:v>355.39198280003984</c:v>
                </c:pt>
                <c:pt idx="777">
                  <c:v>363.93032044411439</c:v>
                </c:pt>
                <c:pt idx="778">
                  <c:v>353.89470286598288</c:v>
                </c:pt>
                <c:pt idx="779">
                  <c:v>349.98319699997251</c:v>
                </c:pt>
                <c:pt idx="780">
                  <c:v>348.02795538245527</c:v>
                </c:pt>
                <c:pt idx="781">
                  <c:v>351.7392443910511</c:v>
                </c:pt>
                <c:pt idx="782">
                  <c:v>355.24503984448796</c:v>
                </c:pt>
                <c:pt idx="783">
                  <c:v>335.42605293429006</c:v>
                </c:pt>
                <c:pt idx="784">
                  <c:v>361.76221526183633</c:v>
                </c:pt>
                <c:pt idx="785">
                  <c:v>340.06259825206803</c:v>
                </c:pt>
                <c:pt idx="786">
                  <c:v>370.76448569904841</c:v>
                </c:pt>
                <c:pt idx="787">
                  <c:v>377.82255044680039</c:v>
                </c:pt>
                <c:pt idx="788">
                  <c:v>415.47828714916352</c:v>
                </c:pt>
                <c:pt idx="789">
                  <c:v>1179.3179669305125</c:v>
                </c:pt>
                <c:pt idx="790">
                  <c:v>359.91147268744356</c:v>
                </c:pt>
                <c:pt idx="791">
                  <c:v>345.96103703394834</c:v>
                </c:pt>
                <c:pt idx="792">
                  <c:v>359.45571415908546</c:v>
                </c:pt>
                <c:pt idx="793">
                  <c:v>370.45161570866765</c:v>
                </c:pt>
                <c:pt idx="794">
                  <c:v>365.0406841539081</c:v>
                </c:pt>
                <c:pt idx="795">
                  <c:v>71.602671717716007</c:v>
                </c:pt>
                <c:pt idx="796">
                  <c:v>104.82203822768749</c:v>
                </c:pt>
                <c:pt idx="797">
                  <c:v>379.91980498091624</c:v>
                </c:pt>
                <c:pt idx="798">
                  <c:v>373.74126928096126</c:v>
                </c:pt>
                <c:pt idx="799">
                  <c:v>339.10721666399945</c:v>
                </c:pt>
                <c:pt idx="800">
                  <c:v>385.77829391201175</c:v>
                </c:pt>
                <c:pt idx="801">
                  <c:v>369.73535848800287</c:v>
                </c:pt>
                <c:pt idx="802">
                  <c:v>382.67723497949379</c:v>
                </c:pt>
                <c:pt idx="803">
                  <c:v>389.6918827329452</c:v>
                </c:pt>
                <c:pt idx="804">
                  <c:v>383.3535720042106</c:v>
                </c:pt>
                <c:pt idx="805">
                  <c:v>407.79417404989988</c:v>
                </c:pt>
                <c:pt idx="806">
                  <c:v>396.74767437722346</c:v>
                </c:pt>
                <c:pt idx="807">
                  <c:v>384.03353936090372</c:v>
                </c:pt>
                <c:pt idx="808">
                  <c:v>370.63815178761229</c:v>
                </c:pt>
                <c:pt idx="809">
                  <c:v>378.2596661878577</c:v>
                </c:pt>
                <c:pt idx="810">
                  <c:v>382.08199675523394</c:v>
                </c:pt>
                <c:pt idx="811">
                  <c:v>374.6734077493864</c:v>
                </c:pt>
                <c:pt idx="812">
                  <c:v>386.765634781605</c:v>
                </c:pt>
                <c:pt idx="813">
                  <c:v>405.27610938618267</c:v>
                </c:pt>
                <c:pt idx="814">
                  <c:v>397.89338627518754</c:v>
                </c:pt>
                <c:pt idx="815">
                  <c:v>398.70765251718177</c:v>
                </c:pt>
                <c:pt idx="816">
                  <c:v>390.54140145195038</c:v>
                </c:pt>
                <c:pt idx="817">
                  <c:v>371.97306981134773</c:v>
                </c:pt>
                <c:pt idx="818">
                  <c:v>374.21347053434766</c:v>
                </c:pt>
                <c:pt idx="819">
                  <c:v>379.12726376197855</c:v>
                </c:pt>
                <c:pt idx="820">
                  <c:v>375.62679039751839</c:v>
                </c:pt>
                <c:pt idx="821">
                  <c:v>387.9345511810485</c:v>
                </c:pt>
                <c:pt idx="822">
                  <c:v>382.67809571471997</c:v>
                </c:pt>
                <c:pt idx="823">
                  <c:v>383.72738257721164</c:v>
                </c:pt>
                <c:pt idx="824">
                  <c:v>385.66071310877078</c:v>
                </c:pt>
                <c:pt idx="825">
                  <c:v>399.03580810799497</c:v>
                </c:pt>
                <c:pt idx="826">
                  <c:v>382.220126688969</c:v>
                </c:pt>
                <c:pt idx="827">
                  <c:v>377.28827172734191</c:v>
                </c:pt>
                <c:pt idx="828">
                  <c:v>244.15101208862072</c:v>
                </c:pt>
                <c:pt idx="829">
                  <c:v>358.67005110197925</c:v>
                </c:pt>
                <c:pt idx="830">
                  <c:v>407.74645731395003</c:v>
                </c:pt>
                <c:pt idx="831">
                  <c:v>414.51922347797023</c:v>
                </c:pt>
                <c:pt idx="832">
                  <c:v>381.10062884332456</c:v>
                </c:pt>
                <c:pt idx="833">
                  <c:v>404.73632800111221</c:v>
                </c:pt>
                <c:pt idx="834">
                  <c:v>396.91771124717945</c:v>
                </c:pt>
                <c:pt idx="835">
                  <c:v>370.46916237259308</c:v>
                </c:pt>
                <c:pt idx="836">
                  <c:v>376.35125568490378</c:v>
                </c:pt>
                <c:pt idx="837">
                  <c:v>368.88382653767047</c:v>
                </c:pt>
                <c:pt idx="838">
                  <c:v>361.04295454582893</c:v>
                </c:pt>
                <c:pt idx="839">
                  <c:v>366.63671884796815</c:v>
                </c:pt>
                <c:pt idx="840">
                  <c:v>367.08627874282229</c:v>
                </c:pt>
                <c:pt idx="841">
                  <c:v>365.782124987119</c:v>
                </c:pt>
                <c:pt idx="842">
                  <c:v>365.33279105203667</c:v>
                </c:pt>
                <c:pt idx="843">
                  <c:v>363.33394002655132</c:v>
                </c:pt>
                <c:pt idx="844">
                  <c:v>368.33669576699168</c:v>
                </c:pt>
                <c:pt idx="845">
                  <c:v>360.13146812590054</c:v>
                </c:pt>
                <c:pt idx="846">
                  <c:v>377.55262978525707</c:v>
                </c:pt>
                <c:pt idx="847">
                  <c:v>349.91509453852774</c:v>
                </c:pt>
                <c:pt idx="848">
                  <c:v>346.59264059034052</c:v>
                </c:pt>
                <c:pt idx="849">
                  <c:v>355.86235244290185</c:v>
                </c:pt>
                <c:pt idx="850">
                  <c:v>357.61491528428058</c:v>
                </c:pt>
                <c:pt idx="851">
                  <c:v>354.02537982155047</c:v>
                </c:pt>
                <c:pt idx="852">
                  <c:v>375.74432500170673</c:v>
                </c:pt>
                <c:pt idx="853">
                  <c:v>366.75057231534265</c:v>
                </c:pt>
                <c:pt idx="854">
                  <c:v>364.05929449986741</c:v>
                </c:pt>
                <c:pt idx="855">
                  <c:v>360.31800277593487</c:v>
                </c:pt>
                <c:pt idx="856">
                  <c:v>378.18844197586554</c:v>
                </c:pt>
                <c:pt idx="857">
                  <c:v>372.33811091193803</c:v>
                </c:pt>
                <c:pt idx="858">
                  <c:v>374.7173055009373</c:v>
                </c:pt>
                <c:pt idx="859">
                  <c:v>381.51524055058815</c:v>
                </c:pt>
                <c:pt idx="860">
                  <c:v>452.99991479941559</c:v>
                </c:pt>
                <c:pt idx="861">
                  <c:v>828.75275679294089</c:v>
                </c:pt>
                <c:pt idx="862">
                  <c:v>1020.0422995727218</c:v>
                </c:pt>
                <c:pt idx="863">
                  <c:v>359.53484915568805</c:v>
                </c:pt>
                <c:pt idx="864">
                  <c:v>468.3410324904234</c:v>
                </c:pt>
                <c:pt idx="865">
                  <c:v>616.60959662322648</c:v>
                </c:pt>
                <c:pt idx="866">
                  <c:v>380.41528623609992</c:v>
                </c:pt>
                <c:pt idx="867">
                  <c:v>387.27353018774301</c:v>
                </c:pt>
                <c:pt idx="868">
                  <c:v>416.84897990084045</c:v>
                </c:pt>
                <c:pt idx="869">
                  <c:v>37.137981853669423</c:v>
                </c:pt>
                <c:pt idx="870">
                  <c:v>18.033588212834392</c:v>
                </c:pt>
                <c:pt idx="871">
                  <c:v>345.3714504530659</c:v>
                </c:pt>
                <c:pt idx="872">
                  <c:v>352.83163776248887</c:v>
                </c:pt>
                <c:pt idx="873">
                  <c:v>362.26125330798715</c:v>
                </c:pt>
                <c:pt idx="874">
                  <c:v>361.16988847891588</c:v>
                </c:pt>
                <c:pt idx="875">
                  <c:v>365.09397384807693</c:v>
                </c:pt>
                <c:pt idx="876">
                  <c:v>359.21112454650427</c:v>
                </c:pt>
                <c:pt idx="877">
                  <c:v>361.68435176381547</c:v>
                </c:pt>
                <c:pt idx="878">
                  <c:v>356.9753520086482</c:v>
                </c:pt>
                <c:pt idx="879">
                  <c:v>356.81666626371452</c:v>
                </c:pt>
                <c:pt idx="880">
                  <c:v>355.59510938499335</c:v>
                </c:pt>
                <c:pt idx="881">
                  <c:v>364.09848015269637</c:v>
                </c:pt>
                <c:pt idx="882">
                  <c:v>363.43043574162073</c:v>
                </c:pt>
                <c:pt idx="883">
                  <c:v>363.73841529898812</c:v>
                </c:pt>
                <c:pt idx="884">
                  <c:v>373.58351883284308</c:v>
                </c:pt>
                <c:pt idx="885">
                  <c:v>365.58672975124813</c:v>
                </c:pt>
                <c:pt idx="886">
                  <c:v>376.26091333322813</c:v>
                </c:pt>
                <c:pt idx="887">
                  <c:v>357.95079647536244</c:v>
                </c:pt>
                <c:pt idx="888">
                  <c:v>344.32667173293504</c:v>
                </c:pt>
                <c:pt idx="889">
                  <c:v>343.62210913876186</c:v>
                </c:pt>
                <c:pt idx="890">
                  <c:v>348.19556329884887</c:v>
                </c:pt>
                <c:pt idx="891">
                  <c:v>349.35536917366534</c:v>
                </c:pt>
                <c:pt idx="892">
                  <c:v>355.78922874704392</c:v>
                </c:pt>
                <c:pt idx="893">
                  <c:v>354.42501285851023</c:v>
                </c:pt>
                <c:pt idx="894">
                  <c:v>342.23991405532462</c:v>
                </c:pt>
                <c:pt idx="895">
                  <c:v>345.52943660934193</c:v>
                </c:pt>
                <c:pt idx="896">
                  <c:v>360.3006984918963</c:v>
                </c:pt>
                <c:pt idx="897">
                  <c:v>344.47685546017101</c:v>
                </c:pt>
                <c:pt idx="898">
                  <c:v>335.47400101085225</c:v>
                </c:pt>
                <c:pt idx="899">
                  <c:v>332.04910563577425</c:v>
                </c:pt>
                <c:pt idx="900">
                  <c:v>338.0419272466392</c:v>
                </c:pt>
                <c:pt idx="901">
                  <c:v>321.92758885821496</c:v>
                </c:pt>
                <c:pt idx="902">
                  <c:v>341.87741897981266</c:v>
                </c:pt>
                <c:pt idx="903">
                  <c:v>329.43653413269618</c:v>
                </c:pt>
                <c:pt idx="904">
                  <c:v>321.88418696458518</c:v>
                </c:pt>
                <c:pt idx="905">
                  <c:v>343.40574374636628</c:v>
                </c:pt>
                <c:pt idx="906">
                  <c:v>338.35101230291173</c:v>
                </c:pt>
                <c:pt idx="907">
                  <c:v>336.60477967644732</c:v>
                </c:pt>
                <c:pt idx="908">
                  <c:v>350.45662910826087</c:v>
                </c:pt>
                <c:pt idx="909">
                  <c:v>388.57534500021694</c:v>
                </c:pt>
                <c:pt idx="910">
                  <c:v>350.1300103285148</c:v>
                </c:pt>
                <c:pt idx="911">
                  <c:v>355.86872375669316</c:v>
                </c:pt>
                <c:pt idx="912">
                  <c:v>347.18452663730301</c:v>
                </c:pt>
                <c:pt idx="913">
                  <c:v>324.872804580793</c:v>
                </c:pt>
                <c:pt idx="914">
                  <c:v>344.13264322388773</c:v>
                </c:pt>
                <c:pt idx="915">
                  <c:v>388.63512426023487</c:v>
                </c:pt>
                <c:pt idx="916">
                  <c:v>364.65429758015131</c:v>
                </c:pt>
                <c:pt idx="917">
                  <c:v>337.1969911119624</c:v>
                </c:pt>
                <c:pt idx="918">
                  <c:v>375.83614279121832</c:v>
                </c:pt>
                <c:pt idx="919">
                  <c:v>372.76385295685139</c:v>
                </c:pt>
                <c:pt idx="920">
                  <c:v>386.26279474638642</c:v>
                </c:pt>
                <c:pt idx="921">
                  <c:v>383.47020826022185</c:v>
                </c:pt>
                <c:pt idx="922">
                  <c:v>395.31350404274093</c:v>
                </c:pt>
                <c:pt idx="923">
                  <c:v>382.78016141333438</c:v>
                </c:pt>
                <c:pt idx="924">
                  <c:v>363.29486843502366</c:v>
                </c:pt>
                <c:pt idx="925">
                  <c:v>387.85447030305392</c:v>
                </c:pt>
                <c:pt idx="926">
                  <c:v>342.10122164133918</c:v>
                </c:pt>
                <c:pt idx="927">
                  <c:v>334.15625323159622</c:v>
                </c:pt>
                <c:pt idx="928">
                  <c:v>355.39809062251749</c:v>
                </c:pt>
                <c:pt idx="929">
                  <c:v>373.07794162312831</c:v>
                </c:pt>
                <c:pt idx="930">
                  <c:v>378.32054080110612</c:v>
                </c:pt>
                <c:pt idx="931">
                  <c:v>379.92716063862702</c:v>
                </c:pt>
                <c:pt idx="932">
                  <c:v>375.61137370192915</c:v>
                </c:pt>
                <c:pt idx="933">
                  <c:v>365.73452070957808</c:v>
                </c:pt>
                <c:pt idx="934">
                  <c:v>371.34520338212457</c:v>
                </c:pt>
                <c:pt idx="935">
                  <c:v>360.46369428918837</c:v>
                </c:pt>
                <c:pt idx="936">
                  <c:v>359.28426418996156</c:v>
                </c:pt>
                <c:pt idx="937">
                  <c:v>369.37426809321857</c:v>
                </c:pt>
                <c:pt idx="938">
                  <c:v>379.61989940955516</c:v>
                </c:pt>
                <c:pt idx="939">
                  <c:v>350.48965411778568</c:v>
                </c:pt>
                <c:pt idx="940">
                  <c:v>343.88591863250383</c:v>
                </c:pt>
                <c:pt idx="941">
                  <c:v>351.85554753483802</c:v>
                </c:pt>
                <c:pt idx="942">
                  <c:v>351.9779736162385</c:v>
                </c:pt>
                <c:pt idx="943">
                  <c:v>351.32361807022045</c:v>
                </c:pt>
                <c:pt idx="944">
                  <c:v>349.58759615049098</c:v>
                </c:pt>
                <c:pt idx="945">
                  <c:v>352.2152227738278</c:v>
                </c:pt>
                <c:pt idx="946">
                  <c:v>355.42080101016847</c:v>
                </c:pt>
                <c:pt idx="947">
                  <c:v>348.45964235154224</c:v>
                </c:pt>
                <c:pt idx="948">
                  <c:v>352.82363904094461</c:v>
                </c:pt>
                <c:pt idx="949">
                  <c:v>356.96194369243318</c:v>
                </c:pt>
                <c:pt idx="950">
                  <c:v>360.16521046887294</c:v>
                </c:pt>
                <c:pt idx="951">
                  <c:v>363.05205518887129</c:v>
                </c:pt>
                <c:pt idx="952">
                  <c:v>351.77697572541371</c:v>
                </c:pt>
                <c:pt idx="953">
                  <c:v>356.44371540371628</c:v>
                </c:pt>
                <c:pt idx="954">
                  <c:v>376.44212995009701</c:v>
                </c:pt>
                <c:pt idx="955">
                  <c:v>440.61205791489834</c:v>
                </c:pt>
                <c:pt idx="956">
                  <c:v>2763.3934085195929</c:v>
                </c:pt>
                <c:pt idx="957">
                  <c:v>1943.1216145025317</c:v>
                </c:pt>
                <c:pt idx="958">
                  <c:v>376.38670821508555</c:v>
                </c:pt>
                <c:pt idx="959">
                  <c:v>358.23005005488625</c:v>
                </c:pt>
                <c:pt idx="960">
                  <c:v>352.8452965602242</c:v>
                </c:pt>
                <c:pt idx="961">
                  <c:v>244.92129502485756</c:v>
                </c:pt>
                <c:pt idx="962">
                  <c:v>310.97283294278424</c:v>
                </c:pt>
                <c:pt idx="963">
                  <c:v>372.79385028603195</c:v>
                </c:pt>
                <c:pt idx="964">
                  <c:v>128.79471751674561</c:v>
                </c:pt>
                <c:pt idx="965">
                  <c:v>162.79075721579147</c:v>
                </c:pt>
                <c:pt idx="966">
                  <c:v>301.96827114923872</c:v>
                </c:pt>
                <c:pt idx="967">
                  <c:v>346.22754102005507</c:v>
                </c:pt>
                <c:pt idx="968">
                  <c:v>351.31127662590535</c:v>
                </c:pt>
                <c:pt idx="969">
                  <c:v>361.13678616851604</c:v>
                </c:pt>
                <c:pt idx="970">
                  <c:v>341.64554390641695</c:v>
                </c:pt>
                <c:pt idx="971">
                  <c:v>352.14365222491466</c:v>
                </c:pt>
                <c:pt idx="972">
                  <c:v>347.91997694057045</c:v>
                </c:pt>
                <c:pt idx="973">
                  <c:v>343.69234672711383</c:v>
                </c:pt>
                <c:pt idx="974">
                  <c:v>356.19611394853536</c:v>
                </c:pt>
                <c:pt idx="975">
                  <c:v>356.03046554087814</c:v>
                </c:pt>
                <c:pt idx="976">
                  <c:v>349.48604607692522</c:v>
                </c:pt>
                <c:pt idx="977">
                  <c:v>354.00111113281963</c:v>
                </c:pt>
                <c:pt idx="978">
                  <c:v>355.59254597092661</c:v>
                </c:pt>
                <c:pt idx="979">
                  <c:v>353.05645431463353</c:v>
                </c:pt>
                <c:pt idx="980">
                  <c:v>354.26419856580753</c:v>
                </c:pt>
                <c:pt idx="981">
                  <c:v>346.14006659405044</c:v>
                </c:pt>
                <c:pt idx="982">
                  <c:v>355.49135569703191</c:v>
                </c:pt>
                <c:pt idx="983">
                  <c:v>350.16163085244881</c:v>
                </c:pt>
                <c:pt idx="984">
                  <c:v>359.03977197306796</c:v>
                </c:pt>
                <c:pt idx="985">
                  <c:v>356.42752448392122</c:v>
                </c:pt>
                <c:pt idx="986">
                  <c:v>366.69800966288329</c:v>
                </c:pt>
                <c:pt idx="987">
                  <c:v>355.90358460742959</c:v>
                </c:pt>
                <c:pt idx="988">
                  <c:v>343.78588178967493</c:v>
                </c:pt>
                <c:pt idx="989">
                  <c:v>344.87650857757762</c:v>
                </c:pt>
                <c:pt idx="990">
                  <c:v>338.02118692142255</c:v>
                </c:pt>
                <c:pt idx="991">
                  <c:v>336.44944308954769</c:v>
                </c:pt>
                <c:pt idx="992">
                  <c:v>357.3090993147124</c:v>
                </c:pt>
                <c:pt idx="993">
                  <c:v>356.82725895884454</c:v>
                </c:pt>
                <c:pt idx="994">
                  <c:v>389.53929782522073</c:v>
                </c:pt>
                <c:pt idx="995">
                  <c:v>362.05706161223543</c:v>
                </c:pt>
                <c:pt idx="996">
                  <c:v>363.19939058576011</c:v>
                </c:pt>
                <c:pt idx="997">
                  <c:v>418.49246917152232</c:v>
                </c:pt>
                <c:pt idx="998">
                  <c:v>579.88654140562517</c:v>
                </c:pt>
                <c:pt idx="999">
                  <c:v>408.39090609794096</c:v>
                </c:pt>
                <c:pt idx="1000">
                  <c:v>395.91856186275965</c:v>
                </c:pt>
                <c:pt idx="1001">
                  <c:v>406.06177457963202</c:v>
                </c:pt>
                <c:pt idx="1002">
                  <c:v>371.50648446047688</c:v>
                </c:pt>
                <c:pt idx="1003">
                  <c:v>386.68927275225911</c:v>
                </c:pt>
                <c:pt idx="1004">
                  <c:v>392.8095604131845</c:v>
                </c:pt>
                <c:pt idx="1005">
                  <c:v>397.09470814107095</c:v>
                </c:pt>
                <c:pt idx="1006">
                  <c:v>404.17708105340319</c:v>
                </c:pt>
                <c:pt idx="1007">
                  <c:v>389.00410310272315</c:v>
                </c:pt>
                <c:pt idx="1008">
                  <c:v>399.97229943609949</c:v>
                </c:pt>
                <c:pt idx="1009">
                  <c:v>386.6740746257247</c:v>
                </c:pt>
                <c:pt idx="1010">
                  <c:v>370.88855475904035</c:v>
                </c:pt>
                <c:pt idx="1011">
                  <c:v>371.73200232938609</c:v>
                </c:pt>
                <c:pt idx="1012">
                  <c:v>380.71223899228073</c:v>
                </c:pt>
                <c:pt idx="1013">
                  <c:v>368.72652712788295</c:v>
                </c:pt>
                <c:pt idx="1014">
                  <c:v>375.15175412999662</c:v>
                </c:pt>
                <c:pt idx="1015">
                  <c:v>374.98682877647389</c:v>
                </c:pt>
                <c:pt idx="1016">
                  <c:v>380.72017517740267</c:v>
                </c:pt>
                <c:pt idx="1017">
                  <c:v>388.24895638067801</c:v>
                </c:pt>
                <c:pt idx="1018">
                  <c:v>382.82369075155532</c:v>
                </c:pt>
                <c:pt idx="1019">
                  <c:v>370.14275570233576</c:v>
                </c:pt>
                <c:pt idx="1020">
                  <c:v>376.47923585305466</c:v>
                </c:pt>
                <c:pt idx="1021">
                  <c:v>373.27421823995314</c:v>
                </c:pt>
                <c:pt idx="1022">
                  <c:v>376.58450963450093</c:v>
                </c:pt>
                <c:pt idx="1023">
                  <c:v>412.18840980425892</c:v>
                </c:pt>
                <c:pt idx="1024">
                  <c:v>378.86862309330763</c:v>
                </c:pt>
                <c:pt idx="1025">
                  <c:v>382.92737658547549</c:v>
                </c:pt>
                <c:pt idx="1026">
                  <c:v>399.13132399200316</c:v>
                </c:pt>
                <c:pt idx="1027">
                  <c:v>428.23825592755139</c:v>
                </c:pt>
                <c:pt idx="1028">
                  <c:v>425.89418039149842</c:v>
                </c:pt>
                <c:pt idx="1029">
                  <c:v>420.2828371335483</c:v>
                </c:pt>
                <c:pt idx="1030">
                  <c:v>1012.1885904345506</c:v>
                </c:pt>
                <c:pt idx="1031">
                  <c:v>2066.9402517967851</c:v>
                </c:pt>
                <c:pt idx="1032">
                  <c:v>393.34602550433459</c:v>
                </c:pt>
                <c:pt idx="1033">
                  <c:v>381.34486501249671</c:v>
                </c:pt>
                <c:pt idx="1034">
                  <c:v>379.35311004996845</c:v>
                </c:pt>
                <c:pt idx="1035">
                  <c:v>377.32799569933582</c:v>
                </c:pt>
                <c:pt idx="1036">
                  <c:v>412.52344899977913</c:v>
                </c:pt>
                <c:pt idx="1037">
                  <c:v>97.103022774876848</c:v>
                </c:pt>
                <c:pt idx="1038">
                  <c:v>318.28830280732376</c:v>
                </c:pt>
                <c:pt idx="1039">
                  <c:v>355.9627986367654</c:v>
                </c:pt>
                <c:pt idx="1040">
                  <c:v>363.49041151698361</c:v>
                </c:pt>
                <c:pt idx="1041">
                  <c:v>378.83726375907577</c:v>
                </c:pt>
                <c:pt idx="1042">
                  <c:v>376.89919118056736</c:v>
                </c:pt>
                <c:pt idx="1043">
                  <c:v>435.10513934202373</c:v>
                </c:pt>
                <c:pt idx="1044">
                  <c:v>366.59586457333535</c:v>
                </c:pt>
                <c:pt idx="1045">
                  <c:v>350.88491323190073</c:v>
                </c:pt>
                <c:pt idx="1046">
                  <c:v>353.2005998460458</c:v>
                </c:pt>
                <c:pt idx="1047">
                  <c:v>346.16939284012938</c:v>
                </c:pt>
                <c:pt idx="1048">
                  <c:v>355.47859654051621</c:v>
                </c:pt>
                <c:pt idx="1049">
                  <c:v>350.5453142382745</c:v>
                </c:pt>
                <c:pt idx="1050">
                  <c:v>354.99775875671122</c:v>
                </c:pt>
                <c:pt idx="1051">
                  <c:v>352.66220244364018</c:v>
                </c:pt>
                <c:pt idx="1052">
                  <c:v>354.76488147665299</c:v>
                </c:pt>
                <c:pt idx="1053">
                  <c:v>366.20297261196868</c:v>
                </c:pt>
                <c:pt idx="1054">
                  <c:v>397.52370948413562</c:v>
                </c:pt>
                <c:pt idx="1055">
                  <c:v>402.07443167607602</c:v>
                </c:pt>
                <c:pt idx="1056">
                  <c:v>384.798056957212</c:v>
                </c:pt>
                <c:pt idx="1057">
                  <c:v>375.21345927146092</c:v>
                </c:pt>
                <c:pt idx="1058">
                  <c:v>382.01008438784203</c:v>
                </c:pt>
                <c:pt idx="1059">
                  <c:v>364.19599314250172</c:v>
                </c:pt>
                <c:pt idx="1060">
                  <c:v>367.10249868914008</c:v>
                </c:pt>
                <c:pt idx="1061">
                  <c:v>373.52565846435078</c:v>
                </c:pt>
                <c:pt idx="1062">
                  <c:v>384.54959665777363</c:v>
                </c:pt>
                <c:pt idx="1063">
                  <c:v>386.65601198664456</c:v>
                </c:pt>
                <c:pt idx="1064">
                  <c:v>388.14744034170906</c:v>
                </c:pt>
                <c:pt idx="1065">
                  <c:v>396.72111881460359</c:v>
                </c:pt>
                <c:pt idx="1066">
                  <c:v>395.61796246538154</c:v>
                </c:pt>
                <c:pt idx="1067">
                  <c:v>392.25190968507627</c:v>
                </c:pt>
                <c:pt idx="1068">
                  <c:v>380.61780463219799</c:v>
                </c:pt>
                <c:pt idx="1069">
                  <c:v>378.8031934147196</c:v>
                </c:pt>
                <c:pt idx="1070">
                  <c:v>386.01716204563655</c:v>
                </c:pt>
                <c:pt idx="1071">
                  <c:v>399.29231892089035</c:v>
                </c:pt>
                <c:pt idx="1072">
                  <c:v>376.33614256673707</c:v>
                </c:pt>
                <c:pt idx="1073">
                  <c:v>377.66883787492475</c:v>
                </c:pt>
                <c:pt idx="1074">
                  <c:v>361.03776822143891</c:v>
                </c:pt>
                <c:pt idx="1075">
                  <c:v>385.3535349764598</c:v>
                </c:pt>
                <c:pt idx="1076">
                  <c:v>419.37551076779204</c:v>
                </c:pt>
                <c:pt idx="1077">
                  <c:v>380.60974541204132</c:v>
                </c:pt>
                <c:pt idx="1078">
                  <c:v>382.39554406382285</c:v>
                </c:pt>
                <c:pt idx="1079">
                  <c:v>381.72020978941214</c:v>
                </c:pt>
                <c:pt idx="1080">
                  <c:v>380.71974388604031</c:v>
                </c:pt>
                <c:pt idx="1081">
                  <c:v>386.68504877342014</c:v>
                </c:pt>
                <c:pt idx="1082">
                  <c:v>376.08163923760532</c:v>
                </c:pt>
                <c:pt idx="1083">
                  <c:v>385.87334528493358</c:v>
                </c:pt>
                <c:pt idx="1084">
                  <c:v>486.23491824576092</c:v>
                </c:pt>
                <c:pt idx="1085">
                  <c:v>505.83533130697117</c:v>
                </c:pt>
                <c:pt idx="1086">
                  <c:v>411.2195252279671</c:v>
                </c:pt>
                <c:pt idx="1087">
                  <c:v>410.05553977571975</c:v>
                </c:pt>
                <c:pt idx="1088">
                  <c:v>390.22377336838724</c:v>
                </c:pt>
                <c:pt idx="1089">
                  <c:v>377.81275211523234</c:v>
                </c:pt>
                <c:pt idx="1090">
                  <c:v>372.4554183276685</c:v>
                </c:pt>
                <c:pt idx="1091">
                  <c:v>375.83639364357862</c:v>
                </c:pt>
                <c:pt idx="1092">
                  <c:v>373.51110036451553</c:v>
                </c:pt>
                <c:pt idx="1093">
                  <c:v>370.05385790814256</c:v>
                </c:pt>
                <c:pt idx="1094">
                  <c:v>375.37487276373452</c:v>
                </c:pt>
                <c:pt idx="1095">
                  <c:v>374.66614197773782</c:v>
                </c:pt>
              </c:numCache>
            </c:numRef>
          </c:xVal>
          <c:yVal>
            <c:numRef>
              <c:f>'Parameters ranges for ANN step1'!$AM$3:$AM$1137</c:f>
              <c:numCache>
                <c:formatCode>0</c:formatCode>
                <c:ptCount val="1135"/>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204.23485725682175</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204.9854741107371</c:v>
                </c:pt>
                <c:pt idx="18">
                  <c:v>200.86132216632797</c:v>
                </c:pt>
                <c:pt idx="19">
                  <c:v>200.17306711282052</c:v>
                </c:pt>
                <c:pt idx="20">
                  <c:v>204.4587150016421</c:v>
                </c:pt>
                <c:pt idx="21">
                  <c:v>204.3411578349818</c:v>
                </c:pt>
                <c:pt idx="22">
                  <c:v>205.39641517325504</c:v>
                </c:pt>
                <c:pt idx="23">
                  <c:v>211.42894853503395</c:v>
                </c:pt>
                <c:pt idx="24">
                  <c:v>210.1118244813469</c:v>
                </c:pt>
                <c:pt idx="25">
                  <c:v>209.81106247452513</c:v>
                </c:pt>
                <c:pt idx="26">
                  <c:v>200.11319713725905</c:v>
                </c:pt>
                <c:pt idx="27">
                  <c:v>173.67865142747749</c:v>
                </c:pt>
                <c:pt idx="28">
                  <c:v>203.54901586662913</c:v>
                </c:pt>
                <c:pt idx="29">
                  <c:v>205.44527388108517</c:v>
                </c:pt>
                <c:pt idx="30">
                  <c:v>198.80113941896195</c:v>
                </c:pt>
                <c:pt idx="31">
                  <c:v>208.3547156699791</c:v>
                </c:pt>
                <c:pt idx="32">
                  <c:v>204.97710129072723</c:v>
                </c:pt>
                <c:pt idx="33">
                  <c:v>196.03589432171418</c:v>
                </c:pt>
                <c:pt idx="34">
                  <c:v>182.5595009983401</c:v>
                </c:pt>
                <c:pt idx="35">
                  <c:v>183</c:v>
                </c:pt>
                <c:pt idx="36">
                  <c:v>190.2037903840403</c:v>
                </c:pt>
                <c:pt idx="37">
                  <c:v>202.77186371182805</c:v>
                </c:pt>
                <c:pt idx="38">
                  <c:v>204.4456666396741</c:v>
                </c:pt>
                <c:pt idx="39">
                  <c:v>199.0306694122568</c:v>
                </c:pt>
                <c:pt idx="40">
                  <c:v>199.40765687845391</c:v>
                </c:pt>
                <c:pt idx="41">
                  <c:v>197.89153341741755</c:v>
                </c:pt>
                <c:pt idx="42">
                  <c:v>188.00692709323579</c:v>
                </c:pt>
                <c:pt idx="43">
                  <c:v>178.62371304274293</c:v>
                </c:pt>
                <c:pt idx="44">
                  <c:v>157.1835588434451</c:v>
                </c:pt>
                <c:pt idx="45">
                  <c:v>90.264375751437598</c:v>
                </c:pt>
                <c:pt idx="46">
                  <c:v>93.619960051127521</c:v>
                </c:pt>
                <c:pt idx="47">
                  <c:v>168.17878837871211</c:v>
                </c:pt>
                <c:pt idx="48">
                  <c:v>190.45977180578873</c:v>
                </c:pt>
                <c:pt idx="49">
                  <c:v>186.06141522536356</c:v>
                </c:pt>
                <c:pt idx="50">
                  <c:v>194.42344753769504</c:v>
                </c:pt>
                <c:pt idx="51">
                  <c:v>193.26092064238506</c:v>
                </c:pt>
                <c:pt idx="52">
                  <c:v>194.88152309283421</c:v>
                </c:pt>
                <c:pt idx="53">
                  <c:v>204.16933157639949</c:v>
                </c:pt>
                <c:pt idx="54">
                  <c:v>206.99102854411368</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189.45283358020691</c:v>
                </c:pt>
                <c:pt idx="69">
                  <c:v>198.09208163020048</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200.34529527456326</c:v>
                </c:pt>
                <c:pt idx="110">
                  <c:v>204.59989468205592</c:v>
                </c:pt>
                <c:pt idx="111">
                  <c:v>205.42229572465371</c:v>
                </c:pt>
                <c:pt idx="112">
                  <c:v>193.70361963208651</c:v>
                </c:pt>
                <c:pt idx="113">
                  <c:v>190.65854630669233</c:v>
                </c:pt>
                <c:pt idx="114">
                  <c:v>198.05574008021773</c:v>
                </c:pt>
                <c:pt idx="115">
                  <c:v>177.21101646872836</c:v>
                </c:pt>
                <c:pt idx="116">
                  <c:v>203.99336148504639</c:v>
                </c:pt>
                <c:pt idx="117">
                  <c:v>198.65814750554023</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0</c:v>
                </c:pt>
                <c:pt idx="149">
                  <c:v>0</c:v>
                </c:pt>
                <c:pt idx="150">
                  <c:v>59.922850515450001</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183.67564572317701</c:v>
                </c:pt>
                <c:pt idx="160">
                  <c:v>182.13725069832299</c:v>
                </c:pt>
                <c:pt idx="161">
                  <c:v>181.94320776918099</c:v>
                </c:pt>
                <c:pt idx="162">
                  <c:v>191.74179510009</c:v>
                </c:pt>
                <c:pt idx="163">
                  <c:v>197.45405984671601</c:v>
                </c:pt>
                <c:pt idx="164">
                  <c:v>208.24809973350699</c:v>
                </c:pt>
                <c:pt idx="165">
                  <c:v>209.336772296264</c:v>
                </c:pt>
                <c:pt idx="166">
                  <c:v>206.93214712700799</c:v>
                </c:pt>
                <c:pt idx="167">
                  <c:v>208.23197421418899</c:v>
                </c:pt>
                <c:pt idx="168">
                  <c:v>209.62684202933701</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193.00778233618999</c:v>
                </c:pt>
                <c:pt idx="178">
                  <c:v>202.564554544923</c:v>
                </c:pt>
                <c:pt idx="179">
                  <c:v>201.867407228378</c:v>
                </c:pt>
                <c:pt idx="180">
                  <c:v>202.48205478732899</c:v>
                </c:pt>
                <c:pt idx="181">
                  <c:v>210.50410235335701</c:v>
                </c:pt>
                <c:pt idx="182">
                  <c:v>206.72212819481999</c:v>
                </c:pt>
                <c:pt idx="183">
                  <c:v>189.785173048677</c:v>
                </c:pt>
                <c:pt idx="184">
                  <c:v>195.41703532181401</c:v>
                </c:pt>
                <c:pt idx="185">
                  <c:v>194.76924152241099</c:v>
                </c:pt>
                <c:pt idx="186">
                  <c:v>207.328777578049</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210.01170741985499</c:v>
                </c:pt>
                <c:pt idx="201">
                  <c:v>210.20412866665799</c:v>
                </c:pt>
                <c:pt idx="202">
                  <c:v>199.70215738161301</c:v>
                </c:pt>
                <c:pt idx="203">
                  <c:v>190.647296690302</c:v>
                </c:pt>
                <c:pt idx="204">
                  <c:v>197.72543263838301</c:v>
                </c:pt>
                <c:pt idx="205">
                  <c:v>196.93914842305901</c:v>
                </c:pt>
                <c:pt idx="206">
                  <c:v>196.72991510273701</c:v>
                </c:pt>
                <c:pt idx="207">
                  <c:v>207.777894083316</c:v>
                </c:pt>
                <c:pt idx="208">
                  <c:v>208.83200254090801</c:v>
                </c:pt>
                <c:pt idx="209">
                  <c:v>208.23062774383899</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196.00917183168201</c:v>
                </c:pt>
                <c:pt idx="220">
                  <c:v>211.59340286438601</c:v>
                </c:pt>
                <c:pt idx="221">
                  <c:v>209.14073880869799</c:v>
                </c:pt>
                <c:pt idx="222">
                  <c:v>203.12033249689401</c:v>
                </c:pt>
                <c:pt idx="223">
                  <c:v>211.523462291176</c:v>
                </c:pt>
                <c:pt idx="224">
                  <c:v>211.81077765009499</c:v>
                </c:pt>
                <c:pt idx="225">
                  <c:v>211.32603242399199</c:v>
                </c:pt>
                <c:pt idx="226">
                  <c:v>198.47818272088901</c:v>
                </c:pt>
                <c:pt idx="227">
                  <c:v>210.12645670348999</c:v>
                </c:pt>
                <c:pt idx="228">
                  <c:v>204.110230037799</c:v>
                </c:pt>
                <c:pt idx="229">
                  <c:v>196.75329555706</c:v>
                </c:pt>
                <c:pt idx="230">
                  <c:v>203.255966573363</c:v>
                </c:pt>
                <c:pt idx="231">
                  <c:v>197.34498332552201</c:v>
                </c:pt>
                <c:pt idx="232">
                  <c:v>181.31150567497701</c:v>
                </c:pt>
                <c:pt idx="233">
                  <c:v>195.64953782477599</c:v>
                </c:pt>
                <c:pt idx="234">
                  <c:v>203.959943500392</c:v>
                </c:pt>
                <c:pt idx="235">
                  <c:v>178.60152971854899</c:v>
                </c:pt>
                <c:pt idx="236">
                  <c:v>190.793168397024</c:v>
                </c:pt>
                <c:pt idx="237">
                  <c:v>202.394235923297</c:v>
                </c:pt>
                <c:pt idx="238">
                  <c:v>209.94557877343999</c:v>
                </c:pt>
                <c:pt idx="239">
                  <c:v>195.48295273423599</c:v>
                </c:pt>
                <c:pt idx="240">
                  <c:v>172.15223546562399</c:v>
                </c:pt>
                <c:pt idx="241">
                  <c:v>170.48176291699201</c:v>
                </c:pt>
                <c:pt idx="242">
                  <c:v>181.93214392793399</c:v>
                </c:pt>
                <c:pt idx="243">
                  <c:v>179.612415507425</c:v>
                </c:pt>
                <c:pt idx="244">
                  <c:v>174.472774488119</c:v>
                </c:pt>
                <c:pt idx="245">
                  <c:v>117.74555131036399</c:v>
                </c:pt>
                <c:pt idx="246">
                  <c:v>138.92974343908901</c:v>
                </c:pt>
                <c:pt idx="247">
                  <c:v>125.100134916952</c:v>
                </c:pt>
                <c:pt idx="248">
                  <c:v>140.803276088144</c:v>
                </c:pt>
                <c:pt idx="249">
                  <c:v>151.34502549916999</c:v>
                </c:pt>
                <c:pt idx="250">
                  <c:v>149.83854421042</c:v>
                </c:pt>
                <c:pt idx="251">
                  <c:v>178.60252485124801</c:v>
                </c:pt>
                <c:pt idx="252">
                  <c:v>171.64255227816301</c:v>
                </c:pt>
                <c:pt idx="253">
                  <c:v>170.05826919215099</c:v>
                </c:pt>
                <c:pt idx="254">
                  <c:v>179.56099730714899</c:v>
                </c:pt>
                <c:pt idx="255">
                  <c:v>170.180850816401</c:v>
                </c:pt>
                <c:pt idx="256">
                  <c:v>202.58945730613101</c:v>
                </c:pt>
                <c:pt idx="257">
                  <c:v>208.80892981364201</c:v>
                </c:pt>
                <c:pt idx="258">
                  <c:v>191.54506271347</c:v>
                </c:pt>
                <c:pt idx="259">
                  <c:v>100.379153832909</c:v>
                </c:pt>
                <c:pt idx="260">
                  <c:v>86.404099136261394</c:v>
                </c:pt>
                <c:pt idx="261">
                  <c:v>173.39193134753299</c:v>
                </c:pt>
                <c:pt idx="262">
                  <c:v>184.46046040777</c:v>
                </c:pt>
                <c:pt idx="263">
                  <c:v>176.59625965425201</c:v>
                </c:pt>
                <c:pt idx="264">
                  <c:v>197.38488654618601</c:v>
                </c:pt>
                <c:pt idx="265">
                  <c:v>189.966517129848</c:v>
                </c:pt>
                <c:pt idx="266">
                  <c:v>193.56260335391801</c:v>
                </c:pt>
                <c:pt idx="267">
                  <c:v>171.68709832832499</c:v>
                </c:pt>
                <c:pt idx="268">
                  <c:v>205.907457880826</c:v>
                </c:pt>
                <c:pt idx="269">
                  <c:v>202.97785964145299</c:v>
                </c:pt>
                <c:pt idx="270">
                  <c:v>199.937482425881</c:v>
                </c:pt>
                <c:pt idx="271">
                  <c:v>206.94785873537299</c:v>
                </c:pt>
                <c:pt idx="272">
                  <c:v>211.83629621987299</c:v>
                </c:pt>
                <c:pt idx="273">
                  <c:v>210.25017162800501</c:v>
                </c:pt>
                <c:pt idx="274">
                  <c:v>199.802347634901</c:v>
                </c:pt>
                <c:pt idx="275">
                  <c:v>197.2399877933</c:v>
                </c:pt>
                <c:pt idx="276">
                  <c:v>198.67665657612599</c:v>
                </c:pt>
                <c:pt idx="277">
                  <c:v>194.23131899335601</c:v>
                </c:pt>
                <c:pt idx="278">
                  <c:v>185.20579750444199</c:v>
                </c:pt>
                <c:pt idx="279">
                  <c:v>210.50811395635</c:v>
                </c:pt>
                <c:pt idx="280">
                  <c:v>213.780016927952</c:v>
                </c:pt>
                <c:pt idx="281">
                  <c:v>213.633222080118</c:v>
                </c:pt>
                <c:pt idx="282">
                  <c:v>214.10461180059599</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206.107296638729</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188.00933253043999</c:v>
                </c:pt>
                <c:pt idx="335">
                  <c:v>170.244128774269</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200.763000645886</c:v>
                </c:pt>
                <c:pt idx="357">
                  <c:v>207.038617517175</c:v>
                </c:pt>
                <c:pt idx="358">
                  <c:v>195.48047291531901</c:v>
                </c:pt>
                <c:pt idx="359">
                  <c:v>213.42871447377101</c:v>
                </c:pt>
                <c:pt idx="360">
                  <c:v>214.579969931638</c:v>
                </c:pt>
                <c:pt idx="361">
                  <c:v>210.05308815120301</c:v>
                </c:pt>
                <c:pt idx="362">
                  <c:v>202.591847461756</c:v>
                </c:pt>
                <c:pt idx="363">
                  <c:v>173.46667430850999</c:v>
                </c:pt>
                <c:pt idx="364">
                  <c:v>95.0082083065018</c:v>
                </c:pt>
                <c:pt idx="365">
                  <c:v>99.469568021421395</c:v>
                </c:pt>
                <c:pt idx="366" formatCode="General">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212.084719308568</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211.34931868997501</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191.84450886993</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215.46349192291899</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211.838106770704</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215.00048363333499</c:v>
                </c:pt>
                <c:pt idx="454">
                  <c:v>216.99357226464201</c:v>
                </c:pt>
                <c:pt idx="455">
                  <c:v>220.443474562939</c:v>
                </c:pt>
                <c:pt idx="456">
                  <c:v>220.17628686295001</c:v>
                </c:pt>
                <c:pt idx="457">
                  <c:v>217.76361151301401</c:v>
                </c:pt>
                <c:pt idx="458">
                  <c:v>216.79963752675701</c:v>
                </c:pt>
                <c:pt idx="459">
                  <c:v>220.753680756276</c:v>
                </c:pt>
                <c:pt idx="460">
                  <c:v>224.153485219619</c:v>
                </c:pt>
                <c:pt idx="461">
                  <c:v>223.24377771201699</c:v>
                </c:pt>
                <c:pt idx="462">
                  <c:v>223.31982925877401</c:v>
                </c:pt>
                <c:pt idx="463">
                  <c:v>220.52500265213101</c:v>
                </c:pt>
                <c:pt idx="464">
                  <c:v>212.849607368845</c:v>
                </c:pt>
                <c:pt idx="465">
                  <c:v>211.68618011279199</c:v>
                </c:pt>
                <c:pt idx="466">
                  <c:v>203.01595913883901</c:v>
                </c:pt>
                <c:pt idx="467">
                  <c:v>127.938194657867</c:v>
                </c:pt>
                <c:pt idx="468">
                  <c:v>104.23288644929001</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209.607809014606</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41.427343997948903</c:v>
                </c:pt>
                <c:pt idx="496">
                  <c:v>185.32334532565201</c:v>
                </c:pt>
                <c:pt idx="498">
                  <c:v>0</c:v>
                </c:pt>
                <c:pt idx="499">
                  <c:v>216.29640478550601</c:v>
                </c:pt>
                <c:pt idx="500">
                  <c:v>214.70909178833099</c:v>
                </c:pt>
                <c:pt idx="501">
                  <c:v>209.84345530065301</c:v>
                </c:pt>
                <c:pt idx="502">
                  <c:v>205.45196735902201</c:v>
                </c:pt>
                <c:pt idx="503">
                  <c:v>200.23528273940201</c:v>
                </c:pt>
                <c:pt idx="504">
                  <c:v>197.369133482878</c:v>
                </c:pt>
                <c:pt idx="505">
                  <c:v>199.73838875631299</c:v>
                </c:pt>
                <c:pt idx="506">
                  <c:v>201.79092126516801</c:v>
                </c:pt>
                <c:pt idx="507">
                  <c:v>203.60721717669199</c:v>
                </c:pt>
                <c:pt idx="508">
                  <c:v>206.32909209578099</c:v>
                </c:pt>
                <c:pt idx="509">
                  <c:v>209.94757868297401</c:v>
                </c:pt>
                <c:pt idx="510">
                  <c:v>210.18914525296</c:v>
                </c:pt>
                <c:pt idx="511">
                  <c:v>209.66868631574999</c:v>
                </c:pt>
                <c:pt idx="512">
                  <c:v>208.11187206002199</c:v>
                </c:pt>
                <c:pt idx="513">
                  <c:v>214.191940938058</c:v>
                </c:pt>
                <c:pt idx="514">
                  <c:v>210.64199835321199</c:v>
                </c:pt>
                <c:pt idx="515">
                  <c:v>211.50644393550701</c:v>
                </c:pt>
                <c:pt idx="516">
                  <c:v>210.712137592912</c:v>
                </c:pt>
                <c:pt idx="517">
                  <c:v>192.53066040612299</c:v>
                </c:pt>
                <c:pt idx="518">
                  <c:v>202.975907563379</c:v>
                </c:pt>
                <c:pt idx="519">
                  <c:v>208.154512512976</c:v>
                </c:pt>
                <c:pt idx="520">
                  <c:v>209.790430644846</c:v>
                </c:pt>
                <c:pt idx="521">
                  <c:v>212.42647704067599</c:v>
                </c:pt>
                <c:pt idx="522">
                  <c:v>214.90916136788601</c:v>
                </c:pt>
                <c:pt idx="523">
                  <c:v>214.84527140445499</c:v>
                </c:pt>
                <c:pt idx="524">
                  <c:v>214.90446733138199</c:v>
                </c:pt>
                <c:pt idx="525">
                  <c:v>214.22177973914501</c:v>
                </c:pt>
                <c:pt idx="526">
                  <c:v>205.068833961038</c:v>
                </c:pt>
                <c:pt idx="527">
                  <c:v>186.77264306491301</c:v>
                </c:pt>
                <c:pt idx="528">
                  <c:v>189.914166041713</c:v>
                </c:pt>
                <c:pt idx="529">
                  <c:v>163.55443233067899</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189.69939529311799</c:v>
                </c:pt>
                <c:pt idx="543">
                  <c:v>184.97375638193299</c:v>
                </c:pt>
                <c:pt idx="544">
                  <c:v>184.94264355067</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175.08653427554799</c:v>
                </c:pt>
                <c:pt idx="571">
                  <c:v>179.611103427063</c:v>
                </c:pt>
                <c:pt idx="572">
                  <c:v>185.73023315803999</c:v>
                </c:pt>
                <c:pt idx="573">
                  <c:v>199.731652819185</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198.365242991006</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180.340262113184</c:v>
                </c:pt>
                <c:pt idx="603">
                  <c:v>177.11262035307701</c:v>
                </c:pt>
                <c:pt idx="604">
                  <c:v>185.058473237144</c:v>
                </c:pt>
                <c:pt idx="605">
                  <c:v>198.038747189525</c:v>
                </c:pt>
                <c:pt idx="606">
                  <c:v>190.40639698840801</c:v>
                </c:pt>
                <c:pt idx="607">
                  <c:v>135.461545377871</c:v>
                </c:pt>
                <c:pt idx="608">
                  <c:v>203.494331568908</c:v>
                </c:pt>
                <c:pt idx="609">
                  <c:v>199.05418758923099</c:v>
                </c:pt>
                <c:pt idx="610">
                  <c:v>182.56889224868601</c:v>
                </c:pt>
                <c:pt idx="611">
                  <c:v>172.564320917212</c:v>
                </c:pt>
                <c:pt idx="612">
                  <c:v>170.685156385721</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178.53512362924201</c:v>
                </c:pt>
                <c:pt idx="629">
                  <c:v>195.63474523749201</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178.070465936831</c:v>
                </c:pt>
                <c:pt idx="641">
                  <c:v>35.0224499773148</c:v>
                </c:pt>
                <c:pt idx="643">
                  <c:v>83.531049277316896</c:v>
                </c:pt>
                <c:pt idx="644">
                  <c:v>184.56771327403001</c:v>
                </c:pt>
                <c:pt idx="645">
                  <c:v>200.285270302383</c:v>
                </c:pt>
                <c:pt idx="646">
                  <c:v>199.50436093752501</c:v>
                </c:pt>
                <c:pt idx="647">
                  <c:v>199.78683609901699</c:v>
                </c:pt>
                <c:pt idx="648">
                  <c:v>200.17669418412899</c:v>
                </c:pt>
                <c:pt idx="649">
                  <c:v>201.80837143852801</c:v>
                </c:pt>
                <c:pt idx="650">
                  <c:v>200.307079736529</c:v>
                </c:pt>
                <c:pt idx="651">
                  <c:v>200.91932366613301</c:v>
                </c:pt>
                <c:pt idx="652">
                  <c:v>199.71928463089</c:v>
                </c:pt>
                <c:pt idx="653">
                  <c:v>199.72715825433099</c:v>
                </c:pt>
                <c:pt idx="654">
                  <c:v>200.47337203379101</c:v>
                </c:pt>
                <c:pt idx="655">
                  <c:v>186.36484504437999</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200.116867541311</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133.02832575859301</c:v>
                </c:pt>
                <c:pt idx="702">
                  <c:v>170.967465006097</c:v>
                </c:pt>
                <c:pt idx="703">
                  <c:v>194.82277440936701</c:v>
                </c:pt>
                <c:pt idx="704">
                  <c:v>195.698949010825</c:v>
                </c:pt>
                <c:pt idx="705">
                  <c:v>195.56037357538099</c:v>
                </c:pt>
                <c:pt idx="706">
                  <c:v>189.552547455704</c:v>
                </c:pt>
                <c:pt idx="707">
                  <c:v>185.11205439355501</c:v>
                </c:pt>
                <c:pt idx="708">
                  <c:v>196.461881726039</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199.08000130975199</c:v>
                </c:pt>
                <c:pt idx="719">
                  <c:v>198.654111100318</c:v>
                </c:pt>
                <c:pt idx="720">
                  <c:v>199.07211316560699</c:v>
                </c:pt>
                <c:pt idx="721">
                  <c:v>200.466453362854</c:v>
                </c:pt>
                <c:pt idx="722">
                  <c:v>198.15825906388699</c:v>
                </c:pt>
                <c:pt idx="723">
                  <c:v>194.26387662660301</c:v>
                </c:pt>
                <c:pt idx="724">
                  <c:v>159.72463653362999</c:v>
                </c:pt>
                <c:pt idx="725">
                  <c:v>-2.5501573389323799E-9</c:v>
                </c:pt>
                <c:pt idx="726">
                  <c:v>71.178680406847803</c:v>
                </c:pt>
                <c:pt idx="727">
                  <c:v>181.524668195239</c:v>
                </c:pt>
                <c:pt idx="728">
                  <c:v>196.47276508566799</c:v>
                </c:pt>
                <c:pt idx="729">
                  <c:v>199.847304953178</c:v>
                </c:pt>
                <c:pt idx="730">
                  <c:v>197.65918572191899</c:v>
                </c:pt>
                <c:pt idx="731">
                  <c:v>196.5943893063845</c:v>
                </c:pt>
                <c:pt idx="732">
                  <c:v>194.51249989842162</c:v>
                </c:pt>
                <c:pt idx="733">
                  <c:v>195.47466834948239</c:v>
                </c:pt>
                <c:pt idx="734">
                  <c:v>196.16422385037691</c:v>
                </c:pt>
                <c:pt idx="735">
                  <c:v>194.73202153113448</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111.28112512317084</c:v>
                </c:pt>
                <c:pt idx="790">
                  <c:v>183.63519228282792</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174.20444678136769</c:v>
                </c:pt>
                <c:pt idx="812">
                  <c:v>170.02985832780968</c:v>
                </c:pt>
                <c:pt idx="813">
                  <c:v>170.19158117597544</c:v>
                </c:pt>
                <c:pt idx="814">
                  <c:v>169.5931368174424</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160.60385763950646</c:v>
                </c:pt>
                <c:pt idx="829">
                  <c:v>160.15049111354321</c:v>
                </c:pt>
                <c:pt idx="830">
                  <c:v>163.10111823204591</c:v>
                </c:pt>
                <c:pt idx="831">
                  <c:v>162.49552817067033</c:v>
                </c:pt>
                <c:pt idx="832">
                  <c:v>164.06702012001867</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160.68117976442608</c:v>
                </c:pt>
                <c:pt idx="861">
                  <c:v>101.96828892676182</c:v>
                </c:pt>
                <c:pt idx="862">
                  <c:v>199.11097182949177</c:v>
                </c:pt>
                <c:pt idx="863">
                  <c:v>197.90826406043936</c:v>
                </c:pt>
                <c:pt idx="864">
                  <c:v>170.93069683413199</c:v>
                </c:pt>
                <c:pt idx="865">
                  <c:v>135.47799916344161</c:v>
                </c:pt>
                <c:pt idx="866">
                  <c:v>201.92772237426297</c:v>
                </c:pt>
                <c:pt idx="867">
                  <c:v>196.83810389292307</c:v>
                </c:pt>
                <c:pt idx="868">
                  <c:v>203.4938953563277</c:v>
                </c:pt>
                <c:pt idx="869">
                  <c:v>199.99858238075475</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190.69367953106632</c:v>
                </c:pt>
                <c:pt idx="895">
                  <c:v>190.99507929097189</c:v>
                </c:pt>
                <c:pt idx="896">
                  <c:v>195.79846682536672</c:v>
                </c:pt>
                <c:pt idx="897">
                  <c:v>190.0539120853183</c:v>
                </c:pt>
                <c:pt idx="898">
                  <c:v>179.54258888435314</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172.16082475612498</c:v>
                </c:pt>
                <c:pt idx="912">
                  <c:v>183.5784087816505</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157.72858441138965</c:v>
                </c:pt>
                <c:pt idx="925">
                  <c:v>165.53527531529423</c:v>
                </c:pt>
                <c:pt idx="926">
                  <c:v>186.86790401561026</c:v>
                </c:pt>
                <c:pt idx="927">
                  <c:v>198.25691933070721</c:v>
                </c:pt>
                <c:pt idx="928">
                  <c:v>195.85276737334419</c:v>
                </c:pt>
                <c:pt idx="929">
                  <c:v>166.78424912457371</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120.70595504451498</c:v>
                </c:pt>
                <c:pt idx="956">
                  <c:v>0.10269381774752381</c:v>
                </c:pt>
                <c:pt idx="957">
                  <c:v>91.927651254056613</c:v>
                </c:pt>
                <c:pt idx="958">
                  <c:v>142.80678165061826</c:v>
                </c:pt>
                <c:pt idx="959">
                  <c:v>192.4656875185255</c:v>
                </c:pt>
                <c:pt idx="960">
                  <c:v>190.17188343099733</c:v>
                </c:pt>
                <c:pt idx="961">
                  <c:v>196.77224301022241</c:v>
                </c:pt>
                <c:pt idx="962">
                  <c:v>195.21480039773192</c:v>
                </c:pt>
                <c:pt idx="963">
                  <c:v>179.49657280631141</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176.13062732573817</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182.20201487109492</c:v>
                </c:pt>
                <c:pt idx="1021">
                  <c:v>171.6300787578738</c:v>
                </c:pt>
                <c:pt idx="1022">
                  <c:v>182.8492835209826</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96.643294930628159</c:v>
                </c:pt>
                <c:pt idx="1032">
                  <c:v>173.28908123769781</c:v>
                </c:pt>
                <c:pt idx="1033">
                  <c:v>189.75289489076087</c:v>
                </c:pt>
                <c:pt idx="1034">
                  <c:v>194.21678639066241</c:v>
                </c:pt>
                <c:pt idx="1035">
                  <c:v>191.94066070613019</c:v>
                </c:pt>
                <c:pt idx="1036">
                  <c:v>181.09936127829653</c:v>
                </c:pt>
                <c:pt idx="1037">
                  <c:v>188.30530648196631</c:v>
                </c:pt>
                <c:pt idx="1038">
                  <c:v>183.32906990176988</c:v>
                </c:pt>
                <c:pt idx="1039">
                  <c:v>169.1998332501891</c:v>
                </c:pt>
                <c:pt idx="1040">
                  <c:v>147.8853599680393</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186.38615262093737</c:v>
                </c:pt>
                <c:pt idx="1052">
                  <c:v>180.01103621756548</c:v>
                </c:pt>
                <c:pt idx="1053">
                  <c:v>179.38999796040625</c:v>
                </c:pt>
                <c:pt idx="1054">
                  <c:v>170.66616217802033</c:v>
                </c:pt>
                <c:pt idx="1055">
                  <c:v>172.76375482356508</c:v>
                </c:pt>
                <c:pt idx="1056">
                  <c:v>185.83453848596551</c:v>
                </c:pt>
                <c:pt idx="1057">
                  <c:v>187.05240858007895</c:v>
                </c:pt>
                <c:pt idx="1058">
                  <c:v>171.05155633494076</c:v>
                </c:pt>
                <c:pt idx="1059">
                  <c:v>176.56895677067467</c:v>
                </c:pt>
                <c:pt idx="1060">
                  <c:v>188.96564296500739</c:v>
                </c:pt>
                <c:pt idx="1061">
                  <c:v>188.36963384658122</c:v>
                </c:pt>
                <c:pt idx="1062">
                  <c:v>187.24727744517713</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175.71996940048535</c:v>
                </c:pt>
                <c:pt idx="1071">
                  <c:v>174.31562083605635</c:v>
                </c:pt>
                <c:pt idx="1072">
                  <c:v>181.79563025720668</c:v>
                </c:pt>
                <c:pt idx="1073">
                  <c:v>181.57409208584204</c:v>
                </c:pt>
                <c:pt idx="1074">
                  <c:v>176.12905552827499</c:v>
                </c:pt>
                <c:pt idx="1075">
                  <c:v>167.41712213090335</c:v>
                </c:pt>
                <c:pt idx="1076">
                  <c:v>148.42618726013114</c:v>
                </c:pt>
                <c:pt idx="1077">
                  <c:v>158.86493140605128</c:v>
                </c:pt>
                <c:pt idx="1078">
                  <c:v>181.83919075656124</c:v>
                </c:pt>
                <c:pt idx="1079">
                  <c:v>179.92665631772826</c:v>
                </c:pt>
                <c:pt idx="1080">
                  <c:v>177.07717732998904</c:v>
                </c:pt>
                <c:pt idx="1081">
                  <c:v>169.47434599013408</c:v>
                </c:pt>
                <c:pt idx="1082">
                  <c:v>167.10507783739064</c:v>
                </c:pt>
                <c:pt idx="1083">
                  <c:v>142.63633816492805</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C917-44B9-A4A3-B82507C41B92}"/>
            </c:ext>
          </c:extLst>
        </c:ser>
        <c:dLbls>
          <c:showLegendKey val="0"/>
          <c:showVal val="0"/>
          <c:showCatName val="0"/>
          <c:showSerName val="0"/>
          <c:showPercent val="0"/>
          <c:showBubbleSize val="0"/>
        </c:dLbls>
        <c:axId val="1844234063"/>
        <c:axId val="1844234479"/>
      </c:scatterChart>
      <c:valAx>
        <c:axId val="1844234063"/>
        <c:scaling>
          <c:orientation val="minMax"/>
          <c:max val="400"/>
          <c:min val="32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4234479"/>
        <c:crosses val="autoZero"/>
        <c:crossBetween val="midCat"/>
      </c:valAx>
      <c:valAx>
        <c:axId val="1844234479"/>
        <c:scaling>
          <c:orientation val="minMax"/>
          <c:max val="220"/>
          <c:min val="18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4234063"/>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00" b="0" i="0" u="none" strike="noStrike" kern="1200" spc="0" baseline="0">
                <a:solidFill>
                  <a:prstClr val="black">
                    <a:lumMod val="65000"/>
                    <a:lumOff val="35000"/>
                  </a:prstClr>
                </a:solidFill>
                <a:latin typeface="+mn-lt"/>
                <a:ea typeface="+mn-ea"/>
                <a:cs typeface="+mn-cs"/>
              </a:defRPr>
            </a:pPr>
            <a:r>
              <a:rPr lang="en-US" sz="1400" b="0" i="0" u="none" strike="noStrike" kern="1200" spc="0" baseline="0" dirty="0" smtClean="0">
                <a:solidFill>
                  <a:prstClr val="black">
                    <a:lumMod val="65000"/>
                    <a:lumOff val="35000"/>
                  </a:prstClr>
                </a:solidFill>
                <a:latin typeface="+mn-lt"/>
                <a:ea typeface="+mn-ea"/>
                <a:cs typeface="+mn-cs"/>
              </a:rPr>
              <a:t>CDI (kg) v/s C in Hot Metal(kg)</a:t>
            </a:r>
            <a:endParaRPr lang="en-US" sz="1400" b="0" i="0" u="none" strike="noStrike" kern="1200" spc="0" baseline="0" dirty="0">
              <a:solidFill>
                <a:prstClr val="black">
                  <a:lumMod val="65000"/>
                  <a:lumOff val="35000"/>
                </a:prstClr>
              </a:solidFill>
              <a:latin typeface="+mn-lt"/>
              <a:ea typeface="+mn-ea"/>
              <a:cs typeface="+mn-cs"/>
            </a:endParaRPr>
          </a:p>
        </c:rich>
      </c:tx>
      <c:layout>
        <c:manualLayout>
          <c:xMode val="edge"/>
          <c:yMode val="edge"/>
          <c:x val="0.1819159543147264"/>
          <c:y val="4.1009787992312551E-2"/>
        </c:manualLayout>
      </c:layout>
      <c:overlay val="0"/>
      <c:spPr>
        <a:noFill/>
        <a:ln>
          <a:noFill/>
        </a:ln>
        <a:effectLst/>
      </c:spPr>
      <c:txPr>
        <a:bodyPr rot="0" spcFirstLastPara="1" vertOverflow="ellipsis" vert="horz" wrap="square" anchor="ctr" anchorCtr="1"/>
        <a:lstStyle/>
        <a:p>
          <a:pPr algn="ctr" rtl="0">
            <a:defRPr sz="1400" b="0" i="0" u="none" strike="noStrike" kern="1200" spc="0" baseline="0">
              <a:solidFill>
                <a:prstClr val="black">
                  <a:lumMod val="65000"/>
                  <a:lumOff val="35000"/>
                </a:prst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M$1:$AM$2</c:f>
              <c:strCache>
                <c:ptCount val="2"/>
                <c:pt idx="0">
                  <c:v>CDI</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C$3:$AC$1137</c:f>
              <c:numCache>
                <c:formatCode>0</c:formatCode>
                <c:ptCount val="1135"/>
                <c:pt idx="0">
                  <c:v>46.663678543516028</c:v>
                </c:pt>
                <c:pt idx="1">
                  <c:v>46.593651497481801</c:v>
                </c:pt>
                <c:pt idx="2">
                  <c:v>46.876360813340256</c:v>
                </c:pt>
                <c:pt idx="3">
                  <c:v>47.113421914120359</c:v>
                </c:pt>
                <c:pt idx="4">
                  <c:v>46.20835371205041</c:v>
                </c:pt>
                <c:pt idx="5">
                  <c:v>44.779848169544756</c:v>
                </c:pt>
                <c:pt idx="6">
                  <c:v>45.460968146440621</c:v>
                </c:pt>
                <c:pt idx="7">
                  <c:v>46.114579931676346</c:v>
                </c:pt>
                <c:pt idx="8">
                  <c:v>46.460783764097101</c:v>
                </c:pt>
                <c:pt idx="9">
                  <c:v>45.803928331907279</c:v>
                </c:pt>
                <c:pt idx="10">
                  <c:v>46.471095449817447</c:v>
                </c:pt>
                <c:pt idx="11">
                  <c:v>46.268589814507095</c:v>
                </c:pt>
                <c:pt idx="12">
                  <c:v>46.296885805435522</c:v>
                </c:pt>
                <c:pt idx="13">
                  <c:v>45.405460107289798</c:v>
                </c:pt>
                <c:pt idx="14">
                  <c:v>46.069393725140692</c:v>
                </c:pt>
                <c:pt idx="15">
                  <c:v>45.309381634927</c:v>
                </c:pt>
                <c:pt idx="16">
                  <c:v>47.22273536974604</c:v>
                </c:pt>
                <c:pt idx="17">
                  <c:v>46.876360813340256</c:v>
                </c:pt>
                <c:pt idx="18">
                  <c:v>46.71869631248051</c:v>
                </c:pt>
                <c:pt idx="19">
                  <c:v>45.854146963740774</c:v>
                </c:pt>
                <c:pt idx="20">
                  <c:v>46.407604391077363</c:v>
                </c:pt>
                <c:pt idx="21">
                  <c:v>45.672567323766124</c:v>
                </c:pt>
                <c:pt idx="22">
                  <c:v>46.557232757434328</c:v>
                </c:pt>
                <c:pt idx="23">
                  <c:v>46.608624055583491</c:v>
                </c:pt>
                <c:pt idx="24">
                  <c:v>46.609839631610029</c:v>
                </c:pt>
                <c:pt idx="25">
                  <c:v>47.304999699480156</c:v>
                </c:pt>
                <c:pt idx="26">
                  <c:v>46.513828598621416</c:v>
                </c:pt>
                <c:pt idx="27">
                  <c:v>45.915324882565507</c:v>
                </c:pt>
                <c:pt idx="28">
                  <c:v>46.574390689266608</c:v>
                </c:pt>
                <c:pt idx="29">
                  <c:v>46.876360813340256</c:v>
                </c:pt>
                <c:pt idx="30">
                  <c:v>46.87303522836342</c:v>
                </c:pt>
                <c:pt idx="31">
                  <c:v>46.691500235574168</c:v>
                </c:pt>
                <c:pt idx="32">
                  <c:v>47.0229843984349</c:v>
                </c:pt>
                <c:pt idx="33">
                  <c:v>47.209333681566207</c:v>
                </c:pt>
                <c:pt idx="34">
                  <c:v>46.543950495131575</c:v>
                </c:pt>
                <c:pt idx="35">
                  <c:v>46.543950495131575</c:v>
                </c:pt>
                <c:pt idx="36">
                  <c:v>46.842454962431987</c:v>
                </c:pt>
                <c:pt idx="37">
                  <c:v>46.691049148181072</c:v>
                </c:pt>
                <c:pt idx="38">
                  <c:v>46.618779024000567</c:v>
                </c:pt>
                <c:pt idx="39">
                  <c:v>46.215061398189711</c:v>
                </c:pt>
                <c:pt idx="40">
                  <c:v>45.275763062050757</c:v>
                </c:pt>
                <c:pt idx="41">
                  <c:v>45.784537830006435</c:v>
                </c:pt>
                <c:pt idx="42">
                  <c:v>45.207244098943171</c:v>
                </c:pt>
                <c:pt idx="43">
                  <c:v>45.838702684281365</c:v>
                </c:pt>
                <c:pt idx="44">
                  <c:v>44.725901872318872</c:v>
                </c:pt>
                <c:pt idx="45">
                  <c:v>43.658926358958503</c:v>
                </c:pt>
                <c:pt idx="46">
                  <c:v>45.304789858911896</c:v>
                </c:pt>
                <c:pt idx="47">
                  <c:v>45.688640941000891</c:v>
                </c:pt>
                <c:pt idx="48">
                  <c:v>45.436500581784813</c:v>
                </c:pt>
                <c:pt idx="49">
                  <c:v>46.222209667488798</c:v>
                </c:pt>
                <c:pt idx="50">
                  <c:v>43.981441831675411</c:v>
                </c:pt>
                <c:pt idx="51">
                  <c:v>46.67346914884439</c:v>
                </c:pt>
                <c:pt idx="52">
                  <c:v>46.570680188385523</c:v>
                </c:pt>
                <c:pt idx="53">
                  <c:v>46.038667241941084</c:v>
                </c:pt>
                <c:pt idx="54" formatCode="0.0">
                  <c:v>46.506694761281544</c:v>
                </c:pt>
                <c:pt idx="55" formatCode="0.0">
                  <c:v>46.432054914066711</c:v>
                </c:pt>
                <c:pt idx="56">
                  <c:v>46.101608587280211</c:v>
                </c:pt>
                <c:pt idx="57" formatCode="0.0">
                  <c:v>46.356965027632803</c:v>
                </c:pt>
                <c:pt idx="58" formatCode="0.0">
                  <c:v>46.23966714515884</c:v>
                </c:pt>
                <c:pt idx="59">
                  <c:v>45.531641653239454</c:v>
                </c:pt>
                <c:pt idx="60">
                  <c:v>46.384473825923926</c:v>
                </c:pt>
                <c:pt idx="61">
                  <c:v>45.882397862991212</c:v>
                </c:pt>
                <c:pt idx="62">
                  <c:v>46.622506889576592</c:v>
                </c:pt>
                <c:pt idx="63">
                  <c:v>45.995544019269502</c:v>
                </c:pt>
                <c:pt idx="64">
                  <c:v>45.716147360715134</c:v>
                </c:pt>
                <c:pt idx="65">
                  <c:v>46.326342697827279</c:v>
                </c:pt>
                <c:pt idx="66">
                  <c:v>46.063942978738936</c:v>
                </c:pt>
                <c:pt idx="67">
                  <c:v>45.966942624492205</c:v>
                </c:pt>
                <c:pt idx="68">
                  <c:v>46.306608285849229</c:v>
                </c:pt>
                <c:pt idx="69">
                  <c:v>46.807377733686614</c:v>
                </c:pt>
                <c:pt idx="70">
                  <c:v>46.95065298966859</c:v>
                </c:pt>
                <c:pt idx="71">
                  <c:v>46.497862658628364</c:v>
                </c:pt>
                <c:pt idx="72" formatCode="0.0">
                  <c:v>47.034454032021166</c:v>
                </c:pt>
                <c:pt idx="73">
                  <c:v>46.705892762305901</c:v>
                </c:pt>
                <c:pt idx="74">
                  <c:v>46.839301392575187</c:v>
                </c:pt>
                <c:pt idx="75">
                  <c:v>46.211517807870976</c:v>
                </c:pt>
                <c:pt idx="76">
                  <c:v>46.303984005336297</c:v>
                </c:pt>
                <c:pt idx="77">
                  <c:v>46.363741206943452</c:v>
                </c:pt>
                <c:pt idx="78">
                  <c:v>46.470738994343328</c:v>
                </c:pt>
                <c:pt idx="79">
                  <c:v>46.811737745352886</c:v>
                </c:pt>
                <c:pt idx="80">
                  <c:v>46.100052525356347</c:v>
                </c:pt>
                <c:pt idx="81">
                  <c:v>46.340304001746695</c:v>
                </c:pt>
                <c:pt idx="82">
                  <c:v>45.903391183267111</c:v>
                </c:pt>
                <c:pt idx="83">
                  <c:v>46.094710590201792</c:v>
                </c:pt>
                <c:pt idx="84">
                  <c:v>46.628450782268558</c:v>
                </c:pt>
                <c:pt idx="85">
                  <c:v>46.364178384804035</c:v>
                </c:pt>
                <c:pt idx="86">
                  <c:v>45.481924309547971</c:v>
                </c:pt>
                <c:pt idx="87">
                  <c:v>45.542749922433494</c:v>
                </c:pt>
                <c:pt idx="88">
                  <c:v>45.619517407846331</c:v>
                </c:pt>
                <c:pt idx="89">
                  <c:v>46.619117464265052</c:v>
                </c:pt>
                <c:pt idx="90">
                  <c:v>46.340304001746695</c:v>
                </c:pt>
                <c:pt idx="91">
                  <c:v>46.346270558991741</c:v>
                </c:pt>
                <c:pt idx="92" formatCode="0.0">
                  <c:v>46.107513271863965</c:v>
                </c:pt>
                <c:pt idx="93" formatCode="0.0">
                  <c:v>45.674608335283168</c:v>
                </c:pt>
                <c:pt idx="94" formatCode="0.0">
                  <c:v>46.048054687905086</c:v>
                </c:pt>
                <c:pt idx="95" formatCode="0.0">
                  <c:v>46.249874018228013</c:v>
                </c:pt>
                <c:pt idx="96" formatCode="0.0">
                  <c:v>46.214289065244444</c:v>
                </c:pt>
                <c:pt idx="97" formatCode="0.0">
                  <c:v>46.21894852321654</c:v>
                </c:pt>
                <c:pt idx="98" formatCode="0.0">
                  <c:v>46.141079140164145</c:v>
                </c:pt>
                <c:pt idx="99" formatCode="0.0">
                  <c:v>46.300776164134035</c:v>
                </c:pt>
                <c:pt idx="100" formatCode="0.0">
                  <c:v>46.320986052966042</c:v>
                </c:pt>
                <c:pt idx="101" formatCode="0.0">
                  <c:v>46.396480550884732</c:v>
                </c:pt>
                <c:pt idx="102" formatCode="0.0">
                  <c:v>45.986918446280932</c:v>
                </c:pt>
                <c:pt idx="103" formatCode="0.0">
                  <c:v>46.103274560181063</c:v>
                </c:pt>
                <c:pt idx="104" formatCode="0.0">
                  <c:v>46.326781785960975</c:v>
                </c:pt>
                <c:pt idx="105" formatCode="0.0">
                  <c:v>46.36108901458438</c:v>
                </c:pt>
                <c:pt idx="106" formatCode="0.0">
                  <c:v>46.463792523540533</c:v>
                </c:pt>
                <c:pt idx="107" formatCode="0.0">
                  <c:v>46.30971103020385</c:v>
                </c:pt>
                <c:pt idx="108" formatCode="0.0">
                  <c:v>46.864608594535113</c:v>
                </c:pt>
                <c:pt idx="109" formatCode="0.0">
                  <c:v>46.311342669434865</c:v>
                </c:pt>
                <c:pt idx="110" formatCode="0.0">
                  <c:v>46.544349422902087</c:v>
                </c:pt>
                <c:pt idx="111" formatCode="0.0">
                  <c:v>46.249086511386679</c:v>
                </c:pt>
                <c:pt idx="112" formatCode="0.0">
                  <c:v>46.662486520390303</c:v>
                </c:pt>
                <c:pt idx="113" formatCode="0.0">
                  <c:v>45.205959010893217</c:v>
                </c:pt>
                <c:pt idx="114" formatCode="0.0">
                  <c:v>45.650140593132633</c:v>
                </c:pt>
                <c:pt idx="115" formatCode="0.0">
                  <c:v>45.225485541535029</c:v>
                </c:pt>
                <c:pt idx="116" formatCode="0.0">
                  <c:v>45.466293070147742</c:v>
                </c:pt>
                <c:pt idx="117" formatCode="0.0">
                  <c:v>46.177518108232974</c:v>
                </c:pt>
                <c:pt idx="118" formatCode="0.0">
                  <c:v>45.49274110058289</c:v>
                </c:pt>
                <c:pt idx="119" formatCode="0.0">
                  <c:v>45.286553887781899</c:v>
                </c:pt>
                <c:pt idx="120" formatCode="0.0">
                  <c:v>46.6930719436495</c:v>
                </c:pt>
                <c:pt idx="121" formatCode="0.0">
                  <c:v>46.501958319880295</c:v>
                </c:pt>
                <c:pt idx="122" formatCode="0.0">
                  <c:v>46.783684321022193</c:v>
                </c:pt>
                <c:pt idx="123" formatCode="0.0">
                  <c:v>46.507981699900498</c:v>
                </c:pt>
                <c:pt idx="124" formatCode="0.0">
                  <c:v>46.183756993093603</c:v>
                </c:pt>
                <c:pt idx="125" formatCode="0.0">
                  <c:v>45.812861706681105</c:v>
                </c:pt>
                <c:pt idx="126" formatCode="0.0">
                  <c:v>46.535535862025199</c:v>
                </c:pt>
                <c:pt idx="127" formatCode="0.0">
                  <c:v>46.5788240253681</c:v>
                </c:pt>
                <c:pt idx="128" formatCode="0.0">
                  <c:v>46.313674152871499</c:v>
                </c:pt>
                <c:pt idx="129" formatCode="0.0">
                  <c:v>47.125034518139095</c:v>
                </c:pt>
                <c:pt idx="130" formatCode="0.0">
                  <c:v>46.3216959598617</c:v>
                </c:pt>
                <c:pt idx="131" formatCode="0.0">
                  <c:v>46.743238717129294</c:v>
                </c:pt>
                <c:pt idx="132" formatCode="0.0">
                  <c:v>46.869140977840502</c:v>
                </c:pt>
                <c:pt idx="133" formatCode="0.0">
                  <c:v>46.567842161674506</c:v>
                </c:pt>
                <c:pt idx="134" formatCode="0.0">
                  <c:v>46.521307820924996</c:v>
                </c:pt>
                <c:pt idx="135" formatCode="0.0">
                  <c:v>45.846244587296795</c:v>
                </c:pt>
                <c:pt idx="136" formatCode="0.0">
                  <c:v>46.092314714202502</c:v>
                </c:pt>
                <c:pt idx="137" formatCode="0.0">
                  <c:v>46.9979308617893</c:v>
                </c:pt>
                <c:pt idx="138" formatCode="0.0">
                  <c:v>45.491109713765702</c:v>
                </c:pt>
                <c:pt idx="139" formatCode="0.0">
                  <c:v>45.4687040223601</c:v>
                </c:pt>
                <c:pt idx="140" formatCode="0.0">
                  <c:v>45.772549487483801</c:v>
                </c:pt>
                <c:pt idx="141" formatCode="0.0">
                  <c:v>45.369984984680599</c:v>
                </c:pt>
                <c:pt idx="142" formatCode="0.0">
                  <c:v>46.889598220288597</c:v>
                </c:pt>
                <c:pt idx="143" formatCode="0.0">
                  <c:v>46.066339370888798</c:v>
                </c:pt>
                <c:pt idx="144" formatCode="0.0">
                  <c:v>43.009792494332103</c:v>
                </c:pt>
                <c:pt idx="145" formatCode="0.0">
                  <c:v>0</c:v>
                </c:pt>
                <c:pt idx="146" formatCode="0.0">
                  <c:v>0</c:v>
                </c:pt>
                <c:pt idx="147" formatCode="0.0">
                  <c:v>0</c:v>
                </c:pt>
                <c:pt idx="148" formatCode="0.0">
                  <c:v>0</c:v>
                </c:pt>
                <c:pt idx="149" formatCode="0.0">
                  <c:v>46.581678931063394</c:v>
                </c:pt>
                <c:pt idx="150" formatCode="0.0">
                  <c:v>46.308807397896999</c:v>
                </c:pt>
                <c:pt idx="151" formatCode="0.0">
                  <c:v>45.358990551597898</c:v>
                </c:pt>
                <c:pt idx="152" formatCode="0.0">
                  <c:v>45.304026267780202</c:v>
                </c:pt>
                <c:pt idx="153" formatCode="0.0">
                  <c:v>45.869862551327103</c:v>
                </c:pt>
                <c:pt idx="154" formatCode="0.0">
                  <c:v>46.110211839383702</c:v>
                </c:pt>
                <c:pt idx="155" formatCode="0.0">
                  <c:v>46.804025051513293</c:v>
                </c:pt>
                <c:pt idx="156" formatCode="0.0">
                  <c:v>46.148317593057598</c:v>
                </c:pt>
                <c:pt idx="157" formatCode="0.0">
                  <c:v>46.575451175797298</c:v>
                </c:pt>
                <c:pt idx="158" formatCode="0.0">
                  <c:v>46.306632695969697</c:v>
                </c:pt>
                <c:pt idx="159" formatCode="0.0">
                  <c:v>46.081072936069098</c:v>
                </c:pt>
                <c:pt idx="160" formatCode="0.0">
                  <c:v>46.071765847274804</c:v>
                </c:pt>
                <c:pt idx="161" formatCode="0.0">
                  <c:v>46.527098784626702</c:v>
                </c:pt>
                <c:pt idx="162" formatCode="0.0">
                  <c:v>46.218246999384903</c:v>
                </c:pt>
                <c:pt idx="163" formatCode="0.0">
                  <c:v>45.143464716369095</c:v>
                </c:pt>
                <c:pt idx="164" formatCode="0.0">
                  <c:v>46.380856376138901</c:v>
                </c:pt>
                <c:pt idx="165" formatCode="0.0">
                  <c:v>45.657040616572402</c:v>
                </c:pt>
                <c:pt idx="166" formatCode="0.0">
                  <c:v>46.096873898275099</c:v>
                </c:pt>
                <c:pt idx="167" formatCode="0.0">
                  <c:v>45.604111091386301</c:v>
                </c:pt>
                <c:pt idx="168" formatCode="0.0">
                  <c:v>0</c:v>
                </c:pt>
                <c:pt idx="169" formatCode="0.0">
                  <c:v>44.762209921655</c:v>
                </c:pt>
                <c:pt idx="170" formatCode="0.0">
                  <c:v>45.9345042933613</c:v>
                </c:pt>
                <c:pt idx="171" formatCode="0.0">
                  <c:v>46.08970167549549</c:v>
                </c:pt>
                <c:pt idx="172" formatCode="0.0">
                  <c:v>48.844133205963303</c:v>
                </c:pt>
                <c:pt idx="173" formatCode="0.0">
                  <c:v>45.819273729307497</c:v>
                </c:pt>
                <c:pt idx="174" formatCode="0.0">
                  <c:v>46.079425793882798</c:v>
                </c:pt>
                <c:pt idx="175" formatCode="0.0">
                  <c:v>46.077266168348395</c:v>
                </c:pt>
                <c:pt idx="176" formatCode="0.0">
                  <c:v>46.248807303887901</c:v>
                </c:pt>
                <c:pt idx="177" formatCode="0.0">
                  <c:v>46.189581347083902</c:v>
                </c:pt>
                <c:pt idx="178" formatCode="0.0">
                  <c:v>46.044206005556497</c:v>
                </c:pt>
                <c:pt idx="179" formatCode="0.0">
                  <c:v>46.868820047337813</c:v>
                </c:pt>
                <c:pt idx="180" formatCode="0.0">
                  <c:v>47.240097613873104</c:v>
                </c:pt>
                <c:pt idx="181" formatCode="0.0">
                  <c:v>47.658119052845706</c:v>
                </c:pt>
                <c:pt idx="182" formatCode="0.0">
                  <c:v>47.309292391704389</c:v>
                </c:pt>
                <c:pt idx="183" formatCode="0.0">
                  <c:v>47.227741958677704</c:v>
                </c:pt>
                <c:pt idx="184" formatCode="0.0">
                  <c:v>47.083093467883899</c:v>
                </c:pt>
                <c:pt idx="185" formatCode="0.0">
                  <c:v>45.300000001854301</c:v>
                </c:pt>
                <c:pt idx="186" formatCode="0.0">
                  <c:v>45.353061382583498</c:v>
                </c:pt>
                <c:pt idx="187" formatCode="0.0">
                  <c:v>45.009043335082801</c:v>
                </c:pt>
                <c:pt idx="188" formatCode="0.0">
                  <c:v>45.354054784737102</c:v>
                </c:pt>
                <c:pt idx="189" formatCode="0.0">
                  <c:v>45.1316539538672</c:v>
                </c:pt>
                <c:pt idx="190" formatCode="0.0">
                  <c:v>45.107582338861093</c:v>
                </c:pt>
                <c:pt idx="191" formatCode="0.0">
                  <c:v>45.623444897912897</c:v>
                </c:pt>
                <c:pt idx="192" formatCode="0.0">
                  <c:v>45.107100810538796</c:v>
                </c:pt>
                <c:pt idx="193" formatCode="0.0">
                  <c:v>45.113749909751903</c:v>
                </c:pt>
                <c:pt idx="194" formatCode="0.0">
                  <c:v>45.177093625430601</c:v>
                </c:pt>
                <c:pt idx="195" formatCode="0.0">
                  <c:v>45.382945238340298</c:v>
                </c:pt>
                <c:pt idx="196" formatCode="0.0">
                  <c:v>45.730425421727602</c:v>
                </c:pt>
                <c:pt idx="197" formatCode="0.0">
                  <c:v>45.914819473579499</c:v>
                </c:pt>
                <c:pt idx="198" formatCode="0.0">
                  <c:v>45.955569492193604</c:v>
                </c:pt>
                <c:pt idx="199" formatCode="0.0">
                  <c:v>46.020706957420103</c:v>
                </c:pt>
                <c:pt idx="200" formatCode="0.0">
                  <c:v>45.989374852440704</c:v>
                </c:pt>
                <c:pt idx="201" formatCode="0.0">
                  <c:v>46.665433031632197</c:v>
                </c:pt>
                <c:pt idx="202" formatCode="0.0">
                  <c:v>46.057055301640702</c:v>
                </c:pt>
                <c:pt idx="203" formatCode="0.0">
                  <c:v>45.994433439956303</c:v>
                </c:pt>
                <c:pt idx="204" formatCode="0.0">
                  <c:v>46.272506732128598</c:v>
                </c:pt>
                <c:pt idx="205" formatCode="0.0">
                  <c:v>45.929892725368504</c:v>
                </c:pt>
                <c:pt idx="206" formatCode="0.0">
                  <c:v>45.417404767967902</c:v>
                </c:pt>
                <c:pt idx="207" formatCode="0.0">
                  <c:v>45.108270927401094</c:v>
                </c:pt>
                <c:pt idx="208" formatCode="0.0">
                  <c:v>44.4121093485426</c:v>
                </c:pt>
                <c:pt idx="209" formatCode="0.0">
                  <c:v>45.674957196539701</c:v>
                </c:pt>
                <c:pt idx="210" formatCode="0.0">
                  <c:v>45.7023836203767</c:v>
                </c:pt>
                <c:pt idx="211" formatCode="0.0">
                  <c:v>45.419136499510302</c:v>
                </c:pt>
                <c:pt idx="212" formatCode="0.0">
                  <c:v>45.818608444166699</c:v>
                </c:pt>
                <c:pt idx="213" formatCode="0.0">
                  <c:v>45.2214212990907</c:v>
                </c:pt>
                <c:pt idx="214" formatCode="0.0">
                  <c:v>45.383813467855802</c:v>
                </c:pt>
                <c:pt idx="215" formatCode="0.0">
                  <c:v>45.019240896653699</c:v>
                </c:pt>
                <c:pt idx="216" formatCode="0.0">
                  <c:v>45.620664689858103</c:v>
                </c:pt>
                <c:pt idx="217" formatCode="0.0">
                  <c:v>46.701517076307191</c:v>
                </c:pt>
                <c:pt idx="218" formatCode="0.0">
                  <c:v>45.308915323818695</c:v>
                </c:pt>
                <c:pt idx="219" formatCode="0.0">
                  <c:v>46.147889700020407</c:v>
                </c:pt>
                <c:pt idx="220" formatCode="0.0">
                  <c:v>45.066962761182801</c:v>
                </c:pt>
                <c:pt idx="221" formatCode="0.0">
                  <c:v>45.202013064877001</c:v>
                </c:pt>
                <c:pt idx="222" formatCode="0.0">
                  <c:v>45.579375649495603</c:v>
                </c:pt>
                <c:pt idx="223" formatCode="0.0">
                  <c:v>45.202107419307396</c:v>
                </c:pt>
                <c:pt idx="224" formatCode="0.0">
                  <c:v>45.517395441536607</c:v>
                </c:pt>
                <c:pt idx="225" formatCode="0.0">
                  <c:v>46.242557632790302</c:v>
                </c:pt>
                <c:pt idx="226" formatCode="0.0">
                  <c:v>45.821016086358895</c:v>
                </c:pt>
                <c:pt idx="227" formatCode="0.0">
                  <c:v>45.9177346527213</c:v>
                </c:pt>
                <c:pt idx="228" formatCode="0.0">
                  <c:v>45.520023419141403</c:v>
                </c:pt>
                <c:pt idx="229" formatCode="0.0">
                  <c:v>45.456539825578503</c:v>
                </c:pt>
                <c:pt idx="230" formatCode="0.0">
                  <c:v>45.580889632791198</c:v>
                </c:pt>
                <c:pt idx="231" formatCode="0.0">
                  <c:v>45.862885386767296</c:v>
                </c:pt>
                <c:pt idx="232" formatCode="0.0">
                  <c:v>46.539167044123204</c:v>
                </c:pt>
                <c:pt idx="233" formatCode="0.0">
                  <c:v>46.5939795571608</c:v>
                </c:pt>
                <c:pt idx="234" formatCode="0.0">
                  <c:v>46.914953362855201</c:v>
                </c:pt>
                <c:pt idx="235" formatCode="0.0">
                  <c:v>46.5085661944413</c:v>
                </c:pt>
                <c:pt idx="236" formatCode="0.0">
                  <c:v>45.877262366976701</c:v>
                </c:pt>
                <c:pt idx="237" formatCode="0.0">
                  <c:v>46.504866077731897</c:v>
                </c:pt>
                <c:pt idx="238" formatCode="0.0">
                  <c:v>45.710410449826497</c:v>
                </c:pt>
                <c:pt idx="239" formatCode="0.0">
                  <c:v>46.514679289964398</c:v>
                </c:pt>
                <c:pt idx="240" formatCode="0.0">
                  <c:v>45.347101587935697</c:v>
                </c:pt>
                <c:pt idx="241" formatCode="0.0">
                  <c:v>46.525862627128099</c:v>
                </c:pt>
                <c:pt idx="242" formatCode="0.0">
                  <c:v>46.295053995284398</c:v>
                </c:pt>
                <c:pt idx="243" formatCode="0.0">
                  <c:v>46.177295491472407</c:v>
                </c:pt>
                <c:pt idx="244" formatCode="0.0">
                  <c:v>44.752072312142793</c:v>
                </c:pt>
                <c:pt idx="245" formatCode="0.0">
                  <c:v>46.6432042772486</c:v>
                </c:pt>
                <c:pt idx="246" formatCode="0.0">
                  <c:v>46.531295042765599</c:v>
                </c:pt>
                <c:pt idx="247" formatCode="0.0">
                  <c:v>46.398951601753602</c:v>
                </c:pt>
                <c:pt idx="248" formatCode="0.0">
                  <c:v>45.9435874155173</c:v>
                </c:pt>
                <c:pt idx="249" formatCode="0.0">
                  <c:v>46.515720078433304</c:v>
                </c:pt>
                <c:pt idx="250" formatCode="0.0">
                  <c:v>46.673154636966999</c:v>
                </c:pt>
                <c:pt idx="251" formatCode="0.0">
                  <c:v>46.105316274600298</c:v>
                </c:pt>
                <c:pt idx="252" formatCode="0.0">
                  <c:v>46.1195274258572</c:v>
                </c:pt>
                <c:pt idx="253" formatCode="0.0">
                  <c:v>45.6088229909247</c:v>
                </c:pt>
                <c:pt idx="254" formatCode="0.0">
                  <c:v>45.353813656098197</c:v>
                </c:pt>
                <c:pt idx="255" formatCode="0.0">
                  <c:v>46.3157686982019</c:v>
                </c:pt>
                <c:pt idx="256" formatCode="0.0">
                  <c:v>45.955632919616896</c:v>
                </c:pt>
                <c:pt idx="257" formatCode="0.0">
                  <c:v>46.5600067681886</c:v>
                </c:pt>
                <c:pt idx="258" formatCode="0.0">
                  <c:v>44.4192547250017</c:v>
                </c:pt>
                <c:pt idx="259" formatCode="0.0">
                  <c:v>44.206013980273596</c:v>
                </c:pt>
                <c:pt idx="260" formatCode="0.0">
                  <c:v>47.277469688511104</c:v>
                </c:pt>
                <c:pt idx="261" formatCode="0.0">
                  <c:v>46.130435048071696</c:v>
                </c:pt>
                <c:pt idx="262" formatCode="0.0">
                  <c:v>45.277899478716499</c:v>
                </c:pt>
                <c:pt idx="263" formatCode="0.0">
                  <c:v>45.660055016151503</c:v>
                </c:pt>
                <c:pt idx="264" formatCode="0.0">
                  <c:v>45.722891735880694</c:v>
                </c:pt>
                <c:pt idx="265" formatCode="0.0">
                  <c:v>45.8554251851819</c:v>
                </c:pt>
                <c:pt idx="266" formatCode="0.0">
                  <c:v>45.590306910584104</c:v>
                </c:pt>
                <c:pt idx="267" formatCode="0.0">
                  <c:v>44.266845343978105</c:v>
                </c:pt>
                <c:pt idx="268" formatCode="0.0">
                  <c:v>45.917241357525604</c:v>
                </c:pt>
                <c:pt idx="269" formatCode="0.0">
                  <c:v>45.523880212174397</c:v>
                </c:pt>
                <c:pt idx="270" formatCode="0.0">
                  <c:v>46.340407551902096</c:v>
                </c:pt>
                <c:pt idx="271" formatCode="0.0">
                  <c:v>46.091496609455803</c:v>
                </c:pt>
                <c:pt idx="272" formatCode="0.0">
                  <c:v>46.214527491537396</c:v>
                </c:pt>
                <c:pt idx="273" formatCode="0.0">
                  <c:v>46.335469223217096</c:v>
                </c:pt>
                <c:pt idx="274" formatCode="0.0">
                  <c:v>46.081148138884998</c:v>
                </c:pt>
                <c:pt idx="275" formatCode="0.0">
                  <c:v>45.7595960168236</c:v>
                </c:pt>
                <c:pt idx="276" formatCode="0.0">
                  <c:v>46.025454892225</c:v>
                </c:pt>
                <c:pt idx="277" formatCode="0.0">
                  <c:v>46.013429750930001</c:v>
                </c:pt>
                <c:pt idx="278" formatCode="0.0">
                  <c:v>45.717660824113302</c:v>
                </c:pt>
                <c:pt idx="279" formatCode="0.0">
                  <c:v>44.949309660538205</c:v>
                </c:pt>
                <c:pt idx="280" formatCode="0.0">
                  <c:v>45.059228468485905</c:v>
                </c:pt>
                <c:pt idx="281" formatCode="0.0">
                  <c:v>45.6009142305004</c:v>
                </c:pt>
                <c:pt idx="282" formatCode="0.0">
                  <c:v>45.089478542859702</c:v>
                </c:pt>
                <c:pt idx="283" formatCode="0.0">
                  <c:v>46.035856404615501</c:v>
                </c:pt>
                <c:pt idx="284" formatCode="0.0">
                  <c:v>45.901149606421505</c:v>
                </c:pt>
                <c:pt idx="285" formatCode="0.0">
                  <c:v>46.018774237992702</c:v>
                </c:pt>
                <c:pt idx="286" formatCode="0.0">
                  <c:v>46.774028001830303</c:v>
                </c:pt>
                <c:pt idx="287" formatCode="0.0">
                  <c:v>46.774028001830303</c:v>
                </c:pt>
                <c:pt idx="288" formatCode="0.0">
                  <c:v>45.132599133137703</c:v>
                </c:pt>
                <c:pt idx="289" formatCode="0.0">
                  <c:v>45.821807324360606</c:v>
                </c:pt>
                <c:pt idx="290" formatCode="0.0">
                  <c:v>46.292018580184404</c:v>
                </c:pt>
                <c:pt idx="291" formatCode="0.0">
                  <c:v>46.160366197943794</c:v>
                </c:pt>
                <c:pt idx="292" formatCode="0.0">
                  <c:v>45.375562491652701</c:v>
                </c:pt>
                <c:pt idx="293" formatCode="0.0">
                  <c:v>45.865950648023102</c:v>
                </c:pt>
                <c:pt idx="294" formatCode="0.0">
                  <c:v>45.207451458775701</c:v>
                </c:pt>
                <c:pt idx="295" formatCode="0.0">
                  <c:v>45.532179019028696</c:v>
                </c:pt>
                <c:pt idx="296" formatCode="0.0">
                  <c:v>45.580797264416297</c:v>
                </c:pt>
                <c:pt idx="297" formatCode="0.0">
                  <c:v>45.308839731919903</c:v>
                </c:pt>
                <c:pt idx="298" formatCode="0.0">
                  <c:v>45.453200714461303</c:v>
                </c:pt>
                <c:pt idx="299" formatCode="0.0">
                  <c:v>46.198210720085697</c:v>
                </c:pt>
                <c:pt idx="300" formatCode="0.0">
                  <c:v>45.551088664844599</c:v>
                </c:pt>
                <c:pt idx="301" formatCode="0.0">
                  <c:v>44.615160524289095</c:v>
                </c:pt>
                <c:pt idx="302" formatCode="0.0">
                  <c:v>45.211791460813799</c:v>
                </c:pt>
                <c:pt idx="303" formatCode="0.0">
                  <c:v>45.7596903791461</c:v>
                </c:pt>
                <c:pt idx="304" formatCode="0.0">
                  <c:v>45.299384484081003</c:v>
                </c:pt>
                <c:pt idx="305" formatCode="0.0">
                  <c:v>45.443868595486599</c:v>
                </c:pt>
                <c:pt idx="306" formatCode="0.0">
                  <c:v>45.948026482046401</c:v>
                </c:pt>
                <c:pt idx="307" formatCode="0.0">
                  <c:v>45.872022847446203</c:v>
                </c:pt>
                <c:pt idx="308" formatCode="0.0">
                  <c:v>45.836717516533994</c:v>
                </c:pt>
                <c:pt idx="309" formatCode="0.0">
                  <c:v>46.0126282775433</c:v>
                </c:pt>
                <c:pt idx="310" formatCode="0.0">
                  <c:v>45.234409506551103</c:v>
                </c:pt>
                <c:pt idx="311" formatCode="0.0">
                  <c:v>45.815555463531403</c:v>
                </c:pt>
                <c:pt idx="312" formatCode="0.0">
                  <c:v>46.4934670517478</c:v>
                </c:pt>
                <c:pt idx="313" formatCode="0.0">
                  <c:v>46.229011918780103</c:v>
                </c:pt>
                <c:pt idx="314" formatCode="0.0">
                  <c:v>45.481141368014598</c:v>
                </c:pt>
                <c:pt idx="315" formatCode="0.0">
                  <c:v>44.544970473800007</c:v>
                </c:pt>
                <c:pt idx="316" formatCode="0.0">
                  <c:v>45.441375690775494</c:v>
                </c:pt>
                <c:pt idx="317" formatCode="0.0">
                  <c:v>45.503540364675899</c:v>
                </c:pt>
                <c:pt idx="318" formatCode="0.0">
                  <c:v>45.447456092529293</c:v>
                </c:pt>
                <c:pt idx="319" formatCode="0.0">
                  <c:v>45.848862066709898</c:v>
                </c:pt>
                <c:pt idx="320" formatCode="0.0">
                  <c:v>45.846138929131797</c:v>
                </c:pt>
                <c:pt idx="321" formatCode="0.0">
                  <c:v>46.034130416380293</c:v>
                </c:pt>
                <c:pt idx="322" formatCode="0.0">
                  <c:v>45.859663292224198</c:v>
                </c:pt>
                <c:pt idx="323" formatCode="0.0">
                  <c:v>45.151468300791805</c:v>
                </c:pt>
                <c:pt idx="324" formatCode="0.0">
                  <c:v>45.447863929798601</c:v>
                </c:pt>
                <c:pt idx="325" formatCode="0.0">
                  <c:v>45.778610583355103</c:v>
                </c:pt>
                <c:pt idx="326" formatCode="0.0">
                  <c:v>45.472011844723795</c:v>
                </c:pt>
                <c:pt idx="327" formatCode="0.0">
                  <c:v>45.395917066743095</c:v>
                </c:pt>
                <c:pt idx="328" formatCode="0.0">
                  <c:v>45.066303640417004</c:v>
                </c:pt>
                <c:pt idx="329" formatCode="0.0">
                  <c:v>45.533516847789301</c:v>
                </c:pt>
                <c:pt idx="330" formatCode="0.0">
                  <c:v>45.715941610871802</c:v>
                </c:pt>
                <c:pt idx="331" formatCode="0.0">
                  <c:v>45.498510838015001</c:v>
                </c:pt>
                <c:pt idx="332" formatCode="0.0">
                  <c:v>44.562499394684998</c:v>
                </c:pt>
                <c:pt idx="333" formatCode="0.0">
                  <c:v>44.839096683390906</c:v>
                </c:pt>
                <c:pt idx="334" formatCode="0.0">
                  <c:v>44.010500299645201</c:v>
                </c:pt>
                <c:pt idx="335" formatCode="0.0">
                  <c:v>43.516268869535295</c:v>
                </c:pt>
                <c:pt idx="336" formatCode="0.0">
                  <c:v>44.535482464890904</c:v>
                </c:pt>
                <c:pt idx="337" formatCode="0.0">
                  <c:v>44.186282557474001</c:v>
                </c:pt>
                <c:pt idx="338" formatCode="0.0">
                  <c:v>44.307818074697103</c:v>
                </c:pt>
                <c:pt idx="339" formatCode="0.0">
                  <c:v>44.683019886928093</c:v>
                </c:pt>
                <c:pt idx="340" formatCode="0.0">
                  <c:v>45.1995145464522</c:v>
                </c:pt>
                <c:pt idx="341" formatCode="0.0">
                  <c:v>44.743009122924803</c:v>
                </c:pt>
                <c:pt idx="342" formatCode="0.0">
                  <c:v>45.171127965166406</c:v>
                </c:pt>
                <c:pt idx="343" formatCode="0.0">
                  <c:v>44.806441240068004</c:v>
                </c:pt>
                <c:pt idx="344" formatCode="0.0">
                  <c:v>45.931440633602904</c:v>
                </c:pt>
                <c:pt idx="345" formatCode="0.0">
                  <c:v>45.656575067761594</c:v>
                </c:pt>
                <c:pt idx="346" formatCode="0.0">
                  <c:v>46.2734956189217</c:v>
                </c:pt>
                <c:pt idx="347" formatCode="0.0">
                  <c:v>46.308002261000098</c:v>
                </c:pt>
                <c:pt idx="348" formatCode="0.0">
                  <c:v>45.938127111306002</c:v>
                </c:pt>
                <c:pt idx="349" formatCode="0.0">
                  <c:v>45.779841783117298</c:v>
                </c:pt>
                <c:pt idx="350" formatCode="0.0">
                  <c:v>45.834179167298799</c:v>
                </c:pt>
                <c:pt idx="351" formatCode="0.0">
                  <c:v>44.451710497169302</c:v>
                </c:pt>
                <c:pt idx="352" formatCode="0.0">
                  <c:v>45.542674862149106</c:v>
                </c:pt>
                <c:pt idx="353" formatCode="0.0">
                  <c:v>45.187400852946894</c:v>
                </c:pt>
                <c:pt idx="354" formatCode="0.0">
                  <c:v>44.913008102841701</c:v>
                </c:pt>
                <c:pt idx="355" formatCode="0.0">
                  <c:v>44.690835365991703</c:v>
                </c:pt>
                <c:pt idx="356" formatCode="0.0">
                  <c:v>42.276138246420096</c:v>
                </c:pt>
                <c:pt idx="357" formatCode="0.0">
                  <c:v>44.289166966743792</c:v>
                </c:pt>
                <c:pt idx="358" formatCode="0.0">
                  <c:v>45.296557147288503</c:v>
                </c:pt>
                <c:pt idx="359" formatCode="0.0">
                  <c:v>45.709333934080298</c:v>
                </c:pt>
                <c:pt idx="360" formatCode="0.0">
                  <c:v>44.7725966340968</c:v>
                </c:pt>
                <c:pt idx="361" formatCode="0.0">
                  <c:v>44.754312412638996</c:v>
                </c:pt>
                <c:pt idx="362" formatCode="0.0">
                  <c:v>44.573964203508197</c:v>
                </c:pt>
                <c:pt idx="363" formatCode="0.0">
                  <c:v>44.743074199544701</c:v>
                </c:pt>
                <c:pt idx="364">
                  <c:v>43.993758054827801</c:v>
                </c:pt>
                <c:pt idx="365">
                  <c:v>45.846440573350506</c:v>
                </c:pt>
                <c:pt idx="366">
                  <c:v>45.810900038934705</c:v>
                </c:pt>
                <c:pt idx="367">
                  <c:v>46.214272925824602</c:v>
                </c:pt>
                <c:pt idx="368">
                  <c:v>46.9688351421227</c:v>
                </c:pt>
                <c:pt idx="369">
                  <c:v>46.393614696346297</c:v>
                </c:pt>
                <c:pt idx="370">
                  <c:v>45.884220102188202</c:v>
                </c:pt>
                <c:pt idx="371">
                  <c:v>46.126105299580502</c:v>
                </c:pt>
                <c:pt idx="372">
                  <c:v>44.884656367578899</c:v>
                </c:pt>
                <c:pt idx="373">
                  <c:v>45.108313330381698</c:v>
                </c:pt>
                <c:pt idx="374">
                  <c:v>46.145744263571899</c:v>
                </c:pt>
                <c:pt idx="375">
                  <c:v>45.479578481906799</c:v>
                </c:pt>
                <c:pt idx="376">
                  <c:v>45.423787839555601</c:v>
                </c:pt>
                <c:pt idx="377">
                  <c:v>45.796056947320494</c:v>
                </c:pt>
                <c:pt idx="378">
                  <c:v>46.419407341923701</c:v>
                </c:pt>
                <c:pt idx="379">
                  <c:v>45.401194947210499</c:v>
                </c:pt>
                <c:pt idx="380">
                  <c:v>45.423895031430305</c:v>
                </c:pt>
                <c:pt idx="381">
                  <c:v>45.4609987620669</c:v>
                </c:pt>
                <c:pt idx="382">
                  <c:v>45.499233192576597</c:v>
                </c:pt>
                <c:pt idx="383">
                  <c:v>46.032233350275398</c:v>
                </c:pt>
                <c:pt idx="384">
                  <c:v>45.599129283254697</c:v>
                </c:pt>
                <c:pt idx="385">
                  <c:v>45.661331926539397</c:v>
                </c:pt>
                <c:pt idx="386">
                  <c:v>46.248489184734105</c:v>
                </c:pt>
                <c:pt idx="387">
                  <c:v>46.431859921508298</c:v>
                </c:pt>
                <c:pt idx="388">
                  <c:v>45.7886833637398</c:v>
                </c:pt>
                <c:pt idx="389">
                  <c:v>45.781727136195698</c:v>
                </c:pt>
                <c:pt idx="390">
                  <c:v>46.528115112362499</c:v>
                </c:pt>
                <c:pt idx="391">
                  <c:v>45.813164528806098</c:v>
                </c:pt>
                <c:pt idx="392">
                  <c:v>46.320618167334601</c:v>
                </c:pt>
                <c:pt idx="393">
                  <c:v>45.219519815402698</c:v>
                </c:pt>
                <c:pt idx="394">
                  <c:v>45.696849665504004</c:v>
                </c:pt>
                <c:pt idx="395">
                  <c:v>46.0614627486014</c:v>
                </c:pt>
                <c:pt idx="396">
                  <c:v>45.377815353342896</c:v>
                </c:pt>
                <c:pt idx="397">
                  <c:v>45.717804438383794</c:v>
                </c:pt>
                <c:pt idx="398">
                  <c:v>1018.2034756944399</c:v>
                </c:pt>
                <c:pt idx="399">
                  <c:v>44.960441951761105</c:v>
                </c:pt>
                <c:pt idx="400">
                  <c:v>46.511299892234902</c:v>
                </c:pt>
                <c:pt idx="401">
                  <c:v>45.461693518881397</c:v>
                </c:pt>
                <c:pt idx="402">
                  <c:v>46.3556985775122</c:v>
                </c:pt>
                <c:pt idx="403">
                  <c:v>46.073559246155796</c:v>
                </c:pt>
                <c:pt idx="404">
                  <c:v>45.575764360570602</c:v>
                </c:pt>
                <c:pt idx="405">
                  <c:v>46.324092601074199</c:v>
                </c:pt>
                <c:pt idx="406">
                  <c:v>46.400149103734392</c:v>
                </c:pt>
                <c:pt idx="407">
                  <c:v>45.834511329010297</c:v>
                </c:pt>
                <c:pt idx="408">
                  <c:v>45.401542875087905</c:v>
                </c:pt>
                <c:pt idx="409">
                  <c:v>45.96312799495049</c:v>
                </c:pt>
                <c:pt idx="410">
                  <c:v>46.074013083481702</c:v>
                </c:pt>
                <c:pt idx="411">
                  <c:v>45.218491363081803</c:v>
                </c:pt>
                <c:pt idx="412">
                  <c:v>45.833104182050008</c:v>
                </c:pt>
                <c:pt idx="413">
                  <c:v>45.729564595651404</c:v>
                </c:pt>
                <c:pt idx="414">
                  <c:v>45.054382144240897</c:v>
                </c:pt>
                <c:pt idx="415">
                  <c:v>45.304669875785002</c:v>
                </c:pt>
                <c:pt idx="416">
                  <c:v>45.5114789434381</c:v>
                </c:pt>
                <c:pt idx="417">
                  <c:v>45.520804393431504</c:v>
                </c:pt>
                <c:pt idx="418">
                  <c:v>46.0830356487891</c:v>
                </c:pt>
                <c:pt idx="419">
                  <c:v>46.495301471618603</c:v>
                </c:pt>
                <c:pt idx="420">
                  <c:v>46.801795774594993</c:v>
                </c:pt>
                <c:pt idx="421">
                  <c:v>46.365924568993904</c:v>
                </c:pt>
                <c:pt idx="422">
                  <c:v>47.055911038953695</c:v>
                </c:pt>
                <c:pt idx="423">
                  <c:v>47.265860990477499</c:v>
                </c:pt>
                <c:pt idx="424">
                  <c:v>46.165161707814804</c:v>
                </c:pt>
                <c:pt idx="425">
                  <c:v>45.556864623550801</c:v>
                </c:pt>
                <c:pt idx="426">
                  <c:v>45.3381797991673</c:v>
                </c:pt>
                <c:pt idx="427">
                  <c:v>45.2362357829724</c:v>
                </c:pt>
                <c:pt idx="428">
                  <c:v>45.499282275075501</c:v>
                </c:pt>
                <c:pt idx="429">
                  <c:v>45.642792971164397</c:v>
                </c:pt>
                <c:pt idx="430">
                  <c:v>44.954943780618805</c:v>
                </c:pt>
                <c:pt idx="431">
                  <c:v>45.509383090093898</c:v>
                </c:pt>
                <c:pt idx="432">
                  <c:v>46.644971571896299</c:v>
                </c:pt>
                <c:pt idx="433">
                  <c:v>45.619993996804602</c:v>
                </c:pt>
                <c:pt idx="434">
                  <c:v>46.488778296514106</c:v>
                </c:pt>
                <c:pt idx="435">
                  <c:v>46.299993070882493</c:v>
                </c:pt>
                <c:pt idx="436">
                  <c:v>45.575032210740794</c:v>
                </c:pt>
                <c:pt idx="437">
                  <c:v>44.906301275264198</c:v>
                </c:pt>
                <c:pt idx="438" formatCode="0.0">
                  <c:v>45.353458648932097</c:v>
                </c:pt>
                <c:pt idx="439">
                  <c:v>45.439173533267606</c:v>
                </c:pt>
                <c:pt idx="440">
                  <c:v>0</c:v>
                </c:pt>
                <c:pt idx="441">
                  <c:v>0</c:v>
                </c:pt>
                <c:pt idx="442">
                  <c:v>0</c:v>
                </c:pt>
                <c:pt idx="443">
                  <c:v>46.247688985746798</c:v>
                </c:pt>
                <c:pt idx="444">
                  <c:v>45.033841871732193</c:v>
                </c:pt>
                <c:pt idx="445">
                  <c:v>45.564147789086604</c:v>
                </c:pt>
                <c:pt idx="446">
                  <c:v>45.5</c:v>
                </c:pt>
                <c:pt idx="447">
                  <c:v>45.547246816370695</c:v>
                </c:pt>
                <c:pt idx="448">
                  <c:v>44.857785240324695</c:v>
                </c:pt>
                <c:pt idx="449">
                  <c:v>45.085003448509802</c:v>
                </c:pt>
                <c:pt idx="450">
                  <c:v>45.826948451907299</c:v>
                </c:pt>
                <c:pt idx="451">
                  <c:v>45.940749300505502</c:v>
                </c:pt>
                <c:pt idx="452">
                  <c:v>44.639112154639506</c:v>
                </c:pt>
                <c:pt idx="453">
                  <c:v>44.460261420070907</c:v>
                </c:pt>
                <c:pt idx="454">
                  <c:v>44.192076251843801</c:v>
                </c:pt>
                <c:pt idx="455">
                  <c:v>44.840074475480598</c:v>
                </c:pt>
                <c:pt idx="456">
                  <c:v>44.938956888544688</c:v>
                </c:pt>
                <c:pt idx="457">
                  <c:v>45.425611788559699</c:v>
                </c:pt>
                <c:pt idx="458" formatCode="0.0">
                  <c:v>45.166037924126201</c:v>
                </c:pt>
                <c:pt idx="459" formatCode="0.0">
                  <c:v>44.785650702711699</c:v>
                </c:pt>
                <c:pt idx="460" formatCode="0.0">
                  <c:v>44.526636471323499</c:v>
                </c:pt>
                <c:pt idx="461" formatCode="0.0">
                  <c:v>44.956648592869399</c:v>
                </c:pt>
                <c:pt idx="462" formatCode="0.0">
                  <c:v>44.442657523241294</c:v>
                </c:pt>
                <c:pt idx="463" formatCode="0.0">
                  <c:v>44.936837838265404</c:v>
                </c:pt>
                <c:pt idx="464" formatCode="0.0">
                  <c:v>44.427463461172401</c:v>
                </c:pt>
                <c:pt idx="465" formatCode="0.0">
                  <c:v>45.672774415595796</c:v>
                </c:pt>
                <c:pt idx="466" formatCode="0.0">
                  <c:v>46.165501900826698</c:v>
                </c:pt>
                <c:pt idx="467" formatCode="0.0">
                  <c:v>46.078214294188498</c:v>
                </c:pt>
                <c:pt idx="468" formatCode="0.0">
                  <c:v>44.538405184908299</c:v>
                </c:pt>
                <c:pt idx="469" formatCode="0.0">
                  <c:v>46.454150503378806</c:v>
                </c:pt>
                <c:pt idx="470" formatCode="0.0">
                  <c:v>47.0187658561509</c:v>
                </c:pt>
                <c:pt idx="471" formatCode="0.0">
                  <c:v>46.717028141791495</c:v>
                </c:pt>
                <c:pt idx="472" formatCode="0.0">
                  <c:v>47.063548405395295</c:v>
                </c:pt>
                <c:pt idx="473" formatCode="0.0">
                  <c:v>46.959262321705296</c:v>
                </c:pt>
                <c:pt idx="474" formatCode="0.0">
                  <c:v>46.600862310215803</c:v>
                </c:pt>
                <c:pt idx="475" formatCode="0.0">
                  <c:v>46.653360180862705</c:v>
                </c:pt>
                <c:pt idx="476" formatCode="0.0">
                  <c:v>46.778720581347102</c:v>
                </c:pt>
                <c:pt idx="477" formatCode="0.0">
                  <c:v>46.878655998230499</c:v>
                </c:pt>
                <c:pt idx="478" formatCode="0.0">
                  <c:v>46.382487158793296</c:v>
                </c:pt>
                <c:pt idx="479" formatCode="0.0">
                  <c:v>45.739891039556596</c:v>
                </c:pt>
                <c:pt idx="480" formatCode="0.0">
                  <c:v>46.7371968341456</c:v>
                </c:pt>
                <c:pt idx="481" formatCode="0.0">
                  <c:v>45.640939843351504</c:v>
                </c:pt>
                <c:pt idx="482" formatCode="0.0">
                  <c:v>46.029848573154098</c:v>
                </c:pt>
                <c:pt idx="483" formatCode="0.0">
                  <c:v>46.064859477747497</c:v>
                </c:pt>
                <c:pt idx="484" formatCode="0.0">
                  <c:v>45.497731538937501</c:v>
                </c:pt>
                <c:pt idx="485" formatCode="0.0">
                  <c:v>45.91985526885</c:v>
                </c:pt>
                <c:pt idx="486" formatCode="0.0">
                  <c:v>44.678464807860593</c:v>
                </c:pt>
                <c:pt idx="487" formatCode="0.0">
                  <c:v>44.473240908381598</c:v>
                </c:pt>
                <c:pt idx="488" formatCode="0.0">
                  <c:v>45.480354259730397</c:v>
                </c:pt>
                <c:pt idx="489" formatCode="0.0">
                  <c:v>45.313039618875699</c:v>
                </c:pt>
                <c:pt idx="490" formatCode="0.0">
                  <c:v>45.751956981604998</c:v>
                </c:pt>
                <c:pt idx="491" formatCode="0.0">
                  <c:v>46.374280796500294</c:v>
                </c:pt>
                <c:pt idx="492" formatCode="0.0">
                  <c:v>46.084277382490001</c:v>
                </c:pt>
                <c:pt idx="493" formatCode="0.0">
                  <c:v>46.206412031089002</c:v>
                </c:pt>
                <c:pt idx="494" formatCode="0.0">
                  <c:v>45.104632745185604</c:v>
                </c:pt>
                <c:pt idx="495" formatCode="0.0">
                  <c:v>43.626255104918201</c:v>
                </c:pt>
                <c:pt idx="496" formatCode="0.0">
                  <c:v>43.377027232512503</c:v>
                </c:pt>
                <c:pt idx="497" formatCode="0.0">
                  <c:v>0</c:v>
                </c:pt>
                <c:pt idx="498" formatCode="0.0">
                  <c:v>0</c:v>
                </c:pt>
                <c:pt idx="499" formatCode="0.0">
                  <c:v>44.349995247251101</c:v>
                </c:pt>
                <c:pt idx="500" formatCode="0.0">
                  <c:v>44.526630239257599</c:v>
                </c:pt>
                <c:pt idx="501" formatCode="0.0">
                  <c:v>44.301413322696497</c:v>
                </c:pt>
                <c:pt idx="502" formatCode="0.0">
                  <c:v>44.106122770349401</c:v>
                </c:pt>
                <c:pt idx="503" formatCode="0.0">
                  <c:v>44.497311968566002</c:v>
                </c:pt>
                <c:pt idx="504" formatCode="0.0">
                  <c:v>44.614776007356902</c:v>
                </c:pt>
                <c:pt idx="505" formatCode="0.0">
                  <c:v>44.1768855823168</c:v>
                </c:pt>
                <c:pt idx="506" formatCode="0.0">
                  <c:v>43.780312437961157</c:v>
                </c:pt>
                <c:pt idx="507" formatCode="0.0">
                  <c:v>43.780376216970296</c:v>
                </c:pt>
                <c:pt idx="508" formatCode="0.0">
                  <c:v>43.7031295830121</c:v>
                </c:pt>
                <c:pt idx="509" formatCode="0.0">
                  <c:v>44.267154327801805</c:v>
                </c:pt>
                <c:pt idx="510" formatCode="0.0">
                  <c:v>44.328342317956896</c:v>
                </c:pt>
                <c:pt idx="511" formatCode="0.0">
                  <c:v>44.495806187585103</c:v>
                </c:pt>
                <c:pt idx="512" formatCode="0.0">
                  <c:v>45.315078756676101</c:v>
                </c:pt>
                <c:pt idx="513" formatCode="0.0">
                  <c:v>45.383577723575101</c:v>
                </c:pt>
                <c:pt idx="514" formatCode="0.0">
                  <c:v>45.839378291554894</c:v>
                </c:pt>
                <c:pt idx="515" formatCode="0.0">
                  <c:v>44.822841104792204</c:v>
                </c:pt>
                <c:pt idx="516" formatCode="0.0">
                  <c:v>44.3240420110548</c:v>
                </c:pt>
                <c:pt idx="517" formatCode="0.0">
                  <c:v>44.780158613116001</c:v>
                </c:pt>
                <c:pt idx="518" formatCode="0.0">
                  <c:v>44.832312496656101</c:v>
                </c:pt>
                <c:pt idx="519" formatCode="0.0">
                  <c:v>44.772081111819595</c:v>
                </c:pt>
                <c:pt idx="520" formatCode="0.0">
                  <c:v>44.7278294771193</c:v>
                </c:pt>
                <c:pt idx="521" formatCode="0.0">
                  <c:v>44.368200041169999</c:v>
                </c:pt>
                <c:pt idx="522" formatCode="0.0">
                  <c:v>44.332827529942904</c:v>
                </c:pt>
                <c:pt idx="523" formatCode="0.0">
                  <c:v>44.850487812057594</c:v>
                </c:pt>
                <c:pt idx="524" formatCode="0.0">
                  <c:v>45.485346027979105</c:v>
                </c:pt>
                <c:pt idx="525" formatCode="0.0">
                  <c:v>45.161786718878695</c:v>
                </c:pt>
                <c:pt idx="526" formatCode="0.0">
                  <c:v>46.773661386654702</c:v>
                </c:pt>
                <c:pt idx="527" formatCode="0.0">
                  <c:v>45.020957597348897</c:v>
                </c:pt>
                <c:pt idx="528" formatCode="0.0">
                  <c:v>43.014171455908105</c:v>
                </c:pt>
                <c:pt idx="529" formatCode="0.0">
                  <c:v>43.272371647059906</c:v>
                </c:pt>
                <c:pt idx="530" formatCode="0.0">
                  <c:v>44.931312954729698</c:v>
                </c:pt>
                <c:pt idx="531" formatCode="0.0">
                  <c:v>46</c:v>
                </c:pt>
                <c:pt idx="532" formatCode="0.0">
                  <c:v>46.575073931989095</c:v>
                </c:pt>
                <c:pt idx="533" formatCode="0.0">
                  <c:v>45.088110247653901</c:v>
                </c:pt>
                <c:pt idx="534" formatCode="0.0">
                  <c:v>44.0752681187574</c:v>
                </c:pt>
                <c:pt idx="535" formatCode="0.0">
                  <c:v>44.099874008988806</c:v>
                </c:pt>
                <c:pt idx="536" formatCode="0.0">
                  <c:v>44.729290614763102</c:v>
                </c:pt>
                <c:pt idx="537" formatCode="0.0">
                  <c:v>44.600243671404698</c:v>
                </c:pt>
                <c:pt idx="538" formatCode="0.0">
                  <c:v>44.695732787064799</c:v>
                </c:pt>
                <c:pt idx="539" formatCode="0.0">
                  <c:v>45.860212263990398</c:v>
                </c:pt>
                <c:pt idx="540" formatCode="0.0">
                  <c:v>46.580161230259506</c:v>
                </c:pt>
                <c:pt idx="541" formatCode="0.0">
                  <c:v>45.132180178691705</c:v>
                </c:pt>
                <c:pt idx="542" formatCode="0.0">
                  <c:v>45.689730196338502</c:v>
                </c:pt>
                <c:pt idx="543" formatCode="0.0">
                  <c:v>45.4866099772902</c:v>
                </c:pt>
                <c:pt idx="544" formatCode="0.0">
                  <c:v>45.321289573744295</c:v>
                </c:pt>
                <c:pt idx="545" formatCode="0.0">
                  <c:v>44.503202649079199</c:v>
                </c:pt>
                <c:pt idx="546" formatCode="0.0">
                  <c:v>44.352102975185595</c:v>
                </c:pt>
                <c:pt idx="547" formatCode="0.0">
                  <c:v>43.524493964388604</c:v>
                </c:pt>
                <c:pt idx="548" formatCode="0.0">
                  <c:v>44.332302756541807</c:v>
                </c:pt>
                <c:pt idx="549" formatCode="0.0">
                  <c:v>44.639675262959997</c:v>
                </c:pt>
                <c:pt idx="550" formatCode="0.0">
                  <c:v>44.081958474033399</c:v>
                </c:pt>
                <c:pt idx="551" formatCode="0.0">
                  <c:v>45.175392925408502</c:v>
                </c:pt>
                <c:pt idx="552" formatCode="0.0">
                  <c:v>45.072339931808102</c:v>
                </c:pt>
                <c:pt idx="553" formatCode="0.0">
                  <c:v>45.305573198272896</c:v>
                </c:pt>
                <c:pt idx="554" formatCode="0.0">
                  <c:v>46.226360651876803</c:v>
                </c:pt>
                <c:pt idx="555" formatCode="0.0">
                  <c:v>44.413209425287903</c:v>
                </c:pt>
                <c:pt idx="556" formatCode="0.0">
                  <c:v>45.180387499346104</c:v>
                </c:pt>
                <c:pt idx="557" formatCode="0.0">
                  <c:v>45.1057552642147</c:v>
                </c:pt>
                <c:pt idx="558" formatCode="0.0">
                  <c:v>44.5297277159166</c:v>
                </c:pt>
                <c:pt idx="559" formatCode="0.0">
                  <c:v>44.717555593150699</c:v>
                </c:pt>
                <c:pt idx="560" formatCode="0.0">
                  <c:v>46.047495479805704</c:v>
                </c:pt>
                <c:pt idx="561" formatCode="0.0">
                  <c:v>46.689123902856402</c:v>
                </c:pt>
                <c:pt idx="562" formatCode="0.0">
                  <c:v>44.879987124738314</c:v>
                </c:pt>
                <c:pt idx="563" formatCode="0.0">
                  <c:v>43.7178006859249</c:v>
                </c:pt>
                <c:pt idx="564" formatCode="0.0">
                  <c:v>43.864269029272101</c:v>
                </c:pt>
                <c:pt idx="565" formatCode="0.0">
                  <c:v>45.271096562995801</c:v>
                </c:pt>
                <c:pt idx="566" formatCode="0.0">
                  <c:v>44.632533450882306</c:v>
                </c:pt>
                <c:pt idx="567" formatCode="0.0">
                  <c:v>46.739170062003993</c:v>
                </c:pt>
                <c:pt idx="568" formatCode="0.0">
                  <c:v>47.387240676151393</c:v>
                </c:pt>
                <c:pt idx="569" formatCode="0.0">
                  <c:v>45.867637082767203</c:v>
                </c:pt>
                <c:pt idx="570" formatCode="0.0">
                  <c:v>45.904605457761392</c:v>
                </c:pt>
                <c:pt idx="571" formatCode="0.0">
                  <c:v>45.605783916750504</c:v>
                </c:pt>
                <c:pt idx="572" formatCode="0.0">
                  <c:v>46.130255525167598</c:v>
                </c:pt>
                <c:pt idx="573" formatCode="0.0">
                  <c:v>45.380175221736692</c:v>
                </c:pt>
                <c:pt idx="574" formatCode="0.0">
                  <c:v>46.280672034567999</c:v>
                </c:pt>
                <c:pt idx="575" formatCode="0.0">
                  <c:v>45.960628032925001</c:v>
                </c:pt>
                <c:pt idx="576" formatCode="0.0">
                  <c:v>45.681201666078493</c:v>
                </c:pt>
                <c:pt idx="577" formatCode="0.0">
                  <c:v>45.317520836841602</c:v>
                </c:pt>
                <c:pt idx="578" formatCode="0.0">
                  <c:v>43.588393370705496</c:v>
                </c:pt>
                <c:pt idx="579" formatCode="0.0">
                  <c:v>44.342100087775798</c:v>
                </c:pt>
                <c:pt idx="580" formatCode="0.0">
                  <c:v>44.805934611011502</c:v>
                </c:pt>
                <c:pt idx="581" formatCode="0.0">
                  <c:v>45.248472097333803</c:v>
                </c:pt>
                <c:pt idx="582" formatCode="0.0">
                  <c:v>44.794282073409406</c:v>
                </c:pt>
                <c:pt idx="583" formatCode="0.0">
                  <c:v>44.915687675631006</c:v>
                </c:pt>
                <c:pt idx="584" formatCode="0.0">
                  <c:v>44.303834988516897</c:v>
                </c:pt>
                <c:pt idx="585" formatCode="0.0">
                  <c:v>44.407931995633504</c:v>
                </c:pt>
                <c:pt idx="586" formatCode="0.0">
                  <c:v>43.800336732406706</c:v>
                </c:pt>
                <c:pt idx="587" formatCode="0.0">
                  <c:v>44.733604616113503</c:v>
                </c:pt>
                <c:pt idx="588" formatCode="0.0">
                  <c:v>44.739558659060101</c:v>
                </c:pt>
                <c:pt idx="589" formatCode="0.0">
                  <c:v>44.600614367811801</c:v>
                </c:pt>
                <c:pt idx="590" formatCode="0.0">
                  <c:v>44.931907533378904</c:v>
                </c:pt>
                <c:pt idx="591" formatCode="0.0">
                  <c:v>45.379162921741894</c:v>
                </c:pt>
                <c:pt idx="592" formatCode="0.0">
                  <c:v>44.892698868607503</c:v>
                </c:pt>
                <c:pt idx="593" formatCode="0.0">
                  <c:v>45.167397468874704</c:v>
                </c:pt>
                <c:pt idx="594" formatCode="0.0">
                  <c:v>44.887664161324501</c:v>
                </c:pt>
                <c:pt idx="595" formatCode="0.0">
                  <c:v>44.869248109682196</c:v>
                </c:pt>
                <c:pt idx="596" formatCode="0.0">
                  <c:v>45.566486771792</c:v>
                </c:pt>
                <c:pt idx="597" formatCode="0.0">
                  <c:v>45.899628792383098</c:v>
                </c:pt>
                <c:pt idx="598" formatCode="0.0">
                  <c:v>46.663086018052098</c:v>
                </c:pt>
                <c:pt idx="599" formatCode="0.0">
                  <c:v>47.036693556280596</c:v>
                </c:pt>
                <c:pt idx="600" formatCode="0.0">
                  <c:v>46.266960614689594</c:v>
                </c:pt>
                <c:pt idx="601" formatCode="0.0">
                  <c:v>45.872746407235205</c:v>
                </c:pt>
                <c:pt idx="602" formatCode="0.0">
                  <c:v>44.728758926459406</c:v>
                </c:pt>
                <c:pt idx="603" formatCode="0.0">
                  <c:v>45.4593279602812</c:v>
                </c:pt>
                <c:pt idx="604" formatCode="0.0">
                  <c:v>44.995619159880604</c:v>
                </c:pt>
                <c:pt idx="605" formatCode="0.0">
                  <c:v>45.475845731464304</c:v>
                </c:pt>
                <c:pt idx="606" formatCode="0.0">
                  <c:v>45.017196186225299</c:v>
                </c:pt>
                <c:pt idx="607" formatCode="0.0">
                  <c:v>44.325204310742905</c:v>
                </c:pt>
                <c:pt idx="608" formatCode="0.0">
                  <c:v>45.106280966549399</c:v>
                </c:pt>
                <c:pt idx="609" formatCode="0.0">
                  <c:v>44.8330893901284</c:v>
                </c:pt>
                <c:pt idx="610" formatCode="0.0">
                  <c:v>44.5441103354257</c:v>
                </c:pt>
                <c:pt idx="611" formatCode="0.0">
                  <c:v>46.254847396102605</c:v>
                </c:pt>
                <c:pt idx="612" formatCode="0.0">
                  <c:v>46.468759228918898</c:v>
                </c:pt>
                <c:pt idx="613" formatCode="0.0">
                  <c:v>46.090686043602496</c:v>
                </c:pt>
                <c:pt idx="614" formatCode="0.0">
                  <c:v>46.430590086533996</c:v>
                </c:pt>
                <c:pt idx="615" formatCode="0.0">
                  <c:v>46.403657386281402</c:v>
                </c:pt>
                <c:pt idx="616" formatCode="0.0">
                  <c:v>46.259258358679205</c:v>
                </c:pt>
                <c:pt idx="617" formatCode="0.0">
                  <c:v>46.214767350276496</c:v>
                </c:pt>
                <c:pt idx="618" formatCode="0.0">
                  <c:v>46.529501105328904</c:v>
                </c:pt>
                <c:pt idx="619" formatCode="0.0">
                  <c:v>45.123027396674502</c:v>
                </c:pt>
                <c:pt idx="620" formatCode="0.0">
                  <c:v>45.246048429659204</c:v>
                </c:pt>
                <c:pt idx="621" formatCode="0.0">
                  <c:v>45.196929761312703</c:v>
                </c:pt>
                <c:pt idx="622" formatCode="0.0">
                  <c:v>45.653189327459501</c:v>
                </c:pt>
                <c:pt idx="623" formatCode="0.0">
                  <c:v>45.179056985657596</c:v>
                </c:pt>
                <c:pt idx="624" formatCode="0.0">
                  <c:v>45.549390207048397</c:v>
                </c:pt>
                <c:pt idx="625" formatCode="0.0">
                  <c:v>45.438711135210603</c:v>
                </c:pt>
                <c:pt idx="626" formatCode="0.0">
                  <c:v>45.3655985278236</c:v>
                </c:pt>
                <c:pt idx="627" formatCode="0.0">
                  <c:v>45.689068666267104</c:v>
                </c:pt>
                <c:pt idx="628" formatCode="0.0">
                  <c:v>45.308642647832301</c:v>
                </c:pt>
                <c:pt idx="629" formatCode="0.0">
                  <c:v>45.981602065420802</c:v>
                </c:pt>
                <c:pt idx="630" formatCode="0.0">
                  <c:v>45.762978068721992</c:v>
                </c:pt>
                <c:pt idx="631" formatCode="0.0">
                  <c:v>44.306567630720799</c:v>
                </c:pt>
                <c:pt idx="632" formatCode="0.0">
                  <c:v>44.165694199379701</c:v>
                </c:pt>
                <c:pt idx="633" formatCode="0.0">
                  <c:v>44.334633826997198</c:v>
                </c:pt>
                <c:pt idx="634" formatCode="0.0">
                  <c:v>45.103527874250403</c:v>
                </c:pt>
                <c:pt idx="635" formatCode="0.0">
                  <c:v>45.689920599715407</c:v>
                </c:pt>
                <c:pt idx="636" formatCode="0.0">
                  <c:v>45.410040876103601</c:v>
                </c:pt>
                <c:pt idx="637" formatCode="0.0">
                  <c:v>45.674414438119697</c:v>
                </c:pt>
                <c:pt idx="638" formatCode="0.0">
                  <c:v>45.969041636864205</c:v>
                </c:pt>
                <c:pt idx="639" formatCode="0.0">
                  <c:v>45.577148758350397</c:v>
                </c:pt>
                <c:pt idx="640" formatCode="0.0">
                  <c:v>45.670703480825203</c:v>
                </c:pt>
                <c:pt idx="641" formatCode="0.0">
                  <c:v>43.941353733572797</c:v>
                </c:pt>
                <c:pt idx="642" formatCode="0.0">
                  <c:v>0</c:v>
                </c:pt>
                <c:pt idx="643" formatCode="0.0">
                  <c:v>43.608475632798196</c:v>
                </c:pt>
                <c:pt idx="644" formatCode="0.0">
                  <c:v>45.702997618641703</c:v>
                </c:pt>
                <c:pt idx="645" formatCode="0.0">
                  <c:v>46.040196868803406</c:v>
                </c:pt>
                <c:pt idx="646" formatCode="0.0">
                  <c:v>44.623573253146596</c:v>
                </c:pt>
                <c:pt idx="647" formatCode="0.0">
                  <c:v>44.845854223376698</c:v>
                </c:pt>
                <c:pt idx="648" formatCode="0.0">
                  <c:v>45.093207133277602</c:v>
                </c:pt>
                <c:pt idx="649" formatCode="0.0">
                  <c:v>44.7778505053654</c:v>
                </c:pt>
                <c:pt idx="650" formatCode="0.0">
                  <c:v>43.811131472348805</c:v>
                </c:pt>
                <c:pt idx="651" formatCode="0.0">
                  <c:v>45.281391842543997</c:v>
                </c:pt>
                <c:pt idx="652" formatCode="0.0">
                  <c:v>45.353585789818908</c:v>
                </c:pt>
                <c:pt idx="653" formatCode="0.0">
                  <c:v>45.545575044018406</c:v>
                </c:pt>
                <c:pt idx="654" formatCode="0.0">
                  <c:v>45.4434615560629</c:v>
                </c:pt>
                <c:pt idx="655" formatCode="0.0">
                  <c:v>45.750766935992402</c:v>
                </c:pt>
                <c:pt idx="656" formatCode="0.0">
                  <c:v>46.0891774960253</c:v>
                </c:pt>
                <c:pt idx="657" formatCode="0.0">
                  <c:v>45.738639770934398</c:v>
                </c:pt>
                <c:pt idx="658" formatCode="0.0">
                  <c:v>45.935132657947904</c:v>
                </c:pt>
                <c:pt idx="659" formatCode="0.0">
                  <c:v>45.798099899464901</c:v>
                </c:pt>
                <c:pt idx="660" formatCode="0.0">
                  <c:v>45.823396179262403</c:v>
                </c:pt>
                <c:pt idx="661" formatCode="0.0">
                  <c:v>46.184296095631694</c:v>
                </c:pt>
                <c:pt idx="662" formatCode="0.0">
                  <c:v>45.497876032689405</c:v>
                </c:pt>
                <c:pt idx="663" formatCode="0.0">
                  <c:v>46.641949826918804</c:v>
                </c:pt>
                <c:pt idx="664" formatCode="0.0">
                  <c:v>46.220850767514193</c:v>
                </c:pt>
                <c:pt idx="665" formatCode="0.0">
                  <c:v>45.793351625977898</c:v>
                </c:pt>
                <c:pt idx="666" formatCode="0.0">
                  <c:v>46.551155954388705</c:v>
                </c:pt>
                <c:pt idx="667" formatCode="0.0">
                  <c:v>45.038595212694297</c:v>
                </c:pt>
                <c:pt idx="668" formatCode="0.0">
                  <c:v>45.929391156616603</c:v>
                </c:pt>
                <c:pt idx="669" formatCode="0.0">
                  <c:v>46.202300238499802</c:v>
                </c:pt>
                <c:pt idx="670" formatCode="0.0">
                  <c:v>46.354476734208404</c:v>
                </c:pt>
                <c:pt idx="671" formatCode="0.0">
                  <c:v>45.880586283481094</c:v>
                </c:pt>
                <c:pt idx="672" formatCode="0.0">
                  <c:v>44.7611679841133</c:v>
                </c:pt>
                <c:pt idx="673" formatCode="0.0">
                  <c:v>45.3718825092622</c:v>
                </c:pt>
                <c:pt idx="674" formatCode="0.0">
                  <c:v>45.3655787765139</c:v>
                </c:pt>
                <c:pt idx="675" formatCode="0.0">
                  <c:v>44.655255788425102</c:v>
                </c:pt>
                <c:pt idx="676" formatCode="0.0">
                  <c:v>44.603776282393397</c:v>
                </c:pt>
                <c:pt idx="677" formatCode="0.0">
                  <c:v>44.826425188955596</c:v>
                </c:pt>
                <c:pt idx="678" formatCode="0.0">
                  <c:v>45.003650443638904</c:v>
                </c:pt>
                <c:pt idx="679" formatCode="0.0">
                  <c:v>44.129176968701699</c:v>
                </c:pt>
                <c:pt idx="680" formatCode="0.0">
                  <c:v>45.308975812807901</c:v>
                </c:pt>
                <c:pt idx="681" formatCode="0.0">
                  <c:v>45.485051317921901</c:v>
                </c:pt>
                <c:pt idx="682" formatCode="0.0">
                  <c:v>44.702193146055002</c:v>
                </c:pt>
                <c:pt idx="683" formatCode="0.0">
                  <c:v>45.142570740954106</c:v>
                </c:pt>
                <c:pt idx="684" formatCode="0.0">
                  <c:v>45.379346844018798</c:v>
                </c:pt>
                <c:pt idx="685" formatCode="0.0">
                  <c:v>44.373226846364098</c:v>
                </c:pt>
                <c:pt idx="686" formatCode="0.0">
                  <c:v>44.742505785564603</c:v>
                </c:pt>
                <c:pt idx="687" formatCode="0.0">
                  <c:v>44.292034074716504</c:v>
                </c:pt>
                <c:pt idx="688" formatCode="0.0">
                  <c:v>44.582496055540901</c:v>
                </c:pt>
                <c:pt idx="689" formatCode="0.0">
                  <c:v>45.725794416808505</c:v>
                </c:pt>
                <c:pt idx="690" formatCode="0.0">
                  <c:v>45.290206668117499</c:v>
                </c:pt>
                <c:pt idx="691" formatCode="0.0">
                  <c:v>45.100876343388599</c:v>
                </c:pt>
                <c:pt idx="692" formatCode="0.0">
                  <c:v>45.353583784790395</c:v>
                </c:pt>
                <c:pt idx="693" formatCode="0.0">
                  <c:v>45.315281636028502</c:v>
                </c:pt>
                <c:pt idx="694" formatCode="0.0">
                  <c:v>45.801918900493803</c:v>
                </c:pt>
                <c:pt idx="695" formatCode="0.0">
                  <c:v>45.464548815915897</c:v>
                </c:pt>
                <c:pt idx="696" formatCode="0.0">
                  <c:v>45.582594398911596</c:v>
                </c:pt>
                <c:pt idx="697" formatCode="0.0">
                  <c:v>45.479079879745399</c:v>
                </c:pt>
                <c:pt idx="698" formatCode="0.0">
                  <c:v>46.008236828999898</c:v>
                </c:pt>
                <c:pt idx="699" formatCode="0.0">
                  <c:v>46.1375299302074</c:v>
                </c:pt>
                <c:pt idx="700" formatCode="0.0">
                  <c:v>46.402162065530902</c:v>
                </c:pt>
                <c:pt idx="701" formatCode="0.0">
                  <c:v>45.33019097247</c:v>
                </c:pt>
                <c:pt idx="702" formatCode="0.0">
                  <c:v>45.404899869770794</c:v>
                </c:pt>
                <c:pt idx="703" formatCode="0.0">
                  <c:v>45.699610604922604</c:v>
                </c:pt>
                <c:pt idx="704" formatCode="0.0">
                  <c:v>46.150512612512102</c:v>
                </c:pt>
                <c:pt idx="705" formatCode="0.0">
                  <c:v>45.695505570172699</c:v>
                </c:pt>
                <c:pt idx="706" formatCode="0.0">
                  <c:v>45.078218859101398</c:v>
                </c:pt>
                <c:pt idx="707" formatCode="0.0">
                  <c:v>44.791690051189399</c:v>
                </c:pt>
                <c:pt idx="708" formatCode="0.0">
                  <c:v>44.080397382133789</c:v>
                </c:pt>
                <c:pt idx="709" formatCode="0.0">
                  <c:v>44.480544424388597</c:v>
                </c:pt>
                <c:pt idx="710" formatCode="0.0">
                  <c:v>45.138621137519607</c:v>
                </c:pt>
                <c:pt idx="711" formatCode="0.0">
                  <c:v>44.431909968891397</c:v>
                </c:pt>
                <c:pt idx="712" formatCode="0.0">
                  <c:v>43.805572578012004</c:v>
                </c:pt>
                <c:pt idx="713" formatCode="0.0">
                  <c:v>44.687529413382599</c:v>
                </c:pt>
                <c:pt idx="714" formatCode="0.0">
                  <c:v>44.688513828195099</c:v>
                </c:pt>
                <c:pt idx="715" formatCode="0.0">
                  <c:v>44.496734494361299</c:v>
                </c:pt>
                <c:pt idx="716" formatCode="0.0">
                  <c:v>44.041650168483002</c:v>
                </c:pt>
                <c:pt idx="717" formatCode="0.0">
                  <c:v>44.034798950719704</c:v>
                </c:pt>
                <c:pt idx="718" formatCode="0.0">
                  <c:v>44.218499078355606</c:v>
                </c:pt>
                <c:pt idx="719" formatCode="0.0">
                  <c:v>44.569439644232205</c:v>
                </c:pt>
                <c:pt idx="720" formatCode="0.0">
                  <c:v>45.496355837970199</c:v>
                </c:pt>
                <c:pt idx="721" formatCode="0.0">
                  <c:v>46.094891067333101</c:v>
                </c:pt>
                <c:pt idx="722" formatCode="0.0">
                  <c:v>44.591626227561001</c:v>
                </c:pt>
                <c:pt idx="723" formatCode="0.0">
                  <c:v>45.956781755358698</c:v>
                </c:pt>
                <c:pt idx="724" formatCode="0.0">
                  <c:v>43.918143539288302</c:v>
                </c:pt>
                <c:pt idx="725" formatCode="0.0">
                  <c:v>41.088027979824496</c:v>
                </c:pt>
                <c:pt idx="726" formatCode="General">
                  <c:v>44.465596882350702</c:v>
                </c:pt>
                <c:pt idx="727" formatCode="General">
                  <c:v>45.271258365811001</c:v>
                </c:pt>
                <c:pt idx="728" formatCode="General">
                  <c:v>44.734354910957599</c:v>
                </c:pt>
                <c:pt idx="729" formatCode="General">
                  <c:v>43.562973946795296</c:v>
                </c:pt>
                <c:pt idx="730">
                  <c:v>44.533855043473096</c:v>
                </c:pt>
                <c:pt idx="731">
                  <c:v>44.830281227744621</c:v>
                </c:pt>
                <c:pt idx="732">
                  <c:v>44.696334697704998</c:v>
                </c:pt>
                <c:pt idx="733">
                  <c:v>44.780260320847546</c:v>
                </c:pt>
                <c:pt idx="734">
                  <c:v>45.23918321441257</c:v>
                </c:pt>
                <c:pt idx="735">
                  <c:v>44.674370210938086</c:v>
                </c:pt>
                <c:pt idx="736">
                  <c:v>45.974094557092322</c:v>
                </c:pt>
                <c:pt idx="737">
                  <c:v>45.57295361302959</c:v>
                </c:pt>
                <c:pt idx="738">
                  <c:v>46.089568911323731</c:v>
                </c:pt>
                <c:pt idx="739">
                  <c:v>45.781379254188437</c:v>
                </c:pt>
                <c:pt idx="740">
                  <c:v>45.354644357774163</c:v>
                </c:pt>
                <c:pt idx="741">
                  <c:v>44.961236742079329</c:v>
                </c:pt>
                <c:pt idx="742">
                  <c:v>45.697606204014001</c:v>
                </c:pt>
                <c:pt idx="743">
                  <c:v>44.386097952327376</c:v>
                </c:pt>
                <c:pt idx="744">
                  <c:v>44.067327009277911</c:v>
                </c:pt>
                <c:pt idx="745">
                  <c:v>43.759243448030261</c:v>
                </c:pt>
                <c:pt idx="746">
                  <c:v>44.279019762488041</c:v>
                </c:pt>
                <c:pt idx="747">
                  <c:v>44.132327082417994</c:v>
                </c:pt>
                <c:pt idx="748">
                  <c:v>44.692019493827132</c:v>
                </c:pt>
                <c:pt idx="749">
                  <c:v>43.898087301140293</c:v>
                </c:pt>
                <c:pt idx="750">
                  <c:v>43.626064568402576</c:v>
                </c:pt>
                <c:pt idx="751">
                  <c:v>44.247016631098283</c:v>
                </c:pt>
                <c:pt idx="752">
                  <c:v>45.770331037960197</c:v>
                </c:pt>
                <c:pt idx="753">
                  <c:v>44.996503386255455</c:v>
                </c:pt>
                <c:pt idx="754">
                  <c:v>45.220261463508074</c:v>
                </c:pt>
                <c:pt idx="755">
                  <c:v>45.989133814572867</c:v>
                </c:pt>
                <c:pt idx="756">
                  <c:v>43.734074606633023</c:v>
                </c:pt>
                <c:pt idx="757">
                  <c:v>45.082053373460568</c:v>
                </c:pt>
                <c:pt idx="758">
                  <c:v>46.861459935715757</c:v>
                </c:pt>
                <c:pt idx="759">
                  <c:v>45.783818057102543</c:v>
                </c:pt>
                <c:pt idx="760">
                  <c:v>46.958116542993046</c:v>
                </c:pt>
                <c:pt idx="761">
                  <c:v>46.324937922543484</c:v>
                </c:pt>
                <c:pt idx="762">
                  <c:v>45.453223240299437</c:v>
                </c:pt>
                <c:pt idx="763">
                  <c:v>44.030988701432669</c:v>
                </c:pt>
                <c:pt idx="764">
                  <c:v>45.126579192499619</c:v>
                </c:pt>
                <c:pt idx="765">
                  <c:v>45.498969613996458</c:v>
                </c:pt>
                <c:pt idx="766">
                  <c:v>44.877898825648231</c:v>
                </c:pt>
                <c:pt idx="767">
                  <c:v>44.298960399475561</c:v>
                </c:pt>
                <c:pt idx="768">
                  <c:v>44.106087515281224</c:v>
                </c:pt>
                <c:pt idx="769">
                  <c:v>45.265528368879274</c:v>
                </c:pt>
                <c:pt idx="770">
                  <c:v>44.015974951664617</c:v>
                </c:pt>
                <c:pt idx="771">
                  <c:v>44.939950966712061</c:v>
                </c:pt>
                <c:pt idx="772">
                  <c:v>45.251310895388514</c:v>
                </c:pt>
                <c:pt idx="773">
                  <c:v>45.026383163041004</c:v>
                </c:pt>
                <c:pt idx="774">
                  <c:v>45.166271682047416</c:v>
                </c:pt>
                <c:pt idx="775">
                  <c:v>44.97382459501403</c:v>
                </c:pt>
                <c:pt idx="776">
                  <c:v>45.469087337733257</c:v>
                </c:pt>
                <c:pt idx="777">
                  <c:v>46.361142836733663</c:v>
                </c:pt>
                <c:pt idx="778">
                  <c:v>44.089010173745081</c:v>
                </c:pt>
                <c:pt idx="779">
                  <c:v>43.827671597501123</c:v>
                </c:pt>
                <c:pt idx="780">
                  <c:v>44.182629941549678</c:v>
                </c:pt>
                <c:pt idx="781">
                  <c:v>44.226677849472509</c:v>
                </c:pt>
                <c:pt idx="782">
                  <c:v>45.052618586870764</c:v>
                </c:pt>
                <c:pt idx="783">
                  <c:v>45.512073468744205</c:v>
                </c:pt>
                <c:pt idx="784">
                  <c:v>45.606674788021628</c:v>
                </c:pt>
                <c:pt idx="785">
                  <c:v>44.017829382923438</c:v>
                </c:pt>
                <c:pt idx="786">
                  <c:v>45.467524283396294</c:v>
                </c:pt>
                <c:pt idx="787">
                  <c:v>45.504496006560245</c:v>
                </c:pt>
                <c:pt idx="788">
                  <c:v>45.118479022479924</c:v>
                </c:pt>
                <c:pt idx="789">
                  <c:v>44.937155398600133</c:v>
                </c:pt>
                <c:pt idx="790">
                  <c:v>44.866136214033965</c:v>
                </c:pt>
                <c:pt idx="791">
                  <c:v>44.378288337490879</c:v>
                </c:pt>
                <c:pt idx="792">
                  <c:v>44.407470342544819</c:v>
                </c:pt>
                <c:pt idx="793">
                  <c:v>45.481084656772879</c:v>
                </c:pt>
                <c:pt idx="794">
                  <c:v>45.489739164273409</c:v>
                </c:pt>
                <c:pt idx="795">
                  <c:v>45.625992069199548</c:v>
                </c:pt>
                <c:pt idx="796">
                  <c:v>45.213710996318007</c:v>
                </c:pt>
                <c:pt idx="797">
                  <c:v>44.581783417085454</c:v>
                </c:pt>
                <c:pt idx="798">
                  <c:v>44.935970764198629</c:v>
                </c:pt>
                <c:pt idx="799">
                  <c:v>45.29329989083589</c:v>
                </c:pt>
                <c:pt idx="800">
                  <c:v>45.433292450221728</c:v>
                </c:pt>
                <c:pt idx="801">
                  <c:v>45.313975832861772</c:v>
                </c:pt>
                <c:pt idx="802">
                  <c:v>45.292951244042008</c:v>
                </c:pt>
                <c:pt idx="803">
                  <c:v>43.876736045386821</c:v>
                </c:pt>
                <c:pt idx="804">
                  <c:v>44.871767285759184</c:v>
                </c:pt>
                <c:pt idx="805">
                  <c:v>45.184775512511862</c:v>
                </c:pt>
                <c:pt idx="806">
                  <c:v>45.619630131101246</c:v>
                </c:pt>
                <c:pt idx="807">
                  <c:v>46.370913247460813</c:v>
                </c:pt>
                <c:pt idx="808">
                  <c:v>46.17829553853484</c:v>
                </c:pt>
                <c:pt idx="809">
                  <c:v>44.480519932431839</c:v>
                </c:pt>
                <c:pt idx="810">
                  <c:v>43.938661251271405</c:v>
                </c:pt>
                <c:pt idx="811">
                  <c:v>45.009319794202966</c:v>
                </c:pt>
                <c:pt idx="812">
                  <c:v>45.157595906999219</c:v>
                </c:pt>
                <c:pt idx="813">
                  <c:v>44.854670655832038</c:v>
                </c:pt>
                <c:pt idx="814">
                  <c:v>45.116239363557469</c:v>
                </c:pt>
                <c:pt idx="815">
                  <c:v>45.482040875647428</c:v>
                </c:pt>
                <c:pt idx="816">
                  <c:v>45.256446885051318</c:v>
                </c:pt>
                <c:pt idx="817">
                  <c:v>45.618973497277352</c:v>
                </c:pt>
                <c:pt idx="818">
                  <c:v>45.847520765423546</c:v>
                </c:pt>
                <c:pt idx="819">
                  <c:v>45.556164323252126</c:v>
                </c:pt>
                <c:pt idx="820">
                  <c:v>45.496228157597912</c:v>
                </c:pt>
                <c:pt idx="821">
                  <c:v>46.061839983540679</c:v>
                </c:pt>
                <c:pt idx="822">
                  <c:v>45.914229940899077</c:v>
                </c:pt>
                <c:pt idx="823">
                  <c:v>45.825385332633175</c:v>
                </c:pt>
                <c:pt idx="824" formatCode="0.0">
                  <c:v>45.323554625151026</c:v>
                </c:pt>
                <c:pt idx="825" formatCode="0.0">
                  <c:v>45.081750949513989</c:v>
                </c:pt>
                <c:pt idx="826" formatCode="0.0">
                  <c:v>45.767380172480465</c:v>
                </c:pt>
                <c:pt idx="827" formatCode="0.0">
                  <c:v>46.249569882718077</c:v>
                </c:pt>
                <c:pt idx="828" formatCode="0.0">
                  <c:v>45.590284126935202</c:v>
                </c:pt>
                <c:pt idx="829" formatCode="0.0">
                  <c:v>46.257788360549974</c:v>
                </c:pt>
                <c:pt idx="830" formatCode="0.0">
                  <c:v>45.699571554233515</c:v>
                </c:pt>
                <c:pt idx="831" formatCode="0.0">
                  <c:v>45.865208571968459</c:v>
                </c:pt>
                <c:pt idx="832" formatCode="0.0">
                  <c:v>46.317512245223767</c:v>
                </c:pt>
                <c:pt idx="833" formatCode="0.0">
                  <c:v>44.780300989146767</c:v>
                </c:pt>
                <c:pt idx="834" formatCode="0.0">
                  <c:v>43.975972537082804</c:v>
                </c:pt>
                <c:pt idx="835" formatCode="0.0">
                  <c:v>44.073726552443858</c:v>
                </c:pt>
                <c:pt idx="836" formatCode="0.0">
                  <c:v>43.415845529924688</c:v>
                </c:pt>
                <c:pt idx="837" formatCode="0.0">
                  <c:v>44.170511471014272</c:v>
                </c:pt>
                <c:pt idx="838" formatCode="0.0">
                  <c:v>44.446159013331517</c:v>
                </c:pt>
                <c:pt idx="839" formatCode="0.0">
                  <c:v>44.312307334062638</c:v>
                </c:pt>
                <c:pt idx="840" formatCode="0.0">
                  <c:v>45.571223516141742</c:v>
                </c:pt>
                <c:pt idx="841" formatCode="0.0">
                  <c:v>46.259640160552131</c:v>
                </c:pt>
                <c:pt idx="842" formatCode="0.0">
                  <c:v>46.427487576192078</c:v>
                </c:pt>
                <c:pt idx="843" formatCode="0.0">
                  <c:v>45.046104343017284</c:v>
                </c:pt>
                <c:pt idx="844" formatCode="0.0">
                  <c:v>43.825543684985206</c:v>
                </c:pt>
                <c:pt idx="845" formatCode="0.0">
                  <c:v>44.921502466240526</c:v>
                </c:pt>
                <c:pt idx="846" formatCode="0.0">
                  <c:v>44.706357348443085</c:v>
                </c:pt>
                <c:pt idx="847" formatCode="0.0">
                  <c:v>44.159734592298705</c:v>
                </c:pt>
                <c:pt idx="848" formatCode="0.0">
                  <c:v>44.560160328721039</c:v>
                </c:pt>
                <c:pt idx="849" formatCode="0.0">
                  <c:v>44.27993444768444</c:v>
                </c:pt>
                <c:pt idx="850" formatCode="0.0">
                  <c:v>43.468530007349806</c:v>
                </c:pt>
                <c:pt idx="851" formatCode="0.0">
                  <c:v>45.700119831918869</c:v>
                </c:pt>
                <c:pt idx="852" formatCode="0.0">
                  <c:v>45.606849859795979</c:v>
                </c:pt>
                <c:pt idx="853" formatCode="0.0">
                  <c:v>46.062387109256079</c:v>
                </c:pt>
                <c:pt idx="854" formatCode="0.0">
                  <c:v>44.626897792544753</c:v>
                </c:pt>
                <c:pt idx="855" formatCode="0.0">
                  <c:v>45.139089493657721</c:v>
                </c:pt>
                <c:pt idx="856" formatCode="0.0">
                  <c:v>45.125529573175243</c:v>
                </c:pt>
                <c:pt idx="857" formatCode="0.0">
                  <c:v>43.796358899315521</c:v>
                </c:pt>
                <c:pt idx="858" formatCode="0.0">
                  <c:v>43.770799609633031</c:v>
                </c:pt>
                <c:pt idx="859" formatCode="0.0">
                  <c:v>44.013487317005925</c:v>
                </c:pt>
                <c:pt idx="860" formatCode="0.0">
                  <c:v>43.285923916341901</c:v>
                </c:pt>
                <c:pt idx="861" formatCode="0.0">
                  <c:v>42.497952726506476</c:v>
                </c:pt>
                <c:pt idx="862" formatCode="0.0">
                  <c:v>44.299457077656548</c:v>
                </c:pt>
                <c:pt idx="863" formatCode="0.0">
                  <c:v>45.70786498858142</c:v>
                </c:pt>
                <c:pt idx="864" formatCode="0.0">
                  <c:v>45.699352461654222</c:v>
                </c:pt>
                <c:pt idx="865" formatCode="0.0">
                  <c:v>44.426591506144305</c:v>
                </c:pt>
                <c:pt idx="866" formatCode="0.0">
                  <c:v>45.72198123709812</c:v>
                </c:pt>
                <c:pt idx="867" formatCode="0.0">
                  <c:v>46.489322042772436</c:v>
                </c:pt>
                <c:pt idx="868" formatCode="0.0">
                  <c:v>46.829790966652652</c:v>
                </c:pt>
                <c:pt idx="869" formatCode="0.0">
                  <c:v>46.424173303548429</c:v>
                </c:pt>
                <c:pt idx="870" formatCode="0.0">
                  <c:v>46.176960802927482</c:v>
                </c:pt>
                <c:pt idx="871" formatCode="0.0">
                  <c:v>46.146571773252205</c:v>
                </c:pt>
                <c:pt idx="872" formatCode="0.0">
                  <c:v>46.831356211008355</c:v>
                </c:pt>
                <c:pt idx="873" formatCode="0.0">
                  <c:v>46.352399603527473</c:v>
                </c:pt>
                <c:pt idx="874" formatCode="0.0">
                  <c:v>46.683449037948755</c:v>
                </c:pt>
                <c:pt idx="875" formatCode="0.0">
                  <c:v>46.906862419802906</c:v>
                </c:pt>
                <c:pt idx="876" formatCode="0.0">
                  <c:v>46.537827710621194</c:v>
                </c:pt>
                <c:pt idx="877" formatCode="0.0">
                  <c:v>46.883755937542553</c:v>
                </c:pt>
                <c:pt idx="878" formatCode="0.0">
                  <c:v>46.983863663572777</c:v>
                </c:pt>
                <c:pt idx="879" formatCode="0.0">
                  <c:v>46.493905883277975</c:v>
                </c:pt>
                <c:pt idx="880" formatCode="0.0">
                  <c:v>45.484238515332656</c:v>
                </c:pt>
                <c:pt idx="881" formatCode="0.0">
                  <c:v>45.464600041246769</c:v>
                </c:pt>
                <c:pt idx="882" formatCode="0.0">
                  <c:v>46.299918573978324</c:v>
                </c:pt>
                <c:pt idx="883" formatCode="0.0">
                  <c:v>45.922546732790408</c:v>
                </c:pt>
                <c:pt idx="884" formatCode="0.0">
                  <c:v>45.836003070880729</c:v>
                </c:pt>
                <c:pt idx="885" formatCode="0.0">
                  <c:v>46.000192992322653</c:v>
                </c:pt>
                <c:pt idx="886" formatCode="0.0">
                  <c:v>46.184759918370197</c:v>
                </c:pt>
                <c:pt idx="887" formatCode="0.0">
                  <c:v>46.245350657527439</c:v>
                </c:pt>
                <c:pt idx="888" formatCode="0.0">
                  <c:v>46.230860623086343</c:v>
                </c:pt>
                <c:pt idx="889" formatCode="0.0">
                  <c:v>45.411458329342196</c:v>
                </c:pt>
                <c:pt idx="890" formatCode="0.0">
                  <c:v>45.411458329342196</c:v>
                </c:pt>
                <c:pt idx="891" formatCode="0.0">
                  <c:v>46.473693383663132</c:v>
                </c:pt>
                <c:pt idx="892" formatCode="0.0">
                  <c:v>45.204984120011588</c:v>
                </c:pt>
                <c:pt idx="893" formatCode="0.0">
                  <c:v>46.300406312753537</c:v>
                </c:pt>
                <c:pt idx="894" formatCode="0.0">
                  <c:v>45.818588309409577</c:v>
                </c:pt>
                <c:pt idx="895" formatCode="0.0">
                  <c:v>45.865432151622485</c:v>
                </c:pt>
                <c:pt idx="896" formatCode="0.0">
                  <c:v>46.427870263959804</c:v>
                </c:pt>
                <c:pt idx="897" formatCode="0.0">
                  <c:v>45.708032331625638</c:v>
                </c:pt>
                <c:pt idx="898" formatCode="0.0">
                  <c:v>45.799325212320454</c:v>
                </c:pt>
                <c:pt idx="899" formatCode="0.0">
                  <c:v>44.837134237411014</c:v>
                </c:pt>
                <c:pt idx="900" formatCode="0.0">
                  <c:v>44.255259211572316</c:v>
                </c:pt>
                <c:pt idx="901" formatCode="0.0">
                  <c:v>45.113734369726259</c:v>
                </c:pt>
                <c:pt idx="902" formatCode="0.0">
                  <c:v>45.465561650845878</c:v>
                </c:pt>
                <c:pt idx="903" formatCode="0.0">
                  <c:v>46.044457764673538</c:v>
                </c:pt>
                <c:pt idx="904" formatCode="0.0">
                  <c:v>45.30905806251095</c:v>
                </c:pt>
                <c:pt idx="905" formatCode="0.0">
                  <c:v>44.997210497834608</c:v>
                </c:pt>
                <c:pt idx="906" formatCode="0.0">
                  <c:v>43.864366704626796</c:v>
                </c:pt>
                <c:pt idx="907" formatCode="0.0">
                  <c:v>43.805223942672356</c:v>
                </c:pt>
                <c:pt idx="908" formatCode="0.0">
                  <c:v>45.588370327590667</c:v>
                </c:pt>
                <c:pt idx="909" formatCode="0.0">
                  <c:v>47.046445252057261</c:v>
                </c:pt>
                <c:pt idx="910" formatCode="0.0">
                  <c:v>47.1769139514263</c:v>
                </c:pt>
                <c:pt idx="911" formatCode="0.0">
                  <c:v>46.418772424526054</c:v>
                </c:pt>
                <c:pt idx="912" formatCode="0.0">
                  <c:v>46.256860089676877</c:v>
                </c:pt>
                <c:pt idx="913" formatCode="0.0">
                  <c:v>46.755449672514722</c:v>
                </c:pt>
                <c:pt idx="914" formatCode="0.0">
                  <c:v>46.980966514338775</c:v>
                </c:pt>
                <c:pt idx="915" formatCode="0.0">
                  <c:v>46.383153168720341</c:v>
                </c:pt>
                <c:pt idx="916" formatCode="0.0">
                  <c:v>46.383153168720341</c:v>
                </c:pt>
                <c:pt idx="917" formatCode="0.0">
                  <c:v>45.538835960757766</c:v>
                </c:pt>
                <c:pt idx="918" formatCode="0.0">
                  <c:v>45.110289199189452</c:v>
                </c:pt>
                <c:pt idx="919" formatCode="0.0">
                  <c:v>45.125932541902365</c:v>
                </c:pt>
                <c:pt idx="920" formatCode="0.0">
                  <c:v>46.371683102816419</c:v>
                </c:pt>
                <c:pt idx="921" formatCode="0.0">
                  <c:v>45.41953093195778</c:v>
                </c:pt>
                <c:pt idx="922" formatCode="0.0">
                  <c:v>45.876749662044887</c:v>
                </c:pt>
                <c:pt idx="923" formatCode="0.0">
                  <c:v>46.36287246937141</c:v>
                </c:pt>
                <c:pt idx="924" formatCode="0.0">
                  <c:v>46.200113741358152</c:v>
                </c:pt>
                <c:pt idx="925" formatCode="0.0">
                  <c:v>46.258471029913608</c:v>
                </c:pt>
                <c:pt idx="926" formatCode="0.0">
                  <c:v>46.125681181481596</c:v>
                </c:pt>
                <c:pt idx="927" formatCode="0.0">
                  <c:v>46.125681181481596</c:v>
                </c:pt>
                <c:pt idx="928" formatCode="0.0">
                  <c:v>46.186245044948407</c:v>
                </c:pt>
                <c:pt idx="929" formatCode="0.0">
                  <c:v>45.765162024389447</c:v>
                </c:pt>
                <c:pt idx="930" formatCode="0.0">
                  <c:v>45.489256587510205</c:v>
                </c:pt>
                <c:pt idx="931" formatCode="0.0">
                  <c:v>45.874718089492987</c:v>
                </c:pt>
                <c:pt idx="932" formatCode="0.0">
                  <c:v>46.017646670871613</c:v>
                </c:pt>
                <c:pt idx="933" formatCode="0.0">
                  <c:v>46.082160871206952</c:v>
                </c:pt>
                <c:pt idx="934" formatCode="0.0">
                  <c:v>46.002939474750725</c:v>
                </c:pt>
                <c:pt idx="935" formatCode="0.0">
                  <c:v>46.054174750547773</c:v>
                </c:pt>
                <c:pt idx="936" formatCode="0.0">
                  <c:v>46.335584648125689</c:v>
                </c:pt>
                <c:pt idx="937" formatCode="0.0">
                  <c:v>46.572124891861549</c:v>
                </c:pt>
                <c:pt idx="938" formatCode="0.0">
                  <c:v>45.926076486285112</c:v>
                </c:pt>
                <c:pt idx="939" formatCode="0.0">
                  <c:v>46.22315252851714</c:v>
                </c:pt>
                <c:pt idx="940" formatCode="0.0">
                  <c:v>45.188351370301291</c:v>
                </c:pt>
                <c:pt idx="941" formatCode="0.0">
                  <c:v>45.006154654606661</c:v>
                </c:pt>
                <c:pt idx="942" formatCode="0.0">
                  <c:v>45.982298509041925</c:v>
                </c:pt>
                <c:pt idx="943" formatCode="0.0">
                  <c:v>44.755801501462201</c:v>
                </c:pt>
                <c:pt idx="944" formatCode="0.0">
                  <c:v>45.38105796343882</c:v>
                </c:pt>
                <c:pt idx="945" formatCode="0.0">
                  <c:v>46.290984287585736</c:v>
                </c:pt>
                <c:pt idx="946" formatCode="0.0">
                  <c:v>46.374539823588165</c:v>
                </c:pt>
                <c:pt idx="947" formatCode="0.0">
                  <c:v>46.29299543550944</c:v>
                </c:pt>
                <c:pt idx="948" formatCode="0.0">
                  <c:v>46.287898858410372</c:v>
                </c:pt>
                <c:pt idx="949" formatCode="0.0">
                  <c:v>46.404782030671043</c:v>
                </c:pt>
                <c:pt idx="950" formatCode="0.0">
                  <c:v>46.415590315811627</c:v>
                </c:pt>
                <c:pt idx="951" formatCode="0.0">
                  <c:v>46.203631182347863</c:v>
                </c:pt>
                <c:pt idx="952" formatCode="0.0">
                  <c:v>46.393328004507133</c:v>
                </c:pt>
                <c:pt idx="953" formatCode="0.0">
                  <c:v>45.935058872670737</c:v>
                </c:pt>
                <c:pt idx="954" formatCode="0.0">
                  <c:v>46.351980894941072</c:v>
                </c:pt>
                <c:pt idx="955" formatCode="0.0">
                  <c:v>46.114233763959078</c:v>
                </c:pt>
                <c:pt idx="956" formatCode="0.0">
                  <c:v>43.94202813183658</c:v>
                </c:pt>
                <c:pt idx="957" formatCode="0.0">
                  <c:v>46.315445880882969</c:v>
                </c:pt>
                <c:pt idx="958" formatCode="0.0">
                  <c:v>45.963116542819968</c:v>
                </c:pt>
                <c:pt idx="959" formatCode="0.0">
                  <c:v>45.943788279312642</c:v>
                </c:pt>
                <c:pt idx="960" formatCode="0.0">
                  <c:v>45.997770795775068</c:v>
                </c:pt>
                <c:pt idx="961" formatCode="0.0">
                  <c:v>45.430004219347317</c:v>
                </c:pt>
                <c:pt idx="962" formatCode="0.0">
                  <c:v>46.02072534976044</c:v>
                </c:pt>
                <c:pt idx="963" formatCode="0.0">
                  <c:v>46.823463022725377</c:v>
                </c:pt>
                <c:pt idx="964" formatCode="0.0">
                  <c:v>45.656349271554532</c:v>
                </c:pt>
                <c:pt idx="965" formatCode="0.0">
                  <c:v>46.562615587552202</c:v>
                </c:pt>
                <c:pt idx="966" formatCode="0.0">
                  <c:v>45.891861277258606</c:v>
                </c:pt>
                <c:pt idx="967" formatCode="0.0">
                  <c:v>46.216360875424201</c:v>
                </c:pt>
                <c:pt idx="968" formatCode="0.0">
                  <c:v>46.27352745572675</c:v>
                </c:pt>
                <c:pt idx="969" formatCode="0.0">
                  <c:v>46.274970307992675</c:v>
                </c:pt>
                <c:pt idx="970" formatCode="0.0">
                  <c:v>46.336599350875218</c:v>
                </c:pt>
                <c:pt idx="971" formatCode="0.0">
                  <c:v>46.410445297012011</c:v>
                </c:pt>
                <c:pt idx="972" formatCode="0.0">
                  <c:v>46.144409865714394</c:v>
                </c:pt>
                <c:pt idx="973" formatCode="0.0">
                  <c:v>46.026010190840054</c:v>
                </c:pt>
                <c:pt idx="974" formatCode="0.0">
                  <c:v>46.328423142244645</c:v>
                </c:pt>
                <c:pt idx="975" formatCode="0.0">
                  <c:v>46.488544755976008</c:v>
                </c:pt>
                <c:pt idx="976" formatCode="0.0">
                  <c:v>46.192320657605137</c:v>
                </c:pt>
                <c:pt idx="977" formatCode="0.0">
                  <c:v>45.783097025918053</c:v>
                </c:pt>
                <c:pt idx="978" formatCode="0.0">
                  <c:v>46.380218630894099</c:v>
                </c:pt>
                <c:pt idx="979" formatCode="0.0">
                  <c:v>46.447319085265313</c:v>
                </c:pt>
                <c:pt idx="980" formatCode="0.0">
                  <c:v>46.468575511973675</c:v>
                </c:pt>
                <c:pt idx="981" formatCode="0.0">
                  <c:v>47.020576503511869</c:v>
                </c:pt>
                <c:pt idx="982" formatCode="0.0">
                  <c:v>46.761736866983377</c:v>
                </c:pt>
                <c:pt idx="983" formatCode="0.0">
                  <c:v>46.110799934355462</c:v>
                </c:pt>
                <c:pt idx="984" formatCode="0.0">
                  <c:v>46.373001106647777</c:v>
                </c:pt>
                <c:pt idx="985" formatCode="0.0">
                  <c:v>46.622512886787035</c:v>
                </c:pt>
                <c:pt idx="986" formatCode="0.0">
                  <c:v>45.984181700651696</c:v>
                </c:pt>
                <c:pt idx="987" formatCode="0.0">
                  <c:v>45.836834364189933</c:v>
                </c:pt>
                <c:pt idx="988" formatCode="0.0">
                  <c:v>45.600881460081155</c:v>
                </c:pt>
                <c:pt idx="989" formatCode="0.0">
                  <c:v>45.611558084893282</c:v>
                </c:pt>
                <c:pt idx="990" formatCode="0.0">
                  <c:v>46.371084561855284</c:v>
                </c:pt>
                <c:pt idx="991" formatCode="0.0">
                  <c:v>46.649949582407579</c:v>
                </c:pt>
                <c:pt idx="992" formatCode="0.0">
                  <c:v>46.978642315885928</c:v>
                </c:pt>
                <c:pt idx="993" formatCode="0.0">
                  <c:v>47.070686137409901</c:v>
                </c:pt>
                <c:pt idx="994" formatCode="0.0">
                  <c:v>46.458908054096703</c:v>
                </c:pt>
                <c:pt idx="995" formatCode="0.0">
                  <c:v>46.409505987830435</c:v>
                </c:pt>
                <c:pt idx="996" formatCode="0.0">
                  <c:v>46.208214552794416</c:v>
                </c:pt>
                <c:pt idx="997" formatCode="0.0">
                  <c:v>45.307666765580841</c:v>
                </c:pt>
                <c:pt idx="998" formatCode="0.0">
                  <c:v>46.641806357069022</c:v>
                </c:pt>
                <c:pt idx="999" formatCode="0.0">
                  <c:v>47.088430965432394</c:v>
                </c:pt>
                <c:pt idx="1000" formatCode="0.0">
                  <c:v>46.957247989283772</c:v>
                </c:pt>
                <c:pt idx="1001" formatCode="0.0">
                  <c:v>46.1691327039999</c:v>
                </c:pt>
                <c:pt idx="1002" formatCode="0.0">
                  <c:v>46.300765792190717</c:v>
                </c:pt>
                <c:pt idx="1003" formatCode="0.0">
                  <c:v>46.579017827607871</c:v>
                </c:pt>
                <c:pt idx="1004" formatCode="0.0">
                  <c:v>46.725269403782228</c:v>
                </c:pt>
                <c:pt idx="1005" formatCode="0.0">
                  <c:v>46.547593419179343</c:v>
                </c:pt>
                <c:pt idx="1006" formatCode="0.0">
                  <c:v>46.584523397227116</c:v>
                </c:pt>
                <c:pt idx="1007" formatCode="0.0">
                  <c:v>46.08008718477835</c:v>
                </c:pt>
                <c:pt idx="1008" formatCode="0.0">
                  <c:v>46.016481320780144</c:v>
                </c:pt>
                <c:pt idx="1009" formatCode="0.0">
                  <c:v>46.867417638838511</c:v>
                </c:pt>
                <c:pt idx="1010" formatCode="0.0">
                  <c:v>46.509558999024811</c:v>
                </c:pt>
                <c:pt idx="1011" formatCode="0.0">
                  <c:v>46.226986966580498</c:v>
                </c:pt>
                <c:pt idx="1012" formatCode="0.0">
                  <c:v>46.369544691718502</c:v>
                </c:pt>
                <c:pt idx="1013" formatCode="0.0">
                  <c:v>46.383356372933548</c:v>
                </c:pt>
                <c:pt idx="1014" formatCode="0.0">
                  <c:v>46.314732506641796</c:v>
                </c:pt>
                <c:pt idx="1015" formatCode="0.0">
                  <c:v>46.34855202019304</c:v>
                </c:pt>
                <c:pt idx="1016" formatCode="0.0">
                  <c:v>45.791157394752879</c:v>
                </c:pt>
                <c:pt idx="1017" formatCode="0.0">
                  <c:v>45.533470474712857</c:v>
                </c:pt>
                <c:pt idx="1018" formatCode="0.0">
                  <c:v>46.410793784059649</c:v>
                </c:pt>
                <c:pt idx="1019" formatCode="0.0">
                  <c:v>45.669514257773798</c:v>
                </c:pt>
                <c:pt idx="1020" formatCode="0.0">
                  <c:v>45.251479816122014</c:v>
                </c:pt>
                <c:pt idx="1021" formatCode="0.0">
                  <c:v>46.396356202425686</c:v>
                </c:pt>
                <c:pt idx="1022" formatCode="0.0">
                  <c:v>46.898358679233965</c:v>
                </c:pt>
                <c:pt idx="1023" formatCode="0.0">
                  <c:v>46.469377543530101</c:v>
                </c:pt>
                <c:pt idx="1024" formatCode="0.0">
                  <c:v>46.485853168937183</c:v>
                </c:pt>
                <c:pt idx="1025" formatCode="0.0">
                  <c:v>46.937590251212335</c:v>
                </c:pt>
                <c:pt idx="1026" formatCode="General">
                  <c:v>45.720574539287242</c:v>
                </c:pt>
                <c:pt idx="1027">
                  <c:v>45.958461891026765</c:v>
                </c:pt>
                <c:pt idx="1028">
                  <c:v>46.433468444391551</c:v>
                </c:pt>
                <c:pt idx="1029">
                  <c:v>46.765911317187275</c:v>
                </c:pt>
                <c:pt idx="1030">
                  <c:v>44.476272804922949</c:v>
                </c:pt>
                <c:pt idx="1031" formatCode="General">
                  <c:v>43.791123568790383</c:v>
                </c:pt>
                <c:pt idx="1032" formatCode="0.0">
                  <c:v>46.411392067420792</c:v>
                </c:pt>
                <c:pt idx="1033" formatCode="0.0">
                  <c:v>45.894755954035887</c:v>
                </c:pt>
                <c:pt idx="1034" formatCode="General">
                  <c:v>46.140312632746927</c:v>
                </c:pt>
                <c:pt idx="1035" formatCode="General">
                  <c:v>46.388308364625615</c:v>
                </c:pt>
                <c:pt idx="1036" formatCode="0.0">
                  <c:v>46.29401060445354</c:v>
                </c:pt>
                <c:pt idx="1037" formatCode="General">
                  <c:v>46.065234689017593</c:v>
                </c:pt>
                <c:pt idx="1038" formatCode="General">
                  <c:v>45.003466449551574</c:v>
                </c:pt>
                <c:pt idx="1039">
                  <c:v>45.672399603956613</c:v>
                </c:pt>
                <c:pt idx="1040">
                  <c:v>45.527080669009067</c:v>
                </c:pt>
                <c:pt idx="1041">
                  <c:v>45.037860817871611</c:v>
                </c:pt>
                <c:pt idx="1042">
                  <c:v>45.460473679323421</c:v>
                </c:pt>
                <c:pt idx="1043">
                  <c:v>44.843547279138292</c:v>
                </c:pt>
                <c:pt idx="1044">
                  <c:v>44.990747742003748</c:v>
                </c:pt>
                <c:pt idx="1045">
                  <c:v>45.545408262187898</c:v>
                </c:pt>
                <c:pt idx="1046">
                  <c:v>45.697927877784103</c:v>
                </c:pt>
                <c:pt idx="1047">
                  <c:v>45.546144460372197</c:v>
                </c:pt>
                <c:pt idx="1048">
                  <c:v>44.652869426350883</c:v>
                </c:pt>
                <c:pt idx="1049">
                  <c:v>44.938133663787681</c:v>
                </c:pt>
                <c:pt idx="1050">
                  <c:v>45.114979096032712</c:v>
                </c:pt>
                <c:pt idx="1051">
                  <c:v>46.015404379480351</c:v>
                </c:pt>
                <c:pt idx="1052">
                  <c:v>46.314008372762274</c:v>
                </c:pt>
                <c:pt idx="1053" formatCode="0.0">
                  <c:v>45.935328245178098</c:v>
                </c:pt>
                <c:pt idx="1054" formatCode="General">
                  <c:v>45.275789255749295</c:v>
                </c:pt>
                <c:pt idx="1055">
                  <c:v>45.091592870120174</c:v>
                </c:pt>
                <c:pt idx="1056">
                  <c:v>44.213837149769375</c:v>
                </c:pt>
                <c:pt idx="1057">
                  <c:v>44.985106827548975</c:v>
                </c:pt>
                <c:pt idx="1058">
                  <c:v>45.518965640277344</c:v>
                </c:pt>
                <c:pt idx="1059">
                  <c:v>44.866989170229267</c:v>
                </c:pt>
                <c:pt idx="1060" formatCode="0.0">
                  <c:v>44.760942960547602</c:v>
                </c:pt>
                <c:pt idx="1061" formatCode="0.0">
                  <c:v>44.861698751387664</c:v>
                </c:pt>
                <c:pt idx="1062" formatCode="0.0">
                  <c:v>44.418720967236851</c:v>
                </c:pt>
                <c:pt idx="1063" formatCode="General">
                  <c:v>44.276905632753262</c:v>
                </c:pt>
                <c:pt idx="1064" formatCode="0.0">
                  <c:v>44.120123259185021</c:v>
                </c:pt>
                <c:pt idx="1065" formatCode="General">
                  <c:v>44.024528658026838</c:v>
                </c:pt>
                <c:pt idx="1066" formatCode="General">
                  <c:v>44.437653796381355</c:v>
                </c:pt>
                <c:pt idx="1067" formatCode="General">
                  <c:v>46.719038400642248</c:v>
                </c:pt>
                <c:pt idx="1068" formatCode="General">
                  <c:v>45.320311193712911</c:v>
                </c:pt>
                <c:pt idx="1069" formatCode="General">
                  <c:v>46.320108503945036</c:v>
                </c:pt>
                <c:pt idx="1070" formatCode="General">
                  <c:v>46.205811330793573</c:v>
                </c:pt>
                <c:pt idx="1071" formatCode="General">
                  <c:v>45.682757625860347</c:v>
                </c:pt>
                <c:pt idx="1072" formatCode="General">
                  <c:v>45.755307043648763</c:v>
                </c:pt>
                <c:pt idx="1073" formatCode="0.0">
                  <c:v>46.070832276802022</c:v>
                </c:pt>
                <c:pt idx="1074" formatCode="0.0">
                  <c:v>46.439555769768305</c:v>
                </c:pt>
                <c:pt idx="1075" formatCode="General">
                  <c:v>46.628454730531423</c:v>
                </c:pt>
                <c:pt idx="1076" formatCode="General">
                  <c:v>46.535999973671537</c:v>
                </c:pt>
                <c:pt idx="1077" formatCode="0.0">
                  <c:v>45.965403947885093</c:v>
                </c:pt>
                <c:pt idx="1078" formatCode="General">
                  <c:v>46.328005085488314</c:v>
                </c:pt>
                <c:pt idx="1079" formatCode="General">
                  <c:v>46.478633497327586</c:v>
                </c:pt>
                <c:pt idx="1080" formatCode="General">
                  <c:v>45.875189964765859</c:v>
                </c:pt>
                <c:pt idx="1081" formatCode="General">
                  <c:v>46.011463928610617</c:v>
                </c:pt>
                <c:pt idx="1082" formatCode="General">
                  <c:v>46.247144398409219</c:v>
                </c:pt>
                <c:pt idx="1083" formatCode="General">
                  <c:v>46.143018372904976</c:v>
                </c:pt>
                <c:pt idx="1084" formatCode="General">
                  <c:v>46.46922314606114</c:v>
                </c:pt>
                <c:pt idx="1085" formatCode="General">
                  <c:v>46.002580188401481</c:v>
                </c:pt>
                <c:pt idx="1086" formatCode="General">
                  <c:v>45.958622362885926</c:v>
                </c:pt>
                <c:pt idx="1087" formatCode="General">
                  <c:v>46.56786760770909</c:v>
                </c:pt>
                <c:pt idx="1088" formatCode="General">
                  <c:v>46.62399492242929</c:v>
                </c:pt>
                <c:pt idx="1089" formatCode="General">
                  <c:v>46.875968828063044</c:v>
                </c:pt>
                <c:pt idx="1090" formatCode="General">
                  <c:v>46.687247338193302</c:v>
                </c:pt>
                <c:pt idx="1091" formatCode="General">
                  <c:v>46.472341416565122</c:v>
                </c:pt>
                <c:pt idx="1092" formatCode="General">
                  <c:v>46.229256452676751</c:v>
                </c:pt>
                <c:pt idx="1093" formatCode="General">
                  <c:v>46.062360536715786</c:v>
                </c:pt>
                <c:pt idx="1094" formatCode="General">
                  <c:v>46.58072533962806</c:v>
                </c:pt>
                <c:pt idx="1095" formatCode="General">
                  <c:v>46.225730096131407</c:v>
                </c:pt>
              </c:numCache>
            </c:numRef>
          </c:xVal>
          <c:yVal>
            <c:numRef>
              <c:f>'Parameters ranges for ANN step1'!$AM$3:$AM$1137</c:f>
              <c:numCache>
                <c:formatCode>0</c:formatCode>
                <c:ptCount val="1135"/>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204.23485725682175</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204.9854741107371</c:v>
                </c:pt>
                <c:pt idx="18">
                  <c:v>200.86132216632797</c:v>
                </c:pt>
                <c:pt idx="19">
                  <c:v>200.17306711282052</c:v>
                </c:pt>
                <c:pt idx="20">
                  <c:v>204.4587150016421</c:v>
                </c:pt>
                <c:pt idx="21">
                  <c:v>204.3411578349818</c:v>
                </c:pt>
                <c:pt idx="22">
                  <c:v>205.39641517325504</c:v>
                </c:pt>
                <c:pt idx="23">
                  <c:v>211.42894853503395</c:v>
                </c:pt>
                <c:pt idx="24">
                  <c:v>210.1118244813469</c:v>
                </c:pt>
                <c:pt idx="25">
                  <c:v>209.81106247452513</c:v>
                </c:pt>
                <c:pt idx="26">
                  <c:v>200.11319713725905</c:v>
                </c:pt>
                <c:pt idx="27">
                  <c:v>173.67865142747749</c:v>
                </c:pt>
                <c:pt idx="28">
                  <c:v>203.54901586662913</c:v>
                </c:pt>
                <c:pt idx="29">
                  <c:v>205.44527388108517</c:v>
                </c:pt>
                <c:pt idx="30">
                  <c:v>198.80113941896195</c:v>
                </c:pt>
                <c:pt idx="31">
                  <c:v>208.3547156699791</c:v>
                </c:pt>
                <c:pt idx="32">
                  <c:v>204.97710129072723</c:v>
                </c:pt>
                <c:pt idx="33">
                  <c:v>196.03589432171418</c:v>
                </c:pt>
                <c:pt idx="34">
                  <c:v>182.5595009983401</c:v>
                </c:pt>
                <c:pt idx="35">
                  <c:v>183</c:v>
                </c:pt>
                <c:pt idx="36">
                  <c:v>190.2037903840403</c:v>
                </c:pt>
                <c:pt idx="37">
                  <c:v>202.77186371182805</c:v>
                </c:pt>
                <c:pt idx="38">
                  <c:v>204.4456666396741</c:v>
                </c:pt>
                <c:pt idx="39">
                  <c:v>199.0306694122568</c:v>
                </c:pt>
                <c:pt idx="40">
                  <c:v>199.40765687845391</c:v>
                </c:pt>
                <c:pt idx="41">
                  <c:v>197.89153341741755</c:v>
                </c:pt>
                <c:pt idx="42">
                  <c:v>188.00692709323579</c:v>
                </c:pt>
                <c:pt idx="43">
                  <c:v>178.62371304274293</c:v>
                </c:pt>
                <c:pt idx="44">
                  <c:v>157.1835588434451</c:v>
                </c:pt>
                <c:pt idx="45">
                  <c:v>90.264375751437598</c:v>
                </c:pt>
                <c:pt idx="46">
                  <c:v>93.619960051127521</c:v>
                </c:pt>
                <c:pt idx="47">
                  <c:v>168.17878837871211</c:v>
                </c:pt>
                <c:pt idx="48">
                  <c:v>190.45977180578873</c:v>
                </c:pt>
                <c:pt idx="49">
                  <c:v>186.06141522536356</c:v>
                </c:pt>
                <c:pt idx="50">
                  <c:v>194.42344753769504</c:v>
                </c:pt>
                <c:pt idx="51">
                  <c:v>193.26092064238506</c:v>
                </c:pt>
                <c:pt idx="52">
                  <c:v>194.88152309283421</c:v>
                </c:pt>
                <c:pt idx="53">
                  <c:v>204.16933157639949</c:v>
                </c:pt>
                <c:pt idx="54">
                  <c:v>206.99102854411368</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189.45283358020691</c:v>
                </c:pt>
                <c:pt idx="69">
                  <c:v>198.09208163020048</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200.34529527456326</c:v>
                </c:pt>
                <c:pt idx="110">
                  <c:v>204.59989468205592</c:v>
                </c:pt>
                <c:pt idx="111">
                  <c:v>205.42229572465371</c:v>
                </c:pt>
                <c:pt idx="112">
                  <c:v>193.70361963208651</c:v>
                </c:pt>
                <c:pt idx="113">
                  <c:v>190.65854630669233</c:v>
                </c:pt>
                <c:pt idx="114">
                  <c:v>198.05574008021773</c:v>
                </c:pt>
                <c:pt idx="115">
                  <c:v>177.21101646872836</c:v>
                </c:pt>
                <c:pt idx="116">
                  <c:v>203.99336148504639</c:v>
                </c:pt>
                <c:pt idx="117">
                  <c:v>198.65814750554023</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0</c:v>
                </c:pt>
                <c:pt idx="149">
                  <c:v>0</c:v>
                </c:pt>
                <c:pt idx="150">
                  <c:v>59.922850515450001</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183.67564572317701</c:v>
                </c:pt>
                <c:pt idx="160">
                  <c:v>182.13725069832299</c:v>
                </c:pt>
                <c:pt idx="161">
                  <c:v>181.94320776918099</c:v>
                </c:pt>
                <c:pt idx="162">
                  <c:v>191.74179510009</c:v>
                </c:pt>
                <c:pt idx="163">
                  <c:v>197.45405984671601</c:v>
                </c:pt>
                <c:pt idx="164">
                  <c:v>208.24809973350699</c:v>
                </c:pt>
                <c:pt idx="165">
                  <c:v>209.336772296264</c:v>
                </c:pt>
                <c:pt idx="166">
                  <c:v>206.93214712700799</c:v>
                </c:pt>
                <c:pt idx="167">
                  <c:v>208.23197421418899</c:v>
                </c:pt>
                <c:pt idx="168">
                  <c:v>209.62684202933701</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193.00778233618999</c:v>
                </c:pt>
                <c:pt idx="178">
                  <c:v>202.564554544923</c:v>
                </c:pt>
                <c:pt idx="179">
                  <c:v>201.867407228378</c:v>
                </c:pt>
                <c:pt idx="180">
                  <c:v>202.48205478732899</c:v>
                </c:pt>
                <c:pt idx="181">
                  <c:v>210.50410235335701</c:v>
                </c:pt>
                <c:pt idx="182">
                  <c:v>206.72212819481999</c:v>
                </c:pt>
                <c:pt idx="183">
                  <c:v>189.785173048677</c:v>
                </c:pt>
                <c:pt idx="184">
                  <c:v>195.41703532181401</c:v>
                </c:pt>
                <c:pt idx="185">
                  <c:v>194.76924152241099</c:v>
                </c:pt>
                <c:pt idx="186">
                  <c:v>207.328777578049</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210.01170741985499</c:v>
                </c:pt>
                <c:pt idx="201">
                  <c:v>210.20412866665799</c:v>
                </c:pt>
                <c:pt idx="202">
                  <c:v>199.70215738161301</c:v>
                </c:pt>
                <c:pt idx="203">
                  <c:v>190.647296690302</c:v>
                </c:pt>
                <c:pt idx="204">
                  <c:v>197.72543263838301</c:v>
                </c:pt>
                <c:pt idx="205">
                  <c:v>196.93914842305901</c:v>
                </c:pt>
                <c:pt idx="206">
                  <c:v>196.72991510273701</c:v>
                </c:pt>
                <c:pt idx="207">
                  <c:v>207.777894083316</c:v>
                </c:pt>
                <c:pt idx="208">
                  <c:v>208.83200254090801</c:v>
                </c:pt>
                <c:pt idx="209">
                  <c:v>208.23062774383899</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196.00917183168201</c:v>
                </c:pt>
                <c:pt idx="220">
                  <c:v>211.59340286438601</c:v>
                </c:pt>
                <c:pt idx="221">
                  <c:v>209.14073880869799</c:v>
                </c:pt>
                <c:pt idx="222">
                  <c:v>203.12033249689401</c:v>
                </c:pt>
                <c:pt idx="223">
                  <c:v>211.523462291176</c:v>
                </c:pt>
                <c:pt idx="224">
                  <c:v>211.81077765009499</c:v>
                </c:pt>
                <c:pt idx="225">
                  <c:v>211.32603242399199</c:v>
                </c:pt>
                <c:pt idx="226">
                  <c:v>198.47818272088901</c:v>
                </c:pt>
                <c:pt idx="227">
                  <c:v>210.12645670348999</c:v>
                </c:pt>
                <c:pt idx="228">
                  <c:v>204.110230037799</c:v>
                </c:pt>
                <c:pt idx="229">
                  <c:v>196.75329555706</c:v>
                </c:pt>
                <c:pt idx="230">
                  <c:v>203.255966573363</c:v>
                </c:pt>
                <c:pt idx="231">
                  <c:v>197.34498332552201</c:v>
                </c:pt>
                <c:pt idx="232">
                  <c:v>181.31150567497701</c:v>
                </c:pt>
                <c:pt idx="233">
                  <c:v>195.64953782477599</c:v>
                </c:pt>
                <c:pt idx="234">
                  <c:v>203.959943500392</c:v>
                </c:pt>
                <c:pt idx="235">
                  <c:v>178.60152971854899</c:v>
                </c:pt>
                <c:pt idx="236">
                  <c:v>190.793168397024</c:v>
                </c:pt>
                <c:pt idx="237">
                  <c:v>202.394235923297</c:v>
                </c:pt>
                <c:pt idx="238">
                  <c:v>209.94557877343999</c:v>
                </c:pt>
                <c:pt idx="239">
                  <c:v>195.48295273423599</c:v>
                </c:pt>
                <c:pt idx="240">
                  <c:v>172.15223546562399</c:v>
                </c:pt>
                <c:pt idx="241">
                  <c:v>170.48176291699201</c:v>
                </c:pt>
                <c:pt idx="242">
                  <c:v>181.93214392793399</c:v>
                </c:pt>
                <c:pt idx="243">
                  <c:v>179.612415507425</c:v>
                </c:pt>
                <c:pt idx="244">
                  <c:v>174.472774488119</c:v>
                </c:pt>
                <c:pt idx="245">
                  <c:v>117.74555131036399</c:v>
                </c:pt>
                <c:pt idx="246">
                  <c:v>138.92974343908901</c:v>
                </c:pt>
                <c:pt idx="247">
                  <c:v>125.100134916952</c:v>
                </c:pt>
                <c:pt idx="248">
                  <c:v>140.803276088144</c:v>
                </c:pt>
                <c:pt idx="249">
                  <c:v>151.34502549916999</c:v>
                </c:pt>
                <c:pt idx="250">
                  <c:v>149.83854421042</c:v>
                </c:pt>
                <c:pt idx="251">
                  <c:v>178.60252485124801</c:v>
                </c:pt>
                <c:pt idx="252">
                  <c:v>171.64255227816301</c:v>
                </c:pt>
                <c:pt idx="253">
                  <c:v>170.05826919215099</c:v>
                </c:pt>
                <c:pt idx="254">
                  <c:v>179.56099730714899</c:v>
                </c:pt>
                <c:pt idx="255">
                  <c:v>170.180850816401</c:v>
                </c:pt>
                <c:pt idx="256">
                  <c:v>202.58945730613101</c:v>
                </c:pt>
                <c:pt idx="257">
                  <c:v>208.80892981364201</c:v>
                </c:pt>
                <c:pt idx="258">
                  <c:v>191.54506271347</c:v>
                </c:pt>
                <c:pt idx="259">
                  <c:v>100.379153832909</c:v>
                </c:pt>
                <c:pt idx="260">
                  <c:v>86.404099136261394</c:v>
                </c:pt>
                <c:pt idx="261">
                  <c:v>173.39193134753299</c:v>
                </c:pt>
                <c:pt idx="262">
                  <c:v>184.46046040777</c:v>
                </c:pt>
                <c:pt idx="263">
                  <c:v>176.59625965425201</c:v>
                </c:pt>
                <c:pt idx="264">
                  <c:v>197.38488654618601</c:v>
                </c:pt>
                <c:pt idx="265">
                  <c:v>189.966517129848</c:v>
                </c:pt>
                <c:pt idx="266">
                  <c:v>193.56260335391801</c:v>
                </c:pt>
                <c:pt idx="267">
                  <c:v>171.68709832832499</c:v>
                </c:pt>
                <c:pt idx="268">
                  <c:v>205.907457880826</c:v>
                </c:pt>
                <c:pt idx="269">
                  <c:v>202.97785964145299</c:v>
                </c:pt>
                <c:pt idx="270">
                  <c:v>199.937482425881</c:v>
                </c:pt>
                <c:pt idx="271">
                  <c:v>206.94785873537299</c:v>
                </c:pt>
                <c:pt idx="272">
                  <c:v>211.83629621987299</c:v>
                </c:pt>
                <c:pt idx="273">
                  <c:v>210.25017162800501</c:v>
                </c:pt>
                <c:pt idx="274">
                  <c:v>199.802347634901</c:v>
                </c:pt>
                <c:pt idx="275">
                  <c:v>197.2399877933</c:v>
                </c:pt>
                <c:pt idx="276">
                  <c:v>198.67665657612599</c:v>
                </c:pt>
                <c:pt idx="277">
                  <c:v>194.23131899335601</c:v>
                </c:pt>
                <c:pt idx="278">
                  <c:v>185.20579750444199</c:v>
                </c:pt>
                <c:pt idx="279">
                  <c:v>210.50811395635</c:v>
                </c:pt>
                <c:pt idx="280">
                  <c:v>213.780016927952</c:v>
                </c:pt>
                <c:pt idx="281">
                  <c:v>213.633222080118</c:v>
                </c:pt>
                <c:pt idx="282">
                  <c:v>214.10461180059599</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206.107296638729</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188.00933253043999</c:v>
                </c:pt>
                <c:pt idx="335">
                  <c:v>170.244128774269</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200.763000645886</c:v>
                </c:pt>
                <c:pt idx="357">
                  <c:v>207.038617517175</c:v>
                </c:pt>
                <c:pt idx="358">
                  <c:v>195.48047291531901</c:v>
                </c:pt>
                <c:pt idx="359">
                  <c:v>213.42871447377101</c:v>
                </c:pt>
                <c:pt idx="360">
                  <c:v>214.579969931638</c:v>
                </c:pt>
                <c:pt idx="361">
                  <c:v>210.05308815120301</c:v>
                </c:pt>
                <c:pt idx="362">
                  <c:v>202.591847461756</c:v>
                </c:pt>
                <c:pt idx="363">
                  <c:v>173.46667430850999</c:v>
                </c:pt>
                <c:pt idx="364">
                  <c:v>95.0082083065018</c:v>
                </c:pt>
                <c:pt idx="365">
                  <c:v>99.469568021421395</c:v>
                </c:pt>
                <c:pt idx="366" formatCode="General">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212.084719308568</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211.34931868997501</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191.84450886993</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215.46349192291899</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211.838106770704</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215.00048363333499</c:v>
                </c:pt>
                <c:pt idx="454">
                  <c:v>216.99357226464201</c:v>
                </c:pt>
                <c:pt idx="455">
                  <c:v>220.443474562939</c:v>
                </c:pt>
                <c:pt idx="456">
                  <c:v>220.17628686295001</c:v>
                </c:pt>
                <c:pt idx="457">
                  <c:v>217.76361151301401</c:v>
                </c:pt>
                <c:pt idx="458">
                  <c:v>216.79963752675701</c:v>
                </c:pt>
                <c:pt idx="459">
                  <c:v>220.753680756276</c:v>
                </c:pt>
                <c:pt idx="460">
                  <c:v>224.153485219619</c:v>
                </c:pt>
                <c:pt idx="461">
                  <c:v>223.24377771201699</c:v>
                </c:pt>
                <c:pt idx="462">
                  <c:v>223.31982925877401</c:v>
                </c:pt>
                <c:pt idx="463">
                  <c:v>220.52500265213101</c:v>
                </c:pt>
                <c:pt idx="464">
                  <c:v>212.849607368845</c:v>
                </c:pt>
                <c:pt idx="465">
                  <c:v>211.68618011279199</c:v>
                </c:pt>
                <c:pt idx="466">
                  <c:v>203.01595913883901</c:v>
                </c:pt>
                <c:pt idx="467">
                  <c:v>127.938194657867</c:v>
                </c:pt>
                <c:pt idx="468">
                  <c:v>104.23288644929001</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209.607809014606</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41.427343997948903</c:v>
                </c:pt>
                <c:pt idx="496">
                  <c:v>185.32334532565201</c:v>
                </c:pt>
                <c:pt idx="498">
                  <c:v>0</c:v>
                </c:pt>
                <c:pt idx="499">
                  <c:v>216.29640478550601</c:v>
                </c:pt>
                <c:pt idx="500">
                  <c:v>214.70909178833099</c:v>
                </c:pt>
                <c:pt idx="501">
                  <c:v>209.84345530065301</c:v>
                </c:pt>
                <c:pt idx="502">
                  <c:v>205.45196735902201</c:v>
                </c:pt>
                <c:pt idx="503">
                  <c:v>200.23528273940201</c:v>
                </c:pt>
                <c:pt idx="504">
                  <c:v>197.369133482878</c:v>
                </c:pt>
                <c:pt idx="505">
                  <c:v>199.73838875631299</c:v>
                </c:pt>
                <c:pt idx="506">
                  <c:v>201.79092126516801</c:v>
                </c:pt>
                <c:pt idx="507">
                  <c:v>203.60721717669199</c:v>
                </c:pt>
                <c:pt idx="508">
                  <c:v>206.32909209578099</c:v>
                </c:pt>
                <c:pt idx="509">
                  <c:v>209.94757868297401</c:v>
                </c:pt>
                <c:pt idx="510">
                  <c:v>210.18914525296</c:v>
                </c:pt>
                <c:pt idx="511">
                  <c:v>209.66868631574999</c:v>
                </c:pt>
                <c:pt idx="512">
                  <c:v>208.11187206002199</c:v>
                </c:pt>
                <c:pt idx="513">
                  <c:v>214.191940938058</c:v>
                </c:pt>
                <c:pt idx="514">
                  <c:v>210.64199835321199</c:v>
                </c:pt>
                <c:pt idx="515">
                  <c:v>211.50644393550701</c:v>
                </c:pt>
                <c:pt idx="516">
                  <c:v>210.712137592912</c:v>
                </c:pt>
                <c:pt idx="517">
                  <c:v>192.53066040612299</c:v>
                </c:pt>
                <c:pt idx="518">
                  <c:v>202.975907563379</c:v>
                </c:pt>
                <c:pt idx="519">
                  <c:v>208.154512512976</c:v>
                </c:pt>
                <c:pt idx="520">
                  <c:v>209.790430644846</c:v>
                </c:pt>
                <c:pt idx="521">
                  <c:v>212.42647704067599</c:v>
                </c:pt>
                <c:pt idx="522">
                  <c:v>214.90916136788601</c:v>
                </c:pt>
                <c:pt idx="523">
                  <c:v>214.84527140445499</c:v>
                </c:pt>
                <c:pt idx="524">
                  <c:v>214.90446733138199</c:v>
                </c:pt>
                <c:pt idx="525">
                  <c:v>214.22177973914501</c:v>
                </c:pt>
                <c:pt idx="526">
                  <c:v>205.068833961038</c:v>
                </c:pt>
                <c:pt idx="527">
                  <c:v>186.77264306491301</c:v>
                </c:pt>
                <c:pt idx="528">
                  <c:v>189.914166041713</c:v>
                </c:pt>
                <c:pt idx="529">
                  <c:v>163.55443233067899</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189.69939529311799</c:v>
                </c:pt>
                <c:pt idx="543">
                  <c:v>184.97375638193299</c:v>
                </c:pt>
                <c:pt idx="544">
                  <c:v>184.94264355067</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175.08653427554799</c:v>
                </c:pt>
                <c:pt idx="571">
                  <c:v>179.611103427063</c:v>
                </c:pt>
                <c:pt idx="572">
                  <c:v>185.73023315803999</c:v>
                </c:pt>
                <c:pt idx="573">
                  <c:v>199.731652819185</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198.365242991006</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180.340262113184</c:v>
                </c:pt>
                <c:pt idx="603">
                  <c:v>177.11262035307701</c:v>
                </c:pt>
                <c:pt idx="604">
                  <c:v>185.058473237144</c:v>
                </c:pt>
                <c:pt idx="605">
                  <c:v>198.038747189525</c:v>
                </c:pt>
                <c:pt idx="606">
                  <c:v>190.40639698840801</c:v>
                </c:pt>
                <c:pt idx="607">
                  <c:v>135.461545377871</c:v>
                </c:pt>
                <c:pt idx="608">
                  <c:v>203.494331568908</c:v>
                </c:pt>
                <c:pt idx="609">
                  <c:v>199.05418758923099</c:v>
                </c:pt>
                <c:pt idx="610">
                  <c:v>182.56889224868601</c:v>
                </c:pt>
                <c:pt idx="611">
                  <c:v>172.564320917212</c:v>
                </c:pt>
                <c:pt idx="612">
                  <c:v>170.685156385721</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178.53512362924201</c:v>
                </c:pt>
                <c:pt idx="629">
                  <c:v>195.63474523749201</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178.070465936831</c:v>
                </c:pt>
                <c:pt idx="641">
                  <c:v>35.0224499773148</c:v>
                </c:pt>
                <c:pt idx="643">
                  <c:v>83.531049277316896</c:v>
                </c:pt>
                <c:pt idx="644">
                  <c:v>184.56771327403001</c:v>
                </c:pt>
                <c:pt idx="645">
                  <c:v>200.285270302383</c:v>
                </c:pt>
                <c:pt idx="646">
                  <c:v>199.50436093752501</c:v>
                </c:pt>
                <c:pt idx="647">
                  <c:v>199.78683609901699</c:v>
                </c:pt>
                <c:pt idx="648">
                  <c:v>200.17669418412899</c:v>
                </c:pt>
                <c:pt idx="649">
                  <c:v>201.80837143852801</c:v>
                </c:pt>
                <c:pt idx="650">
                  <c:v>200.307079736529</c:v>
                </c:pt>
                <c:pt idx="651">
                  <c:v>200.91932366613301</c:v>
                </c:pt>
                <c:pt idx="652">
                  <c:v>199.71928463089</c:v>
                </c:pt>
                <c:pt idx="653">
                  <c:v>199.72715825433099</c:v>
                </c:pt>
                <c:pt idx="654">
                  <c:v>200.47337203379101</c:v>
                </c:pt>
                <c:pt idx="655">
                  <c:v>186.36484504437999</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200.116867541311</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133.02832575859301</c:v>
                </c:pt>
                <c:pt idx="702">
                  <c:v>170.967465006097</c:v>
                </c:pt>
                <c:pt idx="703">
                  <c:v>194.82277440936701</c:v>
                </c:pt>
                <c:pt idx="704">
                  <c:v>195.698949010825</c:v>
                </c:pt>
                <c:pt idx="705">
                  <c:v>195.56037357538099</c:v>
                </c:pt>
                <c:pt idx="706">
                  <c:v>189.552547455704</c:v>
                </c:pt>
                <c:pt idx="707">
                  <c:v>185.11205439355501</c:v>
                </c:pt>
                <c:pt idx="708">
                  <c:v>196.461881726039</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199.08000130975199</c:v>
                </c:pt>
                <c:pt idx="719">
                  <c:v>198.654111100318</c:v>
                </c:pt>
                <c:pt idx="720">
                  <c:v>199.07211316560699</c:v>
                </c:pt>
                <c:pt idx="721">
                  <c:v>200.466453362854</c:v>
                </c:pt>
                <c:pt idx="722">
                  <c:v>198.15825906388699</c:v>
                </c:pt>
                <c:pt idx="723">
                  <c:v>194.26387662660301</c:v>
                </c:pt>
                <c:pt idx="724">
                  <c:v>159.72463653362999</c:v>
                </c:pt>
                <c:pt idx="725">
                  <c:v>-2.5501573389323799E-9</c:v>
                </c:pt>
                <c:pt idx="726">
                  <c:v>71.178680406847803</c:v>
                </c:pt>
                <c:pt idx="727">
                  <c:v>181.524668195239</c:v>
                </c:pt>
                <c:pt idx="728">
                  <c:v>196.47276508566799</c:v>
                </c:pt>
                <c:pt idx="729">
                  <c:v>199.847304953178</c:v>
                </c:pt>
                <c:pt idx="730">
                  <c:v>197.65918572191899</c:v>
                </c:pt>
                <c:pt idx="731">
                  <c:v>196.5943893063845</c:v>
                </c:pt>
                <c:pt idx="732">
                  <c:v>194.51249989842162</c:v>
                </c:pt>
                <c:pt idx="733">
                  <c:v>195.47466834948239</c:v>
                </c:pt>
                <c:pt idx="734">
                  <c:v>196.16422385037691</c:v>
                </c:pt>
                <c:pt idx="735">
                  <c:v>194.73202153113448</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111.28112512317084</c:v>
                </c:pt>
                <c:pt idx="790">
                  <c:v>183.63519228282792</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174.20444678136769</c:v>
                </c:pt>
                <c:pt idx="812">
                  <c:v>170.02985832780968</c:v>
                </c:pt>
                <c:pt idx="813">
                  <c:v>170.19158117597544</c:v>
                </c:pt>
                <c:pt idx="814">
                  <c:v>169.5931368174424</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160.60385763950646</c:v>
                </c:pt>
                <c:pt idx="829">
                  <c:v>160.15049111354321</c:v>
                </c:pt>
                <c:pt idx="830">
                  <c:v>163.10111823204591</c:v>
                </c:pt>
                <c:pt idx="831">
                  <c:v>162.49552817067033</c:v>
                </c:pt>
                <c:pt idx="832">
                  <c:v>164.06702012001867</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160.68117976442608</c:v>
                </c:pt>
                <c:pt idx="861">
                  <c:v>101.96828892676182</c:v>
                </c:pt>
                <c:pt idx="862">
                  <c:v>199.11097182949177</c:v>
                </c:pt>
                <c:pt idx="863">
                  <c:v>197.90826406043936</c:v>
                </c:pt>
                <c:pt idx="864">
                  <c:v>170.93069683413199</c:v>
                </c:pt>
                <c:pt idx="865">
                  <c:v>135.47799916344161</c:v>
                </c:pt>
                <c:pt idx="866">
                  <c:v>201.92772237426297</c:v>
                </c:pt>
                <c:pt idx="867">
                  <c:v>196.83810389292307</c:v>
                </c:pt>
                <c:pt idx="868">
                  <c:v>203.4938953563277</c:v>
                </c:pt>
                <c:pt idx="869">
                  <c:v>199.99858238075475</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190.69367953106632</c:v>
                </c:pt>
                <c:pt idx="895">
                  <c:v>190.99507929097189</c:v>
                </c:pt>
                <c:pt idx="896">
                  <c:v>195.79846682536672</c:v>
                </c:pt>
                <c:pt idx="897">
                  <c:v>190.0539120853183</c:v>
                </c:pt>
                <c:pt idx="898">
                  <c:v>179.54258888435314</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172.16082475612498</c:v>
                </c:pt>
                <c:pt idx="912">
                  <c:v>183.5784087816505</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157.72858441138965</c:v>
                </c:pt>
                <c:pt idx="925">
                  <c:v>165.53527531529423</c:v>
                </c:pt>
                <c:pt idx="926">
                  <c:v>186.86790401561026</c:v>
                </c:pt>
                <c:pt idx="927">
                  <c:v>198.25691933070721</c:v>
                </c:pt>
                <c:pt idx="928">
                  <c:v>195.85276737334419</c:v>
                </c:pt>
                <c:pt idx="929">
                  <c:v>166.78424912457371</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120.70595504451498</c:v>
                </c:pt>
                <c:pt idx="956">
                  <c:v>0.10269381774752381</c:v>
                </c:pt>
                <c:pt idx="957">
                  <c:v>91.927651254056613</c:v>
                </c:pt>
                <c:pt idx="958">
                  <c:v>142.80678165061826</c:v>
                </c:pt>
                <c:pt idx="959">
                  <c:v>192.4656875185255</c:v>
                </c:pt>
                <c:pt idx="960">
                  <c:v>190.17188343099733</c:v>
                </c:pt>
                <c:pt idx="961">
                  <c:v>196.77224301022241</c:v>
                </c:pt>
                <c:pt idx="962">
                  <c:v>195.21480039773192</c:v>
                </c:pt>
                <c:pt idx="963">
                  <c:v>179.49657280631141</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176.13062732573817</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182.20201487109492</c:v>
                </c:pt>
                <c:pt idx="1021">
                  <c:v>171.6300787578738</c:v>
                </c:pt>
                <c:pt idx="1022">
                  <c:v>182.8492835209826</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96.643294930628159</c:v>
                </c:pt>
                <c:pt idx="1032">
                  <c:v>173.28908123769781</c:v>
                </c:pt>
                <c:pt idx="1033">
                  <c:v>189.75289489076087</c:v>
                </c:pt>
                <c:pt idx="1034">
                  <c:v>194.21678639066241</c:v>
                </c:pt>
                <c:pt idx="1035">
                  <c:v>191.94066070613019</c:v>
                </c:pt>
                <c:pt idx="1036">
                  <c:v>181.09936127829653</c:v>
                </c:pt>
                <c:pt idx="1037">
                  <c:v>188.30530648196631</c:v>
                </c:pt>
                <c:pt idx="1038">
                  <c:v>183.32906990176988</c:v>
                </c:pt>
                <c:pt idx="1039">
                  <c:v>169.1998332501891</c:v>
                </c:pt>
                <c:pt idx="1040">
                  <c:v>147.8853599680393</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186.38615262093737</c:v>
                </c:pt>
                <c:pt idx="1052">
                  <c:v>180.01103621756548</c:v>
                </c:pt>
                <c:pt idx="1053">
                  <c:v>179.38999796040625</c:v>
                </c:pt>
                <c:pt idx="1054">
                  <c:v>170.66616217802033</c:v>
                </c:pt>
                <c:pt idx="1055">
                  <c:v>172.76375482356508</c:v>
                </c:pt>
                <c:pt idx="1056">
                  <c:v>185.83453848596551</c:v>
                </c:pt>
                <c:pt idx="1057">
                  <c:v>187.05240858007895</c:v>
                </c:pt>
                <c:pt idx="1058">
                  <c:v>171.05155633494076</c:v>
                </c:pt>
                <c:pt idx="1059">
                  <c:v>176.56895677067467</c:v>
                </c:pt>
                <c:pt idx="1060">
                  <c:v>188.96564296500739</c:v>
                </c:pt>
                <c:pt idx="1061">
                  <c:v>188.36963384658122</c:v>
                </c:pt>
                <c:pt idx="1062">
                  <c:v>187.24727744517713</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175.71996940048535</c:v>
                </c:pt>
                <c:pt idx="1071">
                  <c:v>174.31562083605635</c:v>
                </c:pt>
                <c:pt idx="1072">
                  <c:v>181.79563025720668</c:v>
                </c:pt>
                <c:pt idx="1073">
                  <c:v>181.57409208584204</c:v>
                </c:pt>
                <c:pt idx="1074">
                  <c:v>176.12905552827499</c:v>
                </c:pt>
                <c:pt idx="1075">
                  <c:v>167.41712213090335</c:v>
                </c:pt>
                <c:pt idx="1076">
                  <c:v>148.42618726013114</c:v>
                </c:pt>
                <c:pt idx="1077">
                  <c:v>158.86493140605128</c:v>
                </c:pt>
                <c:pt idx="1078">
                  <c:v>181.83919075656124</c:v>
                </c:pt>
                <c:pt idx="1079">
                  <c:v>179.92665631772826</c:v>
                </c:pt>
                <c:pt idx="1080">
                  <c:v>177.07717732998904</c:v>
                </c:pt>
                <c:pt idx="1081">
                  <c:v>169.47434599013408</c:v>
                </c:pt>
                <c:pt idx="1082">
                  <c:v>167.10507783739064</c:v>
                </c:pt>
                <c:pt idx="1083">
                  <c:v>142.63633816492805</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FC2C-4248-A541-8CC5FB48C1F2}"/>
            </c:ext>
          </c:extLst>
        </c:ser>
        <c:dLbls>
          <c:showLegendKey val="0"/>
          <c:showVal val="0"/>
          <c:showCatName val="0"/>
          <c:showSerName val="0"/>
          <c:showPercent val="0"/>
          <c:showBubbleSize val="0"/>
        </c:dLbls>
        <c:axId val="2026265199"/>
        <c:axId val="2026266031"/>
      </c:scatterChart>
      <c:valAx>
        <c:axId val="2026265199"/>
        <c:scaling>
          <c:orientation val="minMax"/>
          <c:max val="47.5"/>
          <c:min val="43.5"/>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6266031"/>
        <c:crosses val="autoZero"/>
        <c:crossBetween val="midCat"/>
      </c:valAx>
      <c:valAx>
        <c:axId val="2026266031"/>
        <c:scaling>
          <c:orientation val="minMax"/>
          <c:max val="220"/>
          <c:min val="16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6265199"/>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dirty="0"/>
              <a:t>CDI </a:t>
            </a:r>
            <a:r>
              <a:rPr lang="en-US" dirty="0" smtClean="0"/>
              <a:t>(kg) </a:t>
            </a:r>
            <a:r>
              <a:rPr lang="en-US" dirty="0"/>
              <a:t>V/S</a:t>
            </a:r>
            <a:r>
              <a:rPr lang="en-US" baseline="0" dirty="0"/>
              <a:t> </a:t>
            </a:r>
            <a:r>
              <a:rPr lang="en-US" sz="1400" b="0" i="0" baseline="0" dirty="0">
                <a:effectLst/>
              </a:rPr>
              <a:t>ETA CO</a:t>
            </a:r>
            <a:endParaRPr lang="en-US" sz="1100" dirty="0">
              <a:effectLst/>
            </a:endParaRPr>
          </a:p>
        </c:rich>
      </c:tx>
      <c:layout/>
      <c:overlay val="0"/>
      <c:spPr>
        <a:solidFill>
          <a:schemeClr val="bg1"/>
        </a:solid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M$1:$AM$2</c:f>
              <c:strCache>
                <c:ptCount val="2"/>
                <c:pt idx="0">
                  <c:v>CDI</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E$3:$AE$1137</c:f>
              <c:numCache>
                <c:formatCode>0</c:formatCode>
                <c:ptCount val="1135"/>
                <c:pt idx="0">
                  <c:v>0.55256206505150962</c:v>
                </c:pt>
                <c:pt idx="1">
                  <c:v>0.55141818503466855</c:v>
                </c:pt>
                <c:pt idx="2">
                  <c:v>0.519213141325092</c:v>
                </c:pt>
                <c:pt idx="3">
                  <c:v>0.50730858408022572</c:v>
                </c:pt>
                <c:pt idx="4">
                  <c:v>0.50416659520414131</c:v>
                </c:pt>
                <c:pt idx="5">
                  <c:v>0.51059923955978881</c:v>
                </c:pt>
                <c:pt idx="6">
                  <c:v>0.50914034555171117</c:v>
                </c:pt>
                <c:pt idx="7">
                  <c:v>0.51115461362300241</c:v>
                </c:pt>
                <c:pt idx="8">
                  <c:v>0.50491303077040672</c:v>
                </c:pt>
                <c:pt idx="9">
                  <c:v>0.51703197429369807</c:v>
                </c:pt>
                <c:pt idx="10">
                  <c:v>0.51652745680419621</c:v>
                </c:pt>
                <c:pt idx="11">
                  <c:v>0.51055732263936937</c:v>
                </c:pt>
                <c:pt idx="12">
                  <c:v>0.50595222104700965</c:v>
                </c:pt>
                <c:pt idx="13">
                  <c:v>0.50773566238194578</c:v>
                </c:pt>
                <c:pt idx="14">
                  <c:v>0.50407606672947547</c:v>
                </c:pt>
                <c:pt idx="15">
                  <c:v>0.50677715510528698</c:v>
                </c:pt>
                <c:pt idx="16">
                  <c:v>0.50277971785589792</c:v>
                </c:pt>
                <c:pt idx="17">
                  <c:v>0.50223851350524151</c:v>
                </c:pt>
                <c:pt idx="18">
                  <c:v>0.50799838472148151</c:v>
                </c:pt>
                <c:pt idx="19">
                  <c:v>0.51163197470040711</c:v>
                </c:pt>
                <c:pt idx="20">
                  <c:v>0.50664407228033437</c:v>
                </c:pt>
                <c:pt idx="21">
                  <c:v>0.50936320108218791</c:v>
                </c:pt>
                <c:pt idx="22">
                  <c:v>0.50528599264191087</c:v>
                </c:pt>
                <c:pt idx="23">
                  <c:v>0.50285066764845843</c:v>
                </c:pt>
                <c:pt idx="24">
                  <c:v>0.50490561093921393</c:v>
                </c:pt>
                <c:pt idx="25">
                  <c:v>0.5043299298713213</c:v>
                </c:pt>
                <c:pt idx="26">
                  <c:v>0.50043511781749705</c:v>
                </c:pt>
                <c:pt idx="27">
                  <c:v>0.4995882454720259</c:v>
                </c:pt>
                <c:pt idx="28">
                  <c:v>0.50422084722571026</c:v>
                </c:pt>
                <c:pt idx="29">
                  <c:v>0.51393310684319127</c:v>
                </c:pt>
                <c:pt idx="30">
                  <c:v>0.51356718649202016</c:v>
                </c:pt>
                <c:pt idx="31">
                  <c:v>0.52590010362000783</c:v>
                </c:pt>
                <c:pt idx="32">
                  <c:v>0.51943131047074054</c:v>
                </c:pt>
                <c:pt idx="33">
                  <c:v>0.5160222559131018</c:v>
                </c:pt>
                <c:pt idx="34">
                  <c:v>0.51655008352916809</c:v>
                </c:pt>
                <c:pt idx="35">
                  <c:v>0.50828954124933823</c:v>
                </c:pt>
                <c:pt idx="36">
                  <c:v>0.50725341656633649</c:v>
                </c:pt>
                <c:pt idx="37">
                  <c:v>0.50949373455468905</c:v>
                </c:pt>
                <c:pt idx="38">
                  <c:v>0.51592892871640283</c:v>
                </c:pt>
                <c:pt idx="39">
                  <c:v>0.51990821623909611</c:v>
                </c:pt>
                <c:pt idx="40">
                  <c:v>0.51234142885665124</c:v>
                </c:pt>
                <c:pt idx="41">
                  <c:v>0.51732377134319762</c:v>
                </c:pt>
                <c:pt idx="42">
                  <c:v>0.5094435095577885</c:v>
                </c:pt>
                <c:pt idx="43">
                  <c:v>0.51549203596224447</c:v>
                </c:pt>
                <c:pt idx="44">
                  <c:v>0.51821195033945444</c:v>
                </c:pt>
                <c:pt idx="45">
                  <c:v>0.51528232239683802</c:v>
                </c:pt>
                <c:pt idx="46">
                  <c:v>0.51172579365622162</c:v>
                </c:pt>
                <c:pt idx="47">
                  <c:v>0.51143668370228823</c:v>
                </c:pt>
                <c:pt idx="48">
                  <c:v>0.52834525586952308</c:v>
                </c:pt>
                <c:pt idx="49">
                  <c:v>0.5197585133007816</c:v>
                </c:pt>
                <c:pt idx="50">
                  <c:v>0.50916219524865891</c:v>
                </c:pt>
                <c:pt idx="51">
                  <c:v>0.51129979467596509</c:v>
                </c:pt>
                <c:pt idx="52">
                  <c:v>0.52190280353792007</c:v>
                </c:pt>
                <c:pt idx="53">
                  <c:v>0.51309529193552483</c:v>
                </c:pt>
                <c:pt idx="54" formatCode="0.0">
                  <c:v>0.51871709234820995</c:v>
                </c:pt>
                <c:pt idx="55" formatCode="0.0">
                  <c:v>0.51252658447403909</c:v>
                </c:pt>
                <c:pt idx="56">
                  <c:v>0.51361456956032425</c:v>
                </c:pt>
                <c:pt idx="57" formatCode="0.0">
                  <c:v>0.50787869976372435</c:v>
                </c:pt>
                <c:pt idx="58" formatCode="0.0">
                  <c:v>0.51504770946492495</c:v>
                </c:pt>
                <c:pt idx="59">
                  <c:v>0.51390234907872456</c:v>
                </c:pt>
                <c:pt idx="60">
                  <c:v>0.51385754958464691</c:v>
                </c:pt>
                <c:pt idx="61">
                  <c:v>0.51054617475820385</c:v>
                </c:pt>
                <c:pt idx="62">
                  <c:v>0.5084377975476303</c:v>
                </c:pt>
                <c:pt idx="63">
                  <c:v>0.52002459900737963</c:v>
                </c:pt>
                <c:pt idx="64">
                  <c:v>0.52262618357292556</c:v>
                </c:pt>
                <c:pt idx="65">
                  <c:v>0.52713714898629371</c:v>
                </c:pt>
                <c:pt idx="66">
                  <c:v>0.52078013058132067</c:v>
                </c:pt>
                <c:pt idx="67">
                  <c:v>0.51143138543318822</c:v>
                </c:pt>
                <c:pt idx="68">
                  <c:v>0.51125220998327969</c:v>
                </c:pt>
                <c:pt idx="69">
                  <c:v>0.51541361719232237</c:v>
                </c:pt>
                <c:pt idx="70">
                  <c:v>0.51928027746282701</c:v>
                </c:pt>
                <c:pt idx="71">
                  <c:v>0.52289672168137047</c:v>
                </c:pt>
                <c:pt idx="72" formatCode="0.0">
                  <c:v>0.51876494354151947</c:v>
                </c:pt>
                <c:pt idx="73">
                  <c:v>0.5343124171943221</c:v>
                </c:pt>
                <c:pt idx="74">
                  <c:v>0.51955549517760979</c:v>
                </c:pt>
                <c:pt idx="75">
                  <c:v>0.51594114943614344</c:v>
                </c:pt>
                <c:pt idx="76">
                  <c:v>0.5198376905432166</c:v>
                </c:pt>
                <c:pt idx="77">
                  <c:v>0.51433715794204926</c:v>
                </c:pt>
                <c:pt idx="78">
                  <c:v>0.51596146919688701</c:v>
                </c:pt>
                <c:pt idx="79">
                  <c:v>0.5177466552390565</c:v>
                </c:pt>
                <c:pt idx="80">
                  <c:v>0.51427380895778374</c:v>
                </c:pt>
                <c:pt idx="81">
                  <c:v>0.5098411040022397</c:v>
                </c:pt>
                <c:pt idx="82">
                  <c:v>0.50853073088034662</c:v>
                </c:pt>
                <c:pt idx="83">
                  <c:v>0.50899124799719531</c:v>
                </c:pt>
                <c:pt idx="84">
                  <c:v>0.51845291795783843</c:v>
                </c:pt>
                <c:pt idx="85">
                  <c:v>0.51719990708060581</c:v>
                </c:pt>
                <c:pt idx="86">
                  <c:v>0.51777380125639394</c:v>
                </c:pt>
                <c:pt idx="87">
                  <c:v>0.5286319369950333</c:v>
                </c:pt>
                <c:pt idx="88">
                  <c:v>0.51697055616128651</c:v>
                </c:pt>
                <c:pt idx="89">
                  <c:v>0.5225967877953126</c:v>
                </c:pt>
                <c:pt idx="90">
                  <c:v>0.52676130559714363</c:v>
                </c:pt>
                <c:pt idx="91">
                  <c:v>0.52480707899970092</c:v>
                </c:pt>
                <c:pt idx="92" formatCode="0.0">
                  <c:v>0.51857566391598586</c:v>
                </c:pt>
                <c:pt idx="93" formatCode="0.0">
                  <c:v>0.51328868615536816</c:v>
                </c:pt>
                <c:pt idx="94" formatCode="0.0">
                  <c:v>0.51382384568937967</c:v>
                </c:pt>
                <c:pt idx="95" formatCode="0.0">
                  <c:v>0.52039972980852156</c:v>
                </c:pt>
                <c:pt idx="96" formatCode="0.0">
                  <c:v>0.51694020349956105</c:v>
                </c:pt>
                <c:pt idx="97" formatCode="0.0">
                  <c:v>0.51642118986354635</c:v>
                </c:pt>
                <c:pt idx="98" formatCode="0.0">
                  <c:v>0.52077454526253819</c:v>
                </c:pt>
                <c:pt idx="99" formatCode="0.0">
                  <c:v>0.53134188546190919</c:v>
                </c:pt>
                <c:pt idx="100" formatCode="0.0">
                  <c:v>0.53444248096857461</c:v>
                </c:pt>
                <c:pt idx="101" formatCode="0.0">
                  <c:v>0.53411891850016524</c:v>
                </c:pt>
                <c:pt idx="102" formatCode="0.0">
                  <c:v>0.5318987096664286</c:v>
                </c:pt>
                <c:pt idx="103" formatCode="0.0">
                  <c:v>0.53626256653199356</c:v>
                </c:pt>
                <c:pt idx="104" formatCode="0.0">
                  <c:v>0.51936249840042437</c:v>
                </c:pt>
                <c:pt idx="105" formatCode="0.0">
                  <c:v>0.55777252596016391</c:v>
                </c:pt>
                <c:pt idx="106" formatCode="0.0">
                  <c:v>0.55106848495622585</c:v>
                </c:pt>
                <c:pt idx="107" formatCode="0.0">
                  <c:v>0.53004682312534968</c:v>
                </c:pt>
                <c:pt idx="108" formatCode="0.0">
                  <c:v>0.52441006579521721</c:v>
                </c:pt>
                <c:pt idx="109" formatCode="0.0">
                  <c:v>0.52427806273864741</c:v>
                </c:pt>
                <c:pt idx="110" formatCode="0.0">
                  <c:v>0.53184429292483604</c:v>
                </c:pt>
                <c:pt idx="111" formatCode="0.0">
                  <c:v>0.5404379352738834</c:v>
                </c:pt>
                <c:pt idx="112" formatCode="0.0">
                  <c:v>0.53999545942464022</c:v>
                </c:pt>
                <c:pt idx="113" formatCode="0.0">
                  <c:v>0.53896895117636634</c:v>
                </c:pt>
                <c:pt idx="114" formatCode="0.0">
                  <c:v>0.54269589279767139</c:v>
                </c:pt>
                <c:pt idx="115" formatCode="0.0">
                  <c:v>0.53494781243016609</c:v>
                </c:pt>
                <c:pt idx="116" formatCode="0.0">
                  <c:v>0.53698008733647329</c:v>
                </c:pt>
                <c:pt idx="117" formatCode="0.0">
                  <c:v>0.5396705738565899</c:v>
                </c:pt>
                <c:pt idx="118" formatCode="0.0">
                  <c:v>0.55648704065656118</c:v>
                </c:pt>
                <c:pt idx="119" formatCode="0.0">
                  <c:v>0.54145127852386066</c:v>
                </c:pt>
                <c:pt idx="120" formatCode="0.0">
                  <c:v>0.5471306930090627</c:v>
                </c:pt>
                <c:pt idx="121" formatCode="0.0">
                  <c:v>0.54428278117966267</c:v>
                </c:pt>
                <c:pt idx="122" formatCode="0.0">
                  <c:v>0.53458411613380019</c:v>
                </c:pt>
                <c:pt idx="123" formatCode="0.0">
                  <c:v>0.53097309357282663</c:v>
                </c:pt>
                <c:pt idx="124" formatCode="0.0">
                  <c:v>0.53085672145911045</c:v>
                </c:pt>
                <c:pt idx="125" formatCode="0.0">
                  <c:v>0.52689444526758888</c:v>
                </c:pt>
                <c:pt idx="126" formatCode="0.0">
                  <c:v>0.51692113932386652</c:v>
                </c:pt>
                <c:pt idx="127" formatCode="0.0">
                  <c:v>0.51236981413131755</c:v>
                </c:pt>
                <c:pt idx="128" formatCode="0.0">
                  <c:v>0.51617168930486124</c:v>
                </c:pt>
                <c:pt idx="129" formatCode="0.0">
                  <c:v>0.51922841245753082</c:v>
                </c:pt>
                <c:pt idx="130" formatCode="0.0">
                  <c:v>0.52235244682124538</c:v>
                </c:pt>
                <c:pt idx="131" formatCode="0.0">
                  <c:v>0.51980511836977761</c:v>
                </c:pt>
                <c:pt idx="132" formatCode="0.0">
                  <c:v>0.51842304155105834</c:v>
                </c:pt>
                <c:pt idx="133" formatCode="0.0">
                  <c:v>0.52452938345922528</c:v>
                </c:pt>
                <c:pt idx="134" formatCode="0.0">
                  <c:v>0.5204595853018722</c:v>
                </c:pt>
                <c:pt idx="135" formatCode="0.0">
                  <c:v>0.51267844774715077</c:v>
                </c:pt>
                <c:pt idx="136" formatCode="0.0">
                  <c:v>0.51408643311399227</c:v>
                </c:pt>
                <c:pt idx="137" formatCode="0.0">
                  <c:v>0.51456044071099272</c:v>
                </c:pt>
                <c:pt idx="138" formatCode="0.0">
                  <c:v>0.50542669354309255</c:v>
                </c:pt>
                <c:pt idx="139" formatCode="0.0">
                  <c:v>0.50542669354309255</c:v>
                </c:pt>
                <c:pt idx="140" formatCode="0.0">
                  <c:v>0.50155508103319146</c:v>
                </c:pt>
                <c:pt idx="141" formatCode="0.0">
                  <c:v>0.51257504483192484</c:v>
                </c:pt>
                <c:pt idx="142" formatCode="0.0">
                  <c:v>0.51841019119742937</c:v>
                </c:pt>
                <c:pt idx="143" formatCode="0.0">
                  <c:v>0.51467597115738772</c:v>
                </c:pt>
                <c:pt idx="144" formatCode="0.0">
                  <c:v>0.5243308931298255</c:v>
                </c:pt>
                <c:pt idx="145" formatCode="0.0">
                  <c:v>0.52223152639370118</c:v>
                </c:pt>
                <c:pt idx="146" formatCode="0.0">
                  <c:v>0.5174322862880546</c:v>
                </c:pt>
                <c:pt idx="147" formatCode="0.0">
                  <c:v>0.52816785117125886</c:v>
                </c:pt>
                <c:pt idx="148" formatCode="0.0">
                  <c:v>0.52867572272407137</c:v>
                </c:pt>
                <c:pt idx="149" formatCode="0.0">
                  <c:v>0.52232811284589287</c:v>
                </c:pt>
                <c:pt idx="150" formatCode="0.0">
                  <c:v>0.52869629064651036</c:v>
                </c:pt>
                <c:pt idx="151" formatCode="0.0">
                  <c:v>0.54394023151559145</c:v>
                </c:pt>
                <c:pt idx="152" formatCode="0.0">
                  <c:v>0.53446151570696376</c:v>
                </c:pt>
                <c:pt idx="153" formatCode="0.0">
                  <c:v>0.52651910212018438</c:v>
                </c:pt>
                <c:pt idx="154" formatCode="0.0">
                  <c:v>0.52021846733758403</c:v>
                </c:pt>
                <c:pt idx="155" formatCode="0.0">
                  <c:v>0.51922276050210447</c:v>
                </c:pt>
                <c:pt idx="156" formatCode="0.0">
                  <c:v>0.52730974951504694</c:v>
                </c:pt>
                <c:pt idx="157" formatCode="0.0">
                  <c:v>0.53232468466155525</c:v>
                </c:pt>
                <c:pt idx="158" formatCode="0.0">
                  <c:v>0.53382521825659857</c:v>
                </c:pt>
                <c:pt idx="159" formatCode="0.0">
                  <c:v>0.53383477096468102</c:v>
                </c:pt>
                <c:pt idx="160" formatCode="0.0">
                  <c:v>0.52721526450064538</c:v>
                </c:pt>
                <c:pt idx="161" formatCode="0.0">
                  <c:v>0.52642179685161528</c:v>
                </c:pt>
                <c:pt idx="162" formatCode="0.0">
                  <c:v>0.52852680961214471</c:v>
                </c:pt>
                <c:pt idx="163" formatCode="0.0">
                  <c:v>0.52689845289458115</c:v>
                </c:pt>
                <c:pt idx="164" formatCode="0.0">
                  <c:v>0.52357209548207917</c:v>
                </c:pt>
                <c:pt idx="165" formatCode="0.0">
                  <c:v>0.51629334179280928</c:v>
                </c:pt>
                <c:pt idx="166" formatCode="0.0">
                  <c:v>0.52142149496561085</c:v>
                </c:pt>
                <c:pt idx="167" formatCode="0.0">
                  <c:v>0.52012685300983708</c:v>
                </c:pt>
                <c:pt idx="168" formatCode="0.0">
                  <c:v>0.52738967537958448</c:v>
                </c:pt>
                <c:pt idx="169" formatCode="0.0">
                  <c:v>0.53786620023059251</c:v>
                </c:pt>
                <c:pt idx="170" formatCode="0.0">
                  <c:v>0.52843171120202415</c:v>
                </c:pt>
                <c:pt idx="171" formatCode="0.0">
                  <c:v>0.52254794928165527</c:v>
                </c:pt>
                <c:pt idx="172" formatCode="0.0">
                  <c:v>0.52696417381713057</c:v>
                </c:pt>
                <c:pt idx="173" formatCode="0.0">
                  <c:v>0.53103211798900596</c:v>
                </c:pt>
                <c:pt idx="174" formatCode="0.0">
                  <c:v>0.53464003451366537</c:v>
                </c:pt>
                <c:pt idx="175" formatCode="0.0">
                  <c:v>0.53412785003502217</c:v>
                </c:pt>
                <c:pt idx="176" formatCode="0.0">
                  <c:v>0.53768989627565356</c:v>
                </c:pt>
                <c:pt idx="177" formatCode="0.0">
                  <c:v>0.53144531540682349</c:v>
                </c:pt>
                <c:pt idx="178" formatCode="0.0">
                  <c:v>0.53314122327349067</c:v>
                </c:pt>
                <c:pt idx="179" formatCode="0.0">
                  <c:v>0.5340660119813021</c:v>
                </c:pt>
                <c:pt idx="180" formatCode="0.0">
                  <c:v>0.53463221305139763</c:v>
                </c:pt>
                <c:pt idx="181" formatCode="0.0">
                  <c:v>0.52906357947885896</c:v>
                </c:pt>
                <c:pt idx="182" formatCode="0.0">
                  <c:v>0.53103140646956426</c:v>
                </c:pt>
                <c:pt idx="183" formatCode="0.0">
                  <c:v>0.52561274484462428</c:v>
                </c:pt>
                <c:pt idx="184" formatCode="0.0">
                  <c:v>0.52401351829453979</c:v>
                </c:pt>
                <c:pt idx="185" formatCode="0.0">
                  <c:v>0.52744024302673087</c:v>
                </c:pt>
                <c:pt idx="186" formatCode="0.0">
                  <c:v>0.52795925246641207</c:v>
                </c:pt>
                <c:pt idx="187" formatCode="0.0">
                  <c:v>0.53367346929204396</c:v>
                </c:pt>
                <c:pt idx="188" formatCode="0.0">
                  <c:v>0.53722758241106561</c:v>
                </c:pt>
                <c:pt idx="189" formatCode="0.0">
                  <c:v>0.53722336208667221</c:v>
                </c:pt>
                <c:pt idx="190" formatCode="0.0">
                  <c:v>0.53574841858852262</c:v>
                </c:pt>
                <c:pt idx="191" formatCode="0.0">
                  <c:v>0.52514940471690341</c:v>
                </c:pt>
                <c:pt idx="192" formatCode="0.0">
                  <c:v>0.53355396274661415</c:v>
                </c:pt>
                <c:pt idx="193" formatCode="0.0">
                  <c:v>0.53059122995482144</c:v>
                </c:pt>
                <c:pt idx="194" formatCode="0.0">
                  <c:v>0.53146764158229443</c:v>
                </c:pt>
                <c:pt idx="195" formatCode="0.0">
                  <c:v>0.52461402110502053</c:v>
                </c:pt>
                <c:pt idx="196" formatCode="0.0">
                  <c:v>0.52923813744703918</c:v>
                </c:pt>
                <c:pt idx="197" formatCode="0.0">
                  <c:v>0.52730872890876535</c:v>
                </c:pt>
                <c:pt idx="198" formatCode="0.0">
                  <c:v>0.52844596118317455</c:v>
                </c:pt>
                <c:pt idx="199" formatCode="0.0">
                  <c:v>0.5282976377636055</c:v>
                </c:pt>
                <c:pt idx="200" formatCode="0.0">
                  <c:v>0.52425516303397957</c:v>
                </c:pt>
                <c:pt idx="201" formatCode="0.0">
                  <c:v>0.52465198692835446</c:v>
                </c:pt>
                <c:pt idx="202" formatCode="0.0">
                  <c:v>0.53534936028319868</c:v>
                </c:pt>
                <c:pt idx="203" formatCode="0.0">
                  <c:v>0.53662476910744727</c:v>
                </c:pt>
                <c:pt idx="204" formatCode="0.0">
                  <c:v>0.5423059488110622</c:v>
                </c:pt>
                <c:pt idx="205" formatCode="0.0">
                  <c:v>0.54102082982186972</c:v>
                </c:pt>
                <c:pt idx="206" formatCode="0.0">
                  <c:v>0.53792054952220758</c:v>
                </c:pt>
                <c:pt idx="207" formatCode="0.0">
                  <c:v>0.54434250080614521</c:v>
                </c:pt>
                <c:pt idx="208" formatCode="0.0">
                  <c:v>0.54189197558738211</c:v>
                </c:pt>
                <c:pt idx="209" formatCode="0.0">
                  <c:v>0.54175221241024429</c:v>
                </c:pt>
                <c:pt idx="210" formatCode="0.0">
                  <c:v>0.53475343290312827</c:v>
                </c:pt>
                <c:pt idx="211" formatCode="0.0">
                  <c:v>0.53921718654960127</c:v>
                </c:pt>
                <c:pt idx="212" formatCode="0.0">
                  <c:v>0.54192864243496985</c:v>
                </c:pt>
                <c:pt idx="213" formatCode="0.0">
                  <c:v>0.54039282473820849</c:v>
                </c:pt>
                <c:pt idx="214" formatCode="0.0">
                  <c:v>0.53754493267193104</c:v>
                </c:pt>
                <c:pt idx="215" formatCode="0.0">
                  <c:v>0.58080582950342852</c:v>
                </c:pt>
                <c:pt idx="216" formatCode="0.0">
                  <c:v>0.6238567799604855</c:v>
                </c:pt>
                <c:pt idx="217" formatCode="0.0">
                  <c:v>0</c:v>
                </c:pt>
                <c:pt idx="218" formatCode="0.0">
                  <c:v>0</c:v>
                </c:pt>
                <c:pt idx="219" formatCode="0.0">
                  <c:v>0</c:v>
                </c:pt>
                <c:pt idx="220" formatCode="0.0">
                  <c:v>0.66992170274127161</c:v>
                </c:pt>
                <c:pt idx="221" formatCode="0.0">
                  <c:v>0.5988704938813979</c:v>
                </c:pt>
                <c:pt idx="222" formatCode="0.0">
                  <c:v>0.56672878355231826</c:v>
                </c:pt>
                <c:pt idx="223" formatCode="0.0">
                  <c:v>0.5516043135118569</c:v>
                </c:pt>
                <c:pt idx="224" formatCode="0.0">
                  <c:v>0.53825119929913778</c:v>
                </c:pt>
                <c:pt idx="225" formatCode="0.0">
                  <c:v>0.53340061606779976</c:v>
                </c:pt>
                <c:pt idx="226" formatCode="0.0">
                  <c:v>0.5263258898757206</c:v>
                </c:pt>
                <c:pt idx="227" formatCode="0.0">
                  <c:v>0.51860561693415352</c:v>
                </c:pt>
                <c:pt idx="228" formatCode="0.0">
                  <c:v>0.52131618571696037</c:v>
                </c:pt>
                <c:pt idx="229" formatCode="0.0">
                  <c:v>0.52584082084366324</c:v>
                </c:pt>
                <c:pt idx="230" formatCode="0.0">
                  <c:v>0.53341166153393837</c:v>
                </c:pt>
                <c:pt idx="231" formatCode="0.0">
                  <c:v>0.54298384615542672</c:v>
                </c:pt>
                <c:pt idx="232" formatCode="0.0">
                  <c:v>0.53749949182512902</c:v>
                </c:pt>
                <c:pt idx="233" formatCode="0.0">
                  <c:v>0.53543582899429532</c:v>
                </c:pt>
                <c:pt idx="234" formatCode="0.0">
                  <c:v>0.53227547327967051</c:v>
                </c:pt>
                <c:pt idx="235" formatCode="0.0">
                  <c:v>0.52539032864762303</c:v>
                </c:pt>
                <c:pt idx="236" formatCode="0.0">
                  <c:v>0.52466854886923731</c:v>
                </c:pt>
                <c:pt idx="237" formatCode="0.0">
                  <c:v>0.52650833551514187</c:v>
                </c:pt>
                <c:pt idx="238" formatCode="0.0">
                  <c:v>0.52718734908853393</c:v>
                </c:pt>
                <c:pt idx="239" formatCode="0.0">
                  <c:v>0.54193110592496629</c:v>
                </c:pt>
                <c:pt idx="240" formatCode="0.0">
                  <c:v>0.53533450501771751</c:v>
                </c:pt>
                <c:pt idx="241" formatCode="0.0">
                  <c:v>0.53331401140137547</c:v>
                </c:pt>
                <c:pt idx="242" formatCode="0.0">
                  <c:v>0.52686376699716253</c:v>
                </c:pt>
                <c:pt idx="243" formatCode="0.0">
                  <c:v>0.540690408173507</c:v>
                </c:pt>
                <c:pt idx="244" formatCode="0.0">
                  <c:v>0.54850459729203371</c:v>
                </c:pt>
                <c:pt idx="245" formatCode="0.0">
                  <c:v>0.54106670482252905</c:v>
                </c:pt>
                <c:pt idx="246" formatCode="0.0">
                  <c:v>0.54502710084370265</c:v>
                </c:pt>
                <c:pt idx="247" formatCode="0.0">
                  <c:v>0.53581480316651464</c:v>
                </c:pt>
                <c:pt idx="248" formatCode="0.0">
                  <c:v>0.53870080500055351</c:v>
                </c:pt>
                <c:pt idx="249" formatCode="0.0">
                  <c:v>0.54191072708923571</c:v>
                </c:pt>
                <c:pt idx="250" formatCode="0.0">
                  <c:v>0.54745520183515772</c:v>
                </c:pt>
                <c:pt idx="251" formatCode="0.0">
                  <c:v>0.53411336088408656</c:v>
                </c:pt>
                <c:pt idx="252" formatCode="0.0">
                  <c:v>0.54750797450727762</c:v>
                </c:pt>
                <c:pt idx="253" formatCode="0.0">
                  <c:v>0.54235680479233583</c:v>
                </c:pt>
                <c:pt idx="254" formatCode="0.0">
                  <c:v>0.53212639196303624</c:v>
                </c:pt>
                <c:pt idx="255" formatCode="0.0">
                  <c:v>0.53329196969095038</c:v>
                </c:pt>
                <c:pt idx="256" formatCode="0.0">
                  <c:v>0.53958544784287887</c:v>
                </c:pt>
                <c:pt idx="257" formatCode="0.0">
                  <c:v>0.54680833051841382</c:v>
                </c:pt>
                <c:pt idx="258" formatCode="0.0">
                  <c:v>0.5484558467323728</c:v>
                </c:pt>
                <c:pt idx="259" formatCode="0.0">
                  <c:v>0.55143783792480838</c:v>
                </c:pt>
                <c:pt idx="260" formatCode="0.0">
                  <c:v>0.54950986087227582</c:v>
                </c:pt>
                <c:pt idx="261" formatCode="0.0">
                  <c:v>0.54634940066159821</c:v>
                </c:pt>
                <c:pt idx="262" formatCode="0.0">
                  <c:v>0.54781355073519222</c:v>
                </c:pt>
                <c:pt idx="263" formatCode="0.0">
                  <c:v>0.53923658571778799</c:v>
                </c:pt>
                <c:pt idx="264" formatCode="0.0">
                  <c:v>0.53739692846045561</c:v>
                </c:pt>
                <c:pt idx="265" formatCode="0.0">
                  <c:v>0.53134939241414492</c:v>
                </c:pt>
                <c:pt idx="266" formatCode="0.0">
                  <c:v>0.54571815372978982</c:v>
                </c:pt>
                <c:pt idx="267" formatCode="0.0">
                  <c:v>0.54712440929114758</c:v>
                </c:pt>
                <c:pt idx="268" formatCode="0.0">
                  <c:v>0.54423475782118069</c:v>
                </c:pt>
                <c:pt idx="269" formatCode="0.0">
                  <c:v>0.54245701755215792</c:v>
                </c:pt>
                <c:pt idx="270" formatCode="0.0">
                  <c:v>0.54823509678532245</c:v>
                </c:pt>
                <c:pt idx="271" formatCode="0.0">
                  <c:v>0.53931202060935624</c:v>
                </c:pt>
                <c:pt idx="272" formatCode="0.0">
                  <c:v>0.53920152273965083</c:v>
                </c:pt>
                <c:pt idx="273" formatCode="0.0">
                  <c:v>0.54814520392805488</c:v>
                </c:pt>
                <c:pt idx="274" formatCode="0.0">
                  <c:v>0.5469296620817351</c:v>
                </c:pt>
                <c:pt idx="275" formatCode="0.0">
                  <c:v>0.54560176671403737</c:v>
                </c:pt>
                <c:pt idx="276" formatCode="0.0">
                  <c:v>0.53941244287048307</c:v>
                </c:pt>
                <c:pt idx="277" formatCode="0.0">
                  <c:v>0.53670717743288032</c:v>
                </c:pt>
                <c:pt idx="278" formatCode="0.0">
                  <c:v>0.53464022748664619</c:v>
                </c:pt>
                <c:pt idx="279" formatCode="0.0">
                  <c:v>0.54168625528488279</c:v>
                </c:pt>
                <c:pt idx="280" formatCode="0.0">
                  <c:v>0.54399470978474684</c:v>
                </c:pt>
                <c:pt idx="281" formatCode="0.0">
                  <c:v>0.5489101701440251</c:v>
                </c:pt>
                <c:pt idx="282" formatCode="0.0">
                  <c:v>0.54165121481915124</c:v>
                </c:pt>
                <c:pt idx="283" formatCode="0.0">
                  <c:v>0.5436535322363355</c:v>
                </c:pt>
                <c:pt idx="284" formatCode="0.0">
                  <c:v>0.54557672471315821</c:v>
                </c:pt>
                <c:pt idx="285" formatCode="0.0">
                  <c:v>0.54056241187494714</c:v>
                </c:pt>
                <c:pt idx="286" formatCode="0.0">
                  <c:v>0.53673212757420785</c:v>
                </c:pt>
                <c:pt idx="287" formatCode="0.0">
                  <c:v>0.53619272835115483</c:v>
                </c:pt>
                <c:pt idx="288" formatCode="0.0">
                  <c:v>0.53616586196117133</c:v>
                </c:pt>
                <c:pt idx="289" formatCode="0.0">
                  <c:v>0.53405987302931779</c:v>
                </c:pt>
                <c:pt idx="290" formatCode="0.0">
                  <c:v>0.53399247070471378</c:v>
                </c:pt>
                <c:pt idx="291" formatCode="0.0">
                  <c:v>0.53882656409996832</c:v>
                </c:pt>
                <c:pt idx="292" formatCode="0.0">
                  <c:v>0.53604124992544921</c:v>
                </c:pt>
                <c:pt idx="293" formatCode="0.0">
                  <c:v>0.53683705498896273</c:v>
                </c:pt>
                <c:pt idx="294" formatCode="0.0">
                  <c:v>0.53659079209372784</c:v>
                </c:pt>
                <c:pt idx="295" formatCode="0.0">
                  <c:v>0.53836513436420474</c:v>
                </c:pt>
                <c:pt idx="296" formatCode="0.0">
                  <c:v>0.53186276000303634</c:v>
                </c:pt>
                <c:pt idx="297" formatCode="0.0">
                  <c:v>0.53230384033321598</c:v>
                </c:pt>
                <c:pt idx="298" formatCode="0.0">
                  <c:v>0.53618526812847545</c:v>
                </c:pt>
                <c:pt idx="299" formatCode="0.0">
                  <c:v>0.52683711738694405</c:v>
                </c:pt>
                <c:pt idx="300" formatCode="0.0">
                  <c:v>0.52829997146344065</c:v>
                </c:pt>
                <c:pt idx="301" formatCode="0.0">
                  <c:v>0.53475215604628257</c:v>
                </c:pt>
                <c:pt idx="302" formatCode="0.0">
                  <c:v>0.53734934935705025</c:v>
                </c:pt>
                <c:pt idx="303" formatCode="0.0">
                  <c:v>0.53005094191603397</c:v>
                </c:pt>
                <c:pt idx="304" formatCode="0.0">
                  <c:v>0.53030047569507499</c:v>
                </c:pt>
                <c:pt idx="305" formatCode="0.0">
                  <c:v>0.52686902722699336</c:v>
                </c:pt>
                <c:pt idx="306" formatCode="0.0">
                  <c:v>0.53597630481088609</c:v>
                </c:pt>
                <c:pt idx="307" formatCode="0.0">
                  <c:v>0.53110629070269544</c:v>
                </c:pt>
                <c:pt idx="308" formatCode="0.0">
                  <c:v>0.53420628203309817</c:v>
                </c:pt>
                <c:pt idx="309" formatCode="0.0">
                  <c:v>0.53008244530287452</c:v>
                </c:pt>
                <c:pt idx="310" formatCode="0.0">
                  <c:v>0.52555553584275239</c:v>
                </c:pt>
                <c:pt idx="311" formatCode="0.0">
                  <c:v>0.52807394924382944</c:v>
                </c:pt>
                <c:pt idx="312" formatCode="0.0">
                  <c:v>0.52770349568260588</c:v>
                </c:pt>
                <c:pt idx="313" formatCode="0.0">
                  <c:v>0.53815768393022623</c:v>
                </c:pt>
                <c:pt idx="314" formatCode="0.0">
                  <c:v>0.53771305582363582</c:v>
                </c:pt>
                <c:pt idx="315" formatCode="0.0">
                  <c:v>0.5352827057847932</c:v>
                </c:pt>
                <c:pt idx="316" formatCode="0.0">
                  <c:v>0.54085535168886423</c:v>
                </c:pt>
                <c:pt idx="317" formatCode="0.0">
                  <c:v>0.53784435316554502</c:v>
                </c:pt>
                <c:pt idx="318" formatCode="0.0">
                  <c:v>0.54022325259925641</c:v>
                </c:pt>
                <c:pt idx="319" formatCode="0.0">
                  <c:v>0.58925459319447782</c:v>
                </c:pt>
                <c:pt idx="320" formatCode="0.0">
                  <c:v>0.58682658300886748</c:v>
                </c:pt>
                <c:pt idx="321" formatCode="0.0">
                  <c:v>0.54910736588177333</c:v>
                </c:pt>
                <c:pt idx="322" formatCode="0.0">
                  <c:v>0.5528313547502326</c:v>
                </c:pt>
                <c:pt idx="323" formatCode="0.0">
                  <c:v>0.54343122883976569</c:v>
                </c:pt>
                <c:pt idx="324" formatCode="0.0">
                  <c:v>0.54077384380855398</c:v>
                </c:pt>
                <c:pt idx="325" formatCode="0.0">
                  <c:v>0.53298550693204239</c:v>
                </c:pt>
                <c:pt idx="326" formatCode="0.0">
                  <c:v>0.53418257761844701</c:v>
                </c:pt>
                <c:pt idx="327" formatCode="0.0">
                  <c:v>0.53938891723990434</c:v>
                </c:pt>
                <c:pt idx="328" formatCode="0.0">
                  <c:v>0.53730871681327819</c:v>
                </c:pt>
                <c:pt idx="329" formatCode="0.0">
                  <c:v>0.53816066229624349</c:v>
                </c:pt>
                <c:pt idx="330" formatCode="0.0">
                  <c:v>0.53912747677487571</c:v>
                </c:pt>
                <c:pt idx="331" formatCode="0.0">
                  <c:v>0.53793431928422886</c:v>
                </c:pt>
                <c:pt idx="332" formatCode="0.0">
                  <c:v>0.52786239611211694</c:v>
                </c:pt>
                <c:pt idx="333" formatCode="0.0">
                  <c:v>0.52641911365471017</c:v>
                </c:pt>
                <c:pt idx="334" formatCode="0.0">
                  <c:v>0.52726466208318468</c:v>
                </c:pt>
                <c:pt idx="335" formatCode="0.0">
                  <c:v>0.53337412902822212</c:v>
                </c:pt>
                <c:pt idx="336" formatCode="0.0">
                  <c:v>0.53415727142514957</c:v>
                </c:pt>
                <c:pt idx="337" formatCode="0.0">
                  <c:v>0.53846261762135605</c:v>
                </c:pt>
                <c:pt idx="338" formatCode="0.0">
                  <c:v>0.5447290492903919</c:v>
                </c:pt>
                <c:pt idx="339" formatCode="0.0">
                  <c:v>0.53573610590903664</c:v>
                </c:pt>
                <c:pt idx="340" formatCode="0.0">
                  <c:v>0.52961928857487561</c:v>
                </c:pt>
                <c:pt idx="341" formatCode="0.0">
                  <c:v>0.52487855250674631</c:v>
                </c:pt>
                <c:pt idx="342" formatCode="0.0">
                  <c:v>0.5255415620897308</c:v>
                </c:pt>
                <c:pt idx="343" formatCode="0.0">
                  <c:v>0.5209815618843513</c:v>
                </c:pt>
                <c:pt idx="344" formatCode="0.0">
                  <c:v>0.52330062632066188</c:v>
                </c:pt>
                <c:pt idx="345" formatCode="0.0">
                  <c:v>0.52500470159384038</c:v>
                </c:pt>
                <c:pt idx="346" formatCode="0.0">
                  <c:v>0.52901921401741403</c:v>
                </c:pt>
                <c:pt idx="347" formatCode="0.0">
                  <c:v>0.51889270371018503</c:v>
                </c:pt>
                <c:pt idx="348" formatCode="0.0">
                  <c:v>0.51928256243776161</c:v>
                </c:pt>
                <c:pt idx="349" formatCode="0.0">
                  <c:v>0.51950421659752333</c:v>
                </c:pt>
                <c:pt idx="350" formatCode="0.0">
                  <c:v>0.52201705754065852</c:v>
                </c:pt>
                <c:pt idx="351" formatCode="0.0">
                  <c:v>0.52446189621873451</c:v>
                </c:pt>
                <c:pt idx="352" formatCode="0.0">
                  <c:v>0.53988403351017467</c:v>
                </c:pt>
                <c:pt idx="353" formatCode="0.0">
                  <c:v>0.52631446478942445</c:v>
                </c:pt>
                <c:pt idx="354" formatCode="0.0">
                  <c:v>0.52334318545518899</c:v>
                </c:pt>
                <c:pt idx="355" formatCode="0.0">
                  <c:v>0.51857894854487785</c:v>
                </c:pt>
                <c:pt idx="356" formatCode="0.0">
                  <c:v>0.51868155047966447</c:v>
                </c:pt>
                <c:pt idx="357" formatCode="0.0">
                  <c:v>0.52290713299340152</c:v>
                </c:pt>
                <c:pt idx="358" formatCode="0.0">
                  <c:v>0.5254879236793123</c:v>
                </c:pt>
                <c:pt idx="359" formatCode="0.0">
                  <c:v>0.52777611812191005</c:v>
                </c:pt>
                <c:pt idx="360" formatCode="0.0">
                  <c:v>0.52204825314184267</c:v>
                </c:pt>
                <c:pt idx="361" formatCode="0.0">
                  <c:v>0.51758971990813119</c:v>
                </c:pt>
                <c:pt idx="362" formatCode="0.0">
                  <c:v>0.51242668337841701</c:v>
                </c:pt>
                <c:pt idx="363" formatCode="0.0">
                  <c:v>0.51517019522952534</c:v>
                </c:pt>
                <c:pt idx="364">
                  <c:v>0.52680667590919206</c:v>
                </c:pt>
                <c:pt idx="365">
                  <c:v>0.52796702933241502</c:v>
                </c:pt>
                <c:pt idx="366">
                  <c:v>0.52512096159104893</c:v>
                </c:pt>
                <c:pt idx="367">
                  <c:v>0.52373397521241993</c:v>
                </c:pt>
                <c:pt idx="368">
                  <c:v>0.53392661698335331</c:v>
                </c:pt>
                <c:pt idx="369">
                  <c:v>0.53226042370250326</c:v>
                </c:pt>
                <c:pt idx="370">
                  <c:v>0.60673320353600968</c:v>
                </c:pt>
                <c:pt idx="371">
                  <c:v>0.69264252877090626</c:v>
                </c:pt>
                <c:pt idx="372">
                  <c:v>0.57107889711199999</c:v>
                </c:pt>
                <c:pt idx="373">
                  <c:v>0.5317657315203197</c:v>
                </c:pt>
                <c:pt idx="374">
                  <c:v>0.5258668564736515</c:v>
                </c:pt>
                <c:pt idx="375">
                  <c:v>0.52810362515580367</c:v>
                </c:pt>
                <c:pt idx="376">
                  <c:v>0.51968145802208343</c:v>
                </c:pt>
                <c:pt idx="377">
                  <c:v>0.51889171921490118</c:v>
                </c:pt>
                <c:pt idx="378">
                  <c:v>0.51714328520487884</c:v>
                </c:pt>
                <c:pt idx="379">
                  <c:v>0.52162607018349938</c:v>
                </c:pt>
                <c:pt idx="380">
                  <c:v>0.5235409585479821</c:v>
                </c:pt>
                <c:pt idx="381">
                  <c:v>0.52383970507097155</c:v>
                </c:pt>
                <c:pt idx="382">
                  <c:v>0.52096192630920868</c:v>
                </c:pt>
                <c:pt idx="383">
                  <c:v>0.52429400164552797</c:v>
                </c:pt>
                <c:pt idx="384">
                  <c:v>0.52499812028333248</c:v>
                </c:pt>
                <c:pt idx="385">
                  <c:v>0.52332926884337627</c:v>
                </c:pt>
                <c:pt idx="386">
                  <c:v>0.52431035541889348</c:v>
                </c:pt>
                <c:pt idx="387">
                  <c:v>0.52821402704803722</c:v>
                </c:pt>
                <c:pt idx="388">
                  <c:v>0.52563328142429688</c:v>
                </c:pt>
                <c:pt idx="389">
                  <c:v>0.52840099294312237</c:v>
                </c:pt>
                <c:pt idx="390">
                  <c:v>0.52063979752580936</c:v>
                </c:pt>
                <c:pt idx="391">
                  <c:v>0.52818973480760434</c:v>
                </c:pt>
                <c:pt idx="392">
                  <c:v>0.52381355052020084</c:v>
                </c:pt>
                <c:pt idx="393">
                  <c:v>0.5229666071809933</c:v>
                </c:pt>
                <c:pt idx="394">
                  <c:v>0.52267036636913478</c:v>
                </c:pt>
                <c:pt idx="395">
                  <c:v>0.53543557886267112</c:v>
                </c:pt>
                <c:pt idx="396">
                  <c:v>0.52883858897359237</c:v>
                </c:pt>
                <c:pt idx="397">
                  <c:v>0.52859133592501628</c:v>
                </c:pt>
                <c:pt idx="398">
                  <c:v>0.52726649000958359</c:v>
                </c:pt>
                <c:pt idx="399">
                  <c:v>0.52541422655074166</c:v>
                </c:pt>
                <c:pt idx="400">
                  <c:v>0.52046365869717459</c:v>
                </c:pt>
                <c:pt idx="401">
                  <c:v>0.51868352818648022</c:v>
                </c:pt>
                <c:pt idx="402">
                  <c:v>0.51695574734020655</c:v>
                </c:pt>
                <c:pt idx="403">
                  <c:v>0.52184495378153695</c:v>
                </c:pt>
                <c:pt idx="404">
                  <c:v>0.52177006462699183</c:v>
                </c:pt>
                <c:pt idx="405">
                  <c:v>0.51699418921050289</c:v>
                </c:pt>
                <c:pt idx="406">
                  <c:v>0.51950588978441159</c:v>
                </c:pt>
                <c:pt idx="407">
                  <c:v>0.52172221296717503</c:v>
                </c:pt>
                <c:pt idx="408">
                  <c:v>0.52239358236345557</c:v>
                </c:pt>
                <c:pt idx="409">
                  <c:v>0.51970739222493223</c:v>
                </c:pt>
                <c:pt idx="410">
                  <c:v>0.52313983663148655</c:v>
                </c:pt>
                <c:pt idx="411">
                  <c:v>0.52661096154399401</c:v>
                </c:pt>
                <c:pt idx="412">
                  <c:v>0.5340246409279652</c:v>
                </c:pt>
                <c:pt idx="413">
                  <c:v>0.53431686957420721</c:v>
                </c:pt>
                <c:pt idx="414">
                  <c:v>0.55060174788406036</c:v>
                </c:pt>
                <c:pt idx="415">
                  <c:v>0.54846054222423646</c:v>
                </c:pt>
                <c:pt idx="416">
                  <c:v>0.54705781543584209</c:v>
                </c:pt>
                <c:pt idx="417">
                  <c:v>0.54388105485991722</c:v>
                </c:pt>
                <c:pt idx="418">
                  <c:v>0.53008979402036871</c:v>
                </c:pt>
                <c:pt idx="419">
                  <c:v>0.53373494556028256</c:v>
                </c:pt>
                <c:pt idx="420">
                  <c:v>0.53036556821146308</c:v>
                </c:pt>
                <c:pt idx="421">
                  <c:v>0.52782427722546243</c:v>
                </c:pt>
                <c:pt idx="422">
                  <c:v>0.5256147581351297</c:v>
                </c:pt>
                <c:pt idx="423">
                  <c:v>0.52445985943499529</c:v>
                </c:pt>
                <c:pt idx="424">
                  <c:v>0.52624031820745198</c:v>
                </c:pt>
                <c:pt idx="425">
                  <c:v>0.52996855905258022</c:v>
                </c:pt>
                <c:pt idx="426">
                  <c:v>0.5346039194673794</c:v>
                </c:pt>
                <c:pt idx="427">
                  <c:v>0.53589100085355246</c:v>
                </c:pt>
                <c:pt idx="428">
                  <c:v>0.52438025092800566</c:v>
                </c:pt>
                <c:pt idx="429">
                  <c:v>0.52133481123431691</c:v>
                </c:pt>
                <c:pt idx="430">
                  <c:v>0.52728563407032569</c:v>
                </c:pt>
                <c:pt idx="431">
                  <c:v>0.51579757489537936</c:v>
                </c:pt>
                <c:pt idx="432">
                  <c:v>0.51791073579783276</c:v>
                </c:pt>
                <c:pt idx="433">
                  <c:v>0.51812407371818503</c:v>
                </c:pt>
                <c:pt idx="434">
                  <c:v>0.52717050775502161</c:v>
                </c:pt>
                <c:pt idx="435">
                  <c:v>0.53226964482002581</c:v>
                </c:pt>
                <c:pt idx="436">
                  <c:v>0.53146446503177425</c:v>
                </c:pt>
                <c:pt idx="437">
                  <c:v>0.53547582428548557</c:v>
                </c:pt>
                <c:pt idx="438" formatCode="0.0">
                  <c:v>0.52420571947153405</c:v>
                </c:pt>
                <c:pt idx="439">
                  <c:v>0.52532722809378785</c:v>
                </c:pt>
                <c:pt idx="440">
                  <c:v>0.52403480871462571</c:v>
                </c:pt>
                <c:pt idx="441">
                  <c:v>0.52792926969043785</c:v>
                </c:pt>
                <c:pt idx="442">
                  <c:v>0.52290090612752416</c:v>
                </c:pt>
                <c:pt idx="443">
                  <c:v>0.51958605729797269</c:v>
                </c:pt>
                <c:pt idx="444">
                  <c:v>0.52524215312002553</c:v>
                </c:pt>
                <c:pt idx="445">
                  <c:v>0.52458710761307947</c:v>
                </c:pt>
                <c:pt idx="446">
                  <c:v>0.53350251599806475</c:v>
                </c:pt>
                <c:pt idx="447">
                  <c:v>0.54018976899644566</c:v>
                </c:pt>
                <c:pt idx="448">
                  <c:v>0.54762280670339014</c:v>
                </c:pt>
                <c:pt idx="449">
                  <c:v>0.54367349135663134</c:v>
                </c:pt>
                <c:pt idx="450">
                  <c:v>0.53896413539849863</c:v>
                </c:pt>
                <c:pt idx="451">
                  <c:v>0.54261460821451868</c:v>
                </c:pt>
                <c:pt idx="452">
                  <c:v>0.54396458171760198</c:v>
                </c:pt>
                <c:pt idx="453">
                  <c:v>0.61634324674990948</c:v>
                </c:pt>
                <c:pt idx="454">
                  <c:v>0</c:v>
                </c:pt>
                <c:pt idx="455">
                  <c:v>0.63444695603496237</c:v>
                </c:pt>
                <c:pt idx="456">
                  <c:v>0.54543201434189792</c:v>
                </c:pt>
                <c:pt idx="457">
                  <c:v>0.55276300077289364</c:v>
                </c:pt>
                <c:pt idx="458" formatCode="0.0">
                  <c:v>0.54670268699147129</c:v>
                </c:pt>
                <c:pt idx="459" formatCode="0.0">
                  <c:v>0.54545779906993164</c:v>
                </c:pt>
                <c:pt idx="460" formatCode="0.0">
                  <c:v>0.53853001620993346</c:v>
                </c:pt>
                <c:pt idx="461" formatCode="0.0">
                  <c:v>0.54077205349984947</c:v>
                </c:pt>
                <c:pt idx="462" formatCode="0.0">
                  <c:v>0.53446455297616102</c:v>
                </c:pt>
                <c:pt idx="463" formatCode="0.0">
                  <c:v>0.53334344232449349</c:v>
                </c:pt>
                <c:pt idx="464" formatCode="0.0">
                  <c:v>0.53759008261466457</c:v>
                </c:pt>
                <c:pt idx="465" formatCode="0.0">
                  <c:v>0.54352124251637213</c:v>
                </c:pt>
                <c:pt idx="466" formatCode="0.0">
                  <c:v>0.54468245621330946</c:v>
                </c:pt>
                <c:pt idx="467" formatCode="0.0">
                  <c:v>0.5523543342897802</c:v>
                </c:pt>
                <c:pt idx="468" formatCode="0.0">
                  <c:v>0.55043394457912187</c:v>
                </c:pt>
                <c:pt idx="469" formatCode="0.0">
                  <c:v>0.56138877661061581</c:v>
                </c:pt>
                <c:pt idx="470" formatCode="0.0">
                  <c:v>0.54825095937314261</c:v>
                </c:pt>
                <c:pt idx="471" formatCode="0.0">
                  <c:v>0.552760731977745</c:v>
                </c:pt>
                <c:pt idx="472" formatCode="0.0">
                  <c:v>0.54384389005712552</c:v>
                </c:pt>
                <c:pt idx="473" formatCode="0.0">
                  <c:v>0.54649942963723663</c:v>
                </c:pt>
                <c:pt idx="474" formatCode="0.0">
                  <c:v>0.52984389478247707</c:v>
                </c:pt>
                <c:pt idx="475" formatCode="0.0">
                  <c:v>0.52145794284334557</c:v>
                </c:pt>
                <c:pt idx="476" formatCode="0.0">
                  <c:v>0.51767368343824294</c:v>
                </c:pt>
                <c:pt idx="477" formatCode="0.0">
                  <c:v>0.52333917689925946</c:v>
                </c:pt>
                <c:pt idx="478" formatCode="0.0">
                  <c:v>0.51921175993864466</c:v>
                </c:pt>
                <c:pt idx="479" formatCode="0.0">
                  <c:v>0.52597652722709587</c:v>
                </c:pt>
                <c:pt idx="480" formatCode="0.0">
                  <c:v>0.52850619082588512</c:v>
                </c:pt>
                <c:pt idx="481" formatCode="0.0">
                  <c:v>0.52929028390902522</c:v>
                </c:pt>
                <c:pt idx="482" formatCode="0.0">
                  <c:v>0.52389657143250246</c:v>
                </c:pt>
                <c:pt idx="483" formatCode="0.0">
                  <c:v>0.53027465360451242</c:v>
                </c:pt>
                <c:pt idx="484" formatCode="0.0">
                  <c:v>0.53325746986480838</c:v>
                </c:pt>
                <c:pt idx="485" formatCode="0.0">
                  <c:v>0.53449555125028059</c:v>
                </c:pt>
                <c:pt idx="486" formatCode="0.0">
                  <c:v>0.53414150926212445</c:v>
                </c:pt>
                <c:pt idx="487" formatCode="0.0">
                  <c:v>0.51842964501714395</c:v>
                </c:pt>
                <c:pt idx="488" formatCode="0.0">
                  <c:v>0.51662018232065543</c:v>
                </c:pt>
                <c:pt idx="489" formatCode="0.0">
                  <c:v>0.53115183485558648</c:v>
                </c:pt>
                <c:pt idx="490" formatCode="0.0">
                  <c:v>0.52984345940469035</c:v>
                </c:pt>
                <c:pt idx="491" formatCode="0.0">
                  <c:v>0.52107061670002885</c:v>
                </c:pt>
                <c:pt idx="492" formatCode="0.0">
                  <c:v>0.52081347254107868</c:v>
                </c:pt>
                <c:pt idx="493" formatCode="0.0">
                  <c:v>0.51991981517473751</c:v>
                </c:pt>
                <c:pt idx="494" formatCode="0.0">
                  <c:v>0.52998155652000689</c:v>
                </c:pt>
                <c:pt idx="495" formatCode="0.0">
                  <c:v>0.53876493177239815</c:v>
                </c:pt>
                <c:pt idx="496" formatCode="0.0">
                  <c:v>0.53443506767423099</c:v>
                </c:pt>
                <c:pt idx="497" formatCode="0.0">
                  <c:v>0.5304891082276415</c:v>
                </c:pt>
                <c:pt idx="498" formatCode="0.0">
                  <c:v>0.52152887994755504</c:v>
                </c:pt>
                <c:pt idx="499" formatCode="0.0">
                  <c:v>0.51387876047321723</c:v>
                </c:pt>
                <c:pt idx="500" formatCode="0.0">
                  <c:v>0.51319018548364803</c:v>
                </c:pt>
                <c:pt idx="501" formatCode="0.0">
                  <c:v>0.51836231873044614</c:v>
                </c:pt>
                <c:pt idx="502" formatCode="0.0">
                  <c:v>0.51603692555574121</c:v>
                </c:pt>
                <c:pt idx="503" formatCode="0.0">
                  <c:v>0.51935917777210905</c:v>
                </c:pt>
                <c:pt idx="504" formatCode="0.0">
                  <c:v>0.52967954932810768</c:v>
                </c:pt>
                <c:pt idx="505" formatCode="0.0">
                  <c:v>0.53456232283698724</c:v>
                </c:pt>
                <c:pt idx="506" formatCode="0.0">
                  <c:v>0.53173511211385815</c:v>
                </c:pt>
                <c:pt idx="507" formatCode="0.0">
                  <c:v>0.52928788082892875</c:v>
                </c:pt>
                <c:pt idx="508" formatCode="0.0">
                  <c:v>0.52865936225678689</c:v>
                </c:pt>
                <c:pt idx="509" formatCode="0.0">
                  <c:v>0.52374525435130259</c:v>
                </c:pt>
                <c:pt idx="510" formatCode="0.0">
                  <c:v>0.52527686229086101</c:v>
                </c:pt>
                <c:pt idx="511" formatCode="0.0">
                  <c:v>0.51794117738121115</c:v>
                </c:pt>
                <c:pt idx="512" formatCode="0.0">
                  <c:v>0.52127583634917596</c:v>
                </c:pt>
                <c:pt idx="513" formatCode="0.0">
                  <c:v>0.51244738106990717</c:v>
                </c:pt>
                <c:pt idx="514" formatCode="0.0">
                  <c:v>0.51836209711517622</c:v>
                </c:pt>
                <c:pt idx="515" formatCode="0.0">
                  <c:v>0.52344603097135523</c:v>
                </c:pt>
                <c:pt idx="516" formatCode="0.0">
                  <c:v>0.51709108311340479</c:v>
                </c:pt>
                <c:pt idx="517" formatCode="0.0">
                  <c:v>0.52020165677519459</c:v>
                </c:pt>
                <c:pt idx="518" formatCode="0.0">
                  <c:v>0.51326004733986297</c:v>
                </c:pt>
                <c:pt idx="519" formatCode="0.0">
                  <c:v>0.52874801853558773</c:v>
                </c:pt>
                <c:pt idx="520" formatCode="0.0">
                  <c:v>0.51861490302690405</c:v>
                </c:pt>
                <c:pt idx="521" formatCode="0.0">
                  <c:v>0.52513167422249796</c:v>
                </c:pt>
                <c:pt idx="522" formatCode="0.0">
                  <c:v>0.53000943694644842</c:v>
                </c:pt>
                <c:pt idx="523" formatCode="0.0">
                  <c:v>0.53022018198748222</c:v>
                </c:pt>
                <c:pt idx="524" formatCode="0.0">
                  <c:v>0.52418361930802282</c:v>
                </c:pt>
                <c:pt idx="525" formatCode="0.0">
                  <c:v>0.52945000841553436</c:v>
                </c:pt>
                <c:pt idx="526" formatCode="0.0">
                  <c:v>0.52316682190233732</c:v>
                </c:pt>
                <c:pt idx="527" formatCode="0.0">
                  <c:v>0.52694197776753238</c:v>
                </c:pt>
                <c:pt idx="528" formatCode="0.0">
                  <c:v>0.53379941345396842</c:v>
                </c:pt>
                <c:pt idx="529" formatCode="0.0">
                  <c:v>0.5339803823086049</c:v>
                </c:pt>
                <c:pt idx="530" formatCode="0.0">
                  <c:v>0.53096889095869548</c:v>
                </c:pt>
                <c:pt idx="531" formatCode="0.0">
                  <c:v>0.53541152985448603</c:v>
                </c:pt>
                <c:pt idx="532" formatCode="0.0">
                  <c:v>0.52601074135614545</c:v>
                </c:pt>
                <c:pt idx="533" formatCode="0.0">
                  <c:v>0.51893188761453879</c:v>
                </c:pt>
                <c:pt idx="534" formatCode="0.0">
                  <c:v>0.51006690258522247</c:v>
                </c:pt>
                <c:pt idx="535" formatCode="0.0">
                  <c:v>0.51184529204528939</c:v>
                </c:pt>
                <c:pt idx="536" formatCode="0.0">
                  <c:v>0.51165821610428952</c:v>
                </c:pt>
                <c:pt idx="537" formatCode="0.0">
                  <c:v>0.51442293345377266</c:v>
                </c:pt>
                <c:pt idx="538" formatCode="0.0">
                  <c:v>0.51633801727010475</c:v>
                </c:pt>
                <c:pt idx="539" formatCode="0.0">
                  <c:v>0.51922675051706357</c:v>
                </c:pt>
                <c:pt idx="540" formatCode="0.0">
                  <c:v>0.52079810423456074</c:v>
                </c:pt>
                <c:pt idx="541" formatCode="0.0">
                  <c:v>0.51208706004656235</c:v>
                </c:pt>
                <c:pt idx="542" formatCode="0.0">
                  <c:v>0.50443454356149287</c:v>
                </c:pt>
                <c:pt idx="543" formatCode="0.0">
                  <c:v>0.51113507750665454</c:v>
                </c:pt>
                <c:pt idx="544" formatCode="0.0">
                  <c:v>0.5130584183998087</c:v>
                </c:pt>
                <c:pt idx="545" formatCode="0.0">
                  <c:v>0.5153087184304288</c:v>
                </c:pt>
                <c:pt idx="546" formatCode="0.0">
                  <c:v>0.51811571468763828</c:v>
                </c:pt>
                <c:pt idx="547" formatCode="0.0">
                  <c:v>0.52295197053792375</c:v>
                </c:pt>
                <c:pt idx="548" formatCode="0.0">
                  <c:v>0.52581273042414689</c:v>
                </c:pt>
                <c:pt idx="549" formatCode="0.0">
                  <c:v>0.52397796405578345</c:v>
                </c:pt>
                <c:pt idx="550" formatCode="0.0">
                  <c:v>0.52095675868778712</c:v>
                </c:pt>
                <c:pt idx="551" formatCode="0.0">
                  <c:v>0.52824602829185341</c:v>
                </c:pt>
                <c:pt idx="552" formatCode="0.0">
                  <c:v>0.53069909724579822</c:v>
                </c:pt>
                <c:pt idx="553" formatCode="0.0">
                  <c:v>0.52907929242024365</c:v>
                </c:pt>
                <c:pt idx="554" formatCode="0.0">
                  <c:v>0.52362831282263844</c:v>
                </c:pt>
                <c:pt idx="555" formatCode="0.0">
                  <c:v>0.52238098420662116</c:v>
                </c:pt>
                <c:pt idx="556" formatCode="0.0">
                  <c:v>0.52325305484933227</c:v>
                </c:pt>
                <c:pt idx="557" formatCode="0.0">
                  <c:v>0.52621430875871189</c:v>
                </c:pt>
                <c:pt idx="558" formatCode="0.0">
                  <c:v>0.52093323153518556</c:v>
                </c:pt>
                <c:pt idx="559" formatCode="0.0">
                  <c:v>0.51898570128395494</c:v>
                </c:pt>
                <c:pt idx="560" formatCode="0.0">
                  <c:v>0.51420915530156042</c:v>
                </c:pt>
                <c:pt idx="561" formatCode="0.0">
                  <c:v>0.51105381666297178</c:v>
                </c:pt>
                <c:pt idx="562" formatCode="0.0">
                  <c:v>0.52086836222200161</c:v>
                </c:pt>
                <c:pt idx="563" formatCode="0.0">
                  <c:v>0.52316604753336726</c:v>
                </c:pt>
                <c:pt idx="564" formatCode="0.0">
                  <c:v>0.52199362791350667</c:v>
                </c:pt>
                <c:pt idx="565" formatCode="0.0">
                  <c:v>0.5131313131313131</c:v>
                </c:pt>
                <c:pt idx="566" formatCode="0.0">
                  <c:v>0.51928335406307491</c:v>
                </c:pt>
                <c:pt idx="567" formatCode="0.0">
                  <c:v>0.5299111361181511</c:v>
                </c:pt>
                <c:pt idx="568" formatCode="0.0">
                  <c:v>0.51238057321304264</c:v>
                </c:pt>
                <c:pt idx="569" formatCode="0.0">
                  <c:v>0.52115982506490732</c:v>
                </c:pt>
                <c:pt idx="570" formatCode="0.0">
                  <c:v>0.51578321214235001</c:v>
                </c:pt>
                <c:pt idx="571" formatCode="0.0">
                  <c:v>0.51676918186728704</c:v>
                </c:pt>
                <c:pt idx="572" formatCode="0.0">
                  <c:v>0.51629514814368804</c:v>
                </c:pt>
                <c:pt idx="573" formatCode="0.0">
                  <c:v>0.51304171109086594</c:v>
                </c:pt>
                <c:pt idx="574" formatCode="0.0">
                  <c:v>0.51731293389956756</c:v>
                </c:pt>
                <c:pt idx="575" formatCode="0.0">
                  <c:v>0.52448025215947958</c:v>
                </c:pt>
                <c:pt idx="576" formatCode="0.0">
                  <c:v>0.52650398611008342</c:v>
                </c:pt>
                <c:pt idx="577" formatCode="0.0">
                  <c:v>0.53241730471605075</c:v>
                </c:pt>
                <c:pt idx="578" formatCode="0.0">
                  <c:v>0.5271595820593219</c:v>
                </c:pt>
                <c:pt idx="579" formatCode="0.0">
                  <c:v>0.53082678956090912</c:v>
                </c:pt>
                <c:pt idx="580" formatCode="0.0">
                  <c:v>0.52422226223792701</c:v>
                </c:pt>
                <c:pt idx="581" formatCode="0.0">
                  <c:v>0.53195964239409199</c:v>
                </c:pt>
                <c:pt idx="582" formatCode="0.0">
                  <c:v>0.53462355544792717</c:v>
                </c:pt>
                <c:pt idx="583" formatCode="0.0">
                  <c:v>0.53013706285341733</c:v>
                </c:pt>
                <c:pt idx="584" formatCode="0.0">
                  <c:v>0.5327036033471988</c:v>
                </c:pt>
                <c:pt idx="585" formatCode="0.0">
                  <c:v>0.52602564417668196</c:v>
                </c:pt>
                <c:pt idx="586" formatCode="0.0">
                  <c:v>0.52524315746219485</c:v>
                </c:pt>
                <c:pt idx="587" formatCode="0.0">
                  <c:v>0.52659858351904143</c:v>
                </c:pt>
                <c:pt idx="588" formatCode="0.0">
                  <c:v>0.5313027021603659</c:v>
                </c:pt>
                <c:pt idx="589" formatCode="0.0">
                  <c:v>0.53252924151599201</c:v>
                </c:pt>
                <c:pt idx="590" formatCode="0.0">
                  <c:v>0.53748407422849931</c:v>
                </c:pt>
                <c:pt idx="591" formatCode="0.0">
                  <c:v>0.53222655767244809</c:v>
                </c:pt>
                <c:pt idx="592" formatCode="0.0">
                  <c:v>0.53518973954818561</c:v>
                </c:pt>
                <c:pt idx="593" formatCode="0.0">
                  <c:v>0.53004999669120323</c:v>
                </c:pt>
                <c:pt idx="594" formatCode="0.0">
                  <c:v>0.53522722328165773</c:v>
                </c:pt>
                <c:pt idx="595" formatCode="0.0">
                  <c:v>0.53602350035468871</c:v>
                </c:pt>
                <c:pt idx="596" formatCode="0.0">
                  <c:v>0.52998736074563002</c:v>
                </c:pt>
                <c:pt idx="597" formatCode="0.0">
                  <c:v>0.52840695725408882</c:v>
                </c:pt>
                <c:pt idx="598" formatCode="0.0">
                  <c:v>0.53576161540542744</c:v>
                </c:pt>
                <c:pt idx="599" formatCode="0.0">
                  <c:v>0</c:v>
                </c:pt>
                <c:pt idx="600" formatCode="0.0">
                  <c:v>0.56013081867361247</c:v>
                </c:pt>
                <c:pt idx="601" formatCode="0.0">
                  <c:v>0.58022884003900055</c:v>
                </c:pt>
                <c:pt idx="602" formatCode="0.0">
                  <c:v>0.58676626920606312</c:v>
                </c:pt>
                <c:pt idx="603" formatCode="0.0">
                  <c:v>0.55355773039111145</c:v>
                </c:pt>
                <c:pt idx="604" formatCode="0.0">
                  <c:v>0.5272466966340279</c:v>
                </c:pt>
                <c:pt idx="605" formatCode="0.0">
                  <c:v>0.53068248492777959</c:v>
                </c:pt>
                <c:pt idx="606" formatCode="0.0">
                  <c:v>0.52746886131552428</c:v>
                </c:pt>
                <c:pt idx="607" formatCode="0.0">
                  <c:v>0.52590290310395882</c:v>
                </c:pt>
                <c:pt idx="608" formatCode="0.0">
                  <c:v>0.52672764380678838</c:v>
                </c:pt>
                <c:pt idx="609" formatCode="0.0">
                  <c:v>0.52982888066104883</c:v>
                </c:pt>
                <c:pt idx="610" formatCode="0.0">
                  <c:v>0.52145874266991565</c:v>
                </c:pt>
                <c:pt idx="611" formatCode="0.0">
                  <c:v>0.52905152594121263</c:v>
                </c:pt>
                <c:pt idx="612" formatCode="0.0">
                  <c:v>0.5248003673552275</c:v>
                </c:pt>
                <c:pt idx="613" formatCode="0.0">
                  <c:v>0.51087244972942425</c:v>
                </c:pt>
                <c:pt idx="614" formatCode="0.0">
                  <c:v>0.5289787438442185</c:v>
                </c:pt>
                <c:pt idx="615" formatCode="0.0">
                  <c:v>0.5398390644093537</c:v>
                </c:pt>
                <c:pt idx="616" formatCode="0.0">
                  <c:v>0.53380474134528</c:v>
                </c:pt>
                <c:pt idx="617" formatCode="0.0">
                  <c:v>0.53641798672648666</c:v>
                </c:pt>
                <c:pt idx="618" formatCode="0.0">
                  <c:v>0.54045137066422222</c:v>
                </c:pt>
                <c:pt idx="619" formatCode="0.0">
                  <c:v>0.54268251035977744</c:v>
                </c:pt>
                <c:pt idx="620" formatCode="0.0">
                  <c:v>0.53836171679457834</c:v>
                </c:pt>
                <c:pt idx="621" formatCode="0.0">
                  <c:v>0.53274924500874332</c:v>
                </c:pt>
                <c:pt idx="622" formatCode="0.0">
                  <c:v>0.52854931526642279</c:v>
                </c:pt>
                <c:pt idx="623" formatCode="0.0">
                  <c:v>0.53416777302901997</c:v>
                </c:pt>
                <c:pt idx="624" formatCode="0.0">
                  <c:v>0.53591567495250869</c:v>
                </c:pt>
                <c:pt idx="625" formatCode="0.0">
                  <c:v>0.53232963849532688</c:v>
                </c:pt>
                <c:pt idx="626" formatCode="0.0">
                  <c:v>0.52688592534521639</c:v>
                </c:pt>
                <c:pt idx="627" formatCode="0.0">
                  <c:v>0.52880012071059757</c:v>
                </c:pt>
                <c:pt idx="628" formatCode="0.0">
                  <c:v>0.57178695399413448</c:v>
                </c:pt>
                <c:pt idx="629" formatCode="0.0">
                  <c:v>0.53574923445398559</c:v>
                </c:pt>
                <c:pt idx="630" formatCode="0.0">
                  <c:v>0.52147106513731756</c:v>
                </c:pt>
                <c:pt idx="631" formatCode="0.0">
                  <c:v>0.51744733269499321</c:v>
                </c:pt>
                <c:pt idx="632" formatCode="0.0">
                  <c:v>0.51528675203588004</c:v>
                </c:pt>
                <c:pt idx="633" formatCode="0.0">
                  <c:v>0.5152968149574324</c:v>
                </c:pt>
                <c:pt idx="634" formatCode="0.0">
                  <c:v>0.51395260676390619</c:v>
                </c:pt>
                <c:pt idx="635" formatCode="0.0">
                  <c:v>0.51767416176797576</c:v>
                </c:pt>
                <c:pt idx="636" formatCode="0.0">
                  <c:v>0.51453439304214788</c:v>
                </c:pt>
                <c:pt idx="637" formatCode="0.0">
                  <c:v>0.52162180816647585</c:v>
                </c:pt>
                <c:pt idx="638" formatCode="0.0">
                  <c:v>0.53564772513674197</c:v>
                </c:pt>
                <c:pt idx="639" formatCode="0.0">
                  <c:v>0.53483875993396102</c:v>
                </c:pt>
                <c:pt idx="640" formatCode="0.0">
                  <c:v>0.53362577357958996</c:v>
                </c:pt>
                <c:pt idx="641" formatCode="0.0">
                  <c:v>0.53025616869907688</c:v>
                </c:pt>
                <c:pt idx="642" formatCode="0.0">
                  <c:v>0.53221151567670977</c:v>
                </c:pt>
                <c:pt idx="643" formatCode="0.0">
                  <c:v>0.52477113008595644</c:v>
                </c:pt>
                <c:pt idx="644" formatCode="0.0">
                  <c:v>0.52511799766981737</c:v>
                </c:pt>
                <c:pt idx="645" formatCode="0.0">
                  <c:v>0.52363574936679114</c:v>
                </c:pt>
                <c:pt idx="646" formatCode="0.0">
                  <c:v>0.53226957845925493</c:v>
                </c:pt>
                <c:pt idx="647" formatCode="0.0">
                  <c:v>0.54280563903379275</c:v>
                </c:pt>
                <c:pt idx="648" formatCode="0.0">
                  <c:v>0.53122348634863448</c:v>
                </c:pt>
                <c:pt idx="649" formatCode="0.0">
                  <c:v>0.52850641869007631</c:v>
                </c:pt>
                <c:pt idx="650" formatCode="0.0">
                  <c:v>0.53533616204153467</c:v>
                </c:pt>
                <c:pt idx="651" formatCode="0.0">
                  <c:v>0.53059344597002234</c:v>
                </c:pt>
                <c:pt idx="652" formatCode="0.0">
                  <c:v>0.53458082172487909</c:v>
                </c:pt>
                <c:pt idx="653" formatCode="0.0">
                  <c:v>0.52624325230635116</c:v>
                </c:pt>
                <c:pt idx="654" formatCode="0.0">
                  <c:v>0.52600378468602993</c:v>
                </c:pt>
                <c:pt idx="655" formatCode="0.0">
                  <c:v>0.52337232144213641</c:v>
                </c:pt>
                <c:pt idx="656" formatCode="0.0">
                  <c:v>0.52490285614645193</c:v>
                </c:pt>
                <c:pt idx="657" formatCode="0.0">
                  <c:v>0.52401060007191258</c:v>
                </c:pt>
                <c:pt idx="658" formatCode="0.0">
                  <c:v>0.53226787036777345</c:v>
                </c:pt>
                <c:pt idx="659" formatCode="0.0">
                  <c:v>0.52382121531209813</c:v>
                </c:pt>
                <c:pt idx="660" formatCode="0.0">
                  <c:v>0.521751497427279</c:v>
                </c:pt>
                <c:pt idx="661" formatCode="0.0">
                  <c:v>0.5268239386775917</c:v>
                </c:pt>
                <c:pt idx="662" formatCode="0.0">
                  <c:v>0.51972541645943293</c:v>
                </c:pt>
                <c:pt idx="663" formatCode="0.0">
                  <c:v>0.52399322799628612</c:v>
                </c:pt>
                <c:pt idx="664" formatCode="0.0">
                  <c:v>0.52122905943991316</c:v>
                </c:pt>
                <c:pt idx="665" formatCode="0.0">
                  <c:v>0.51877562873465655</c:v>
                </c:pt>
                <c:pt idx="666" formatCode="0.0">
                  <c:v>0.52077312118203523</c:v>
                </c:pt>
                <c:pt idx="667" formatCode="0.0">
                  <c:v>0.51638056987928793</c:v>
                </c:pt>
                <c:pt idx="668" formatCode="0.0">
                  <c:v>0.50968206644271163</c:v>
                </c:pt>
                <c:pt idx="669" formatCode="0.0">
                  <c:v>0.50939348660199113</c:v>
                </c:pt>
                <c:pt idx="670" formatCode="0.0">
                  <c:v>0.51508746260056582</c:v>
                </c:pt>
                <c:pt idx="671" formatCode="0.0">
                  <c:v>0.52396909389335633</c:v>
                </c:pt>
                <c:pt idx="672" formatCode="0.0">
                  <c:v>0.51894072186532914</c:v>
                </c:pt>
                <c:pt idx="673" formatCode="0.0">
                  <c:v>0.52047198941402895</c:v>
                </c:pt>
                <c:pt idx="674" formatCode="0.0">
                  <c:v>0.52528120349149532</c:v>
                </c:pt>
                <c:pt idx="675" formatCode="0.0">
                  <c:v>0.52353502942265784</c:v>
                </c:pt>
                <c:pt idx="676" formatCode="0.0">
                  <c:v>0.51995411096768607</c:v>
                </c:pt>
                <c:pt idx="677" formatCode="0.0">
                  <c:v>0.51678724292702594</c:v>
                </c:pt>
                <c:pt idx="678" formatCode="0.0">
                  <c:v>0.51487958240425313</c:v>
                </c:pt>
                <c:pt idx="679" formatCode="0.0">
                  <c:v>0.52411695949279224</c:v>
                </c:pt>
                <c:pt idx="680" formatCode="0.0">
                  <c:v>0.53966176534556731</c:v>
                </c:pt>
                <c:pt idx="681" formatCode="0.0">
                  <c:v>0.53294885818930449</c:v>
                </c:pt>
                <c:pt idx="682" formatCode="0.0">
                  <c:v>0.53002485404485311</c:v>
                </c:pt>
                <c:pt idx="683" formatCode="0.0">
                  <c:v>0.5241903299390136</c:v>
                </c:pt>
                <c:pt idx="684" formatCode="0.0">
                  <c:v>0.52641846920075097</c:v>
                </c:pt>
                <c:pt idx="685" formatCode="0.0">
                  <c:v>0.52052806809790797</c:v>
                </c:pt>
                <c:pt idx="686" formatCode="0.0">
                  <c:v>0.52971242714814282</c:v>
                </c:pt>
                <c:pt idx="687" formatCode="0.0">
                  <c:v>0.52669210240100295</c:v>
                </c:pt>
                <c:pt idx="688" formatCode="0.0">
                  <c:v>0.51860177719621448</c:v>
                </c:pt>
                <c:pt idx="689" formatCode="0.0">
                  <c:v>0.51683811837546434</c:v>
                </c:pt>
                <c:pt idx="690" formatCode="0.0">
                  <c:v>0.51590968726835706</c:v>
                </c:pt>
                <c:pt idx="691" formatCode="0.0">
                  <c:v>0.52317929945271591</c:v>
                </c:pt>
                <c:pt idx="692" formatCode="0.0">
                  <c:v>0.52079330173301497</c:v>
                </c:pt>
                <c:pt idx="693" formatCode="0.0">
                  <c:v>0.51915130698675638</c:v>
                </c:pt>
                <c:pt idx="694" formatCode="0.0">
                  <c:v>0.51797349054329689</c:v>
                </c:pt>
                <c:pt idx="695" formatCode="0.0">
                  <c:v>0.51740034068295704</c:v>
                </c:pt>
                <c:pt idx="696" formatCode="0.0">
                  <c:v>0.51757912513152482</c:v>
                </c:pt>
                <c:pt idx="697" formatCode="0.0">
                  <c:v>0.51649247556212508</c:v>
                </c:pt>
                <c:pt idx="698" formatCode="0.0">
                  <c:v>0.51549496891771496</c:v>
                </c:pt>
                <c:pt idx="699" formatCode="0.0">
                  <c:v>0.51350890364813429</c:v>
                </c:pt>
                <c:pt idx="700" formatCode="0.0">
                  <c:v>0.51312006955987111</c:v>
                </c:pt>
                <c:pt idx="701" formatCode="0.0">
                  <c:v>0.51194538731242045</c:v>
                </c:pt>
                <c:pt idx="702" formatCode="0.0">
                  <c:v>0.51305516997699274</c:v>
                </c:pt>
                <c:pt idx="703" formatCode="0.0">
                  <c:v>0.50488719185451647</c:v>
                </c:pt>
                <c:pt idx="704" formatCode="0.0">
                  <c:v>0.50680306765788452</c:v>
                </c:pt>
                <c:pt idx="705" formatCode="0.0">
                  <c:v>0.50591976438689468</c:v>
                </c:pt>
                <c:pt idx="706" formatCode="0.0">
                  <c:v>0.50650631474457886</c:v>
                </c:pt>
                <c:pt idx="707" formatCode="0.0">
                  <c:v>0.51618409833945311</c:v>
                </c:pt>
                <c:pt idx="708" formatCode="0.0">
                  <c:v>0.5160818295079046</c:v>
                </c:pt>
                <c:pt idx="709" formatCode="0.0">
                  <c:v>0.51174251838103413</c:v>
                </c:pt>
                <c:pt idx="710" formatCode="0.0">
                  <c:v>0.50830789261236298</c:v>
                </c:pt>
                <c:pt idx="711" formatCode="0.0">
                  <c:v>0.5054958481416193</c:v>
                </c:pt>
                <c:pt idx="712" formatCode="0.0">
                  <c:v>0.50174669071549338</c:v>
                </c:pt>
                <c:pt idx="713" formatCode="0.0">
                  <c:v>0.50079215955638667</c:v>
                </c:pt>
                <c:pt idx="714" formatCode="0.0">
                  <c:v>0.50203783558566539</c:v>
                </c:pt>
                <c:pt idx="715" formatCode="0.0">
                  <c:v>0.49974004775421121</c:v>
                </c:pt>
                <c:pt idx="716" formatCode="0.0">
                  <c:v>0.50458900770735071</c:v>
                </c:pt>
                <c:pt idx="717" formatCode="0.0">
                  <c:v>0.50584619811589127</c:v>
                </c:pt>
                <c:pt idx="718" formatCode="0.0">
                  <c:v>0.51074578765862488</c:v>
                </c:pt>
                <c:pt idx="719" formatCode="0.0">
                  <c:v>0.51668100087097557</c:v>
                </c:pt>
                <c:pt idx="720" formatCode="0.0">
                  <c:v>0.51270593243573426</c:v>
                </c:pt>
                <c:pt idx="721" formatCode="0.0">
                  <c:v>0.51171988491522402</c:v>
                </c:pt>
                <c:pt idx="722" formatCode="0.0">
                  <c:v>0.50522738788091426</c:v>
                </c:pt>
                <c:pt idx="723" formatCode="0.0">
                  <c:v>0.50585636858690408</c:v>
                </c:pt>
                <c:pt idx="724" formatCode="0.0">
                  <c:v>0.50478362263122878</c:v>
                </c:pt>
                <c:pt idx="725" formatCode="0.0">
                  <c:v>0.50384138150568791</c:v>
                </c:pt>
                <c:pt idx="726" formatCode="General">
                  <c:v>0.50734333878962956</c:v>
                </c:pt>
                <c:pt idx="727" formatCode="General">
                  <c:v>0.50908154264486682</c:v>
                </c:pt>
                <c:pt idx="728" formatCode="General">
                  <c:v>0.50798267664272012</c:v>
                </c:pt>
                <c:pt idx="729" formatCode="General">
                  <c:v>0.51033212523159954</c:v>
                </c:pt>
                <c:pt idx="730">
                  <c:v>0.51342293253068094</c:v>
                </c:pt>
                <c:pt idx="731">
                  <c:v>0.50742934077548896</c:v>
                </c:pt>
                <c:pt idx="732">
                  <c:v>0.51481288592277796</c:v>
                </c:pt>
                <c:pt idx="733">
                  <c:v>0.51207583051663264</c:v>
                </c:pt>
                <c:pt idx="734">
                  <c:v>0.51530519180480505</c:v>
                </c:pt>
                <c:pt idx="735">
                  <c:v>0.5107570377906846</c:v>
                </c:pt>
                <c:pt idx="736">
                  <c:v>0.511132247180623</c:v>
                </c:pt>
                <c:pt idx="737">
                  <c:v>0.50914483477156114</c:v>
                </c:pt>
                <c:pt idx="738">
                  <c:v>0.50613755858833187</c:v>
                </c:pt>
                <c:pt idx="739">
                  <c:v>0.51695435835555426</c:v>
                </c:pt>
                <c:pt idx="740">
                  <c:v>0.52411600509614731</c:v>
                </c:pt>
                <c:pt idx="741">
                  <c:v>0.5254518288750607</c:v>
                </c:pt>
                <c:pt idx="742">
                  <c:v>0.5264973861103629</c:v>
                </c:pt>
                <c:pt idx="743">
                  <c:v>0.52009012893266515</c:v>
                </c:pt>
                <c:pt idx="744">
                  <c:v>0.52031510289428662</c:v>
                </c:pt>
                <c:pt idx="745">
                  <c:v>0.52040077772824178</c:v>
                </c:pt>
                <c:pt idx="746">
                  <c:v>0.51333376398885455</c:v>
                </c:pt>
                <c:pt idx="747">
                  <c:v>0.5096453527904703</c:v>
                </c:pt>
                <c:pt idx="748">
                  <c:v>0.51504158205691719</c:v>
                </c:pt>
                <c:pt idx="749">
                  <c:v>0.52452698439189382</c:v>
                </c:pt>
                <c:pt idx="750">
                  <c:v>0.52274849629429465</c:v>
                </c:pt>
                <c:pt idx="751">
                  <c:v>0.51810043885694712</c:v>
                </c:pt>
                <c:pt idx="752">
                  <c:v>0.51715882569515026</c:v>
                </c:pt>
                <c:pt idx="753">
                  <c:v>0.50551764385904963</c:v>
                </c:pt>
                <c:pt idx="754">
                  <c:v>0.51314586132489659</c:v>
                </c:pt>
                <c:pt idx="755">
                  <c:v>0.51799500032462864</c:v>
                </c:pt>
                <c:pt idx="756">
                  <c:v>0.52481437758256533</c:v>
                </c:pt>
                <c:pt idx="757">
                  <c:v>0.52178621230590039</c:v>
                </c:pt>
                <c:pt idx="758">
                  <c:v>0.52211695140684355</c:v>
                </c:pt>
                <c:pt idx="759">
                  <c:v>0.51679386513704173</c:v>
                </c:pt>
                <c:pt idx="760">
                  <c:v>0.51866786801986542</c:v>
                </c:pt>
                <c:pt idx="761">
                  <c:v>0.52522063812183106</c:v>
                </c:pt>
                <c:pt idx="762">
                  <c:v>0.52181333215938641</c:v>
                </c:pt>
                <c:pt idx="763">
                  <c:v>0.52630970624258666</c:v>
                </c:pt>
                <c:pt idx="764">
                  <c:v>0.52367693569657059</c:v>
                </c:pt>
                <c:pt idx="765">
                  <c:v>0.52128336869394665</c:v>
                </c:pt>
                <c:pt idx="766">
                  <c:v>0.52227244806608952</c:v>
                </c:pt>
                <c:pt idx="767">
                  <c:v>0.5352765188694385</c:v>
                </c:pt>
                <c:pt idx="768">
                  <c:v>0.53184032628638656</c:v>
                </c:pt>
                <c:pt idx="769">
                  <c:v>0.52310888356871965</c:v>
                </c:pt>
                <c:pt idx="770">
                  <c:v>0.52009456349872907</c:v>
                </c:pt>
                <c:pt idx="771">
                  <c:v>0.52340409039026203</c:v>
                </c:pt>
                <c:pt idx="772">
                  <c:v>0.52853661499997873</c:v>
                </c:pt>
                <c:pt idx="773">
                  <c:v>0.51715266075743038</c:v>
                </c:pt>
                <c:pt idx="774">
                  <c:v>0.51658259629233605</c:v>
                </c:pt>
                <c:pt idx="775">
                  <c:v>0.51851742842174042</c:v>
                </c:pt>
                <c:pt idx="776">
                  <c:v>0.52546892509799148</c:v>
                </c:pt>
                <c:pt idx="777">
                  <c:v>0.5304762024070685</c:v>
                </c:pt>
                <c:pt idx="778">
                  <c:v>0.52258374433148302</c:v>
                </c:pt>
                <c:pt idx="779">
                  <c:v>0.52003819342395341</c:v>
                </c:pt>
                <c:pt idx="780">
                  <c:v>0.51755090704587292</c:v>
                </c:pt>
                <c:pt idx="781">
                  <c:v>0.51356381988119015</c:v>
                </c:pt>
                <c:pt idx="782">
                  <c:v>0.51892952108414991</c:v>
                </c:pt>
                <c:pt idx="783">
                  <c:v>0.52106548618214099</c:v>
                </c:pt>
                <c:pt idx="784">
                  <c:v>0.52476933749545107</c:v>
                </c:pt>
                <c:pt idx="785">
                  <c:v>0.51719434737790249</c:v>
                </c:pt>
                <c:pt idx="786">
                  <c:v>0.52454591325090261</c:v>
                </c:pt>
                <c:pt idx="787">
                  <c:v>0.52416839911822166</c:v>
                </c:pt>
                <c:pt idx="788">
                  <c:v>0.51956390379451922</c:v>
                </c:pt>
                <c:pt idx="789">
                  <c:v>0.51888216025914469</c:v>
                </c:pt>
                <c:pt idx="790">
                  <c:v>0.51826895513525995</c:v>
                </c:pt>
                <c:pt idx="791">
                  <c:v>0.51003249964867647</c:v>
                </c:pt>
                <c:pt idx="792">
                  <c:v>0.51699519568515151</c:v>
                </c:pt>
                <c:pt idx="793">
                  <c:v>0.51182173070144987</c:v>
                </c:pt>
                <c:pt idx="794">
                  <c:v>0.51111502711578305</c:v>
                </c:pt>
                <c:pt idx="795">
                  <c:v>0.62184118474795158</c:v>
                </c:pt>
                <c:pt idx="796">
                  <c:v>0.63317303443475781</c:v>
                </c:pt>
                <c:pt idx="797">
                  <c:v>0.5247384284908172</c:v>
                </c:pt>
                <c:pt idx="798">
                  <c:v>0.52657781460939623</c:v>
                </c:pt>
                <c:pt idx="799">
                  <c:v>0.52830338969866331</c:v>
                </c:pt>
                <c:pt idx="800">
                  <c:v>0.52680531704267686</c:v>
                </c:pt>
                <c:pt idx="801">
                  <c:v>0.51869198759732238</c:v>
                </c:pt>
                <c:pt idx="802">
                  <c:v>0.51915726098403292</c:v>
                </c:pt>
                <c:pt idx="803">
                  <c:v>0.51743421370616161</c:v>
                </c:pt>
                <c:pt idx="804">
                  <c:v>0.51893446404789667</c:v>
                </c:pt>
                <c:pt idx="805">
                  <c:v>0.52522342206179917</c:v>
                </c:pt>
                <c:pt idx="806">
                  <c:v>0.52178535142638738</c:v>
                </c:pt>
                <c:pt idx="807">
                  <c:v>0.52155339798195266</c:v>
                </c:pt>
                <c:pt idx="808">
                  <c:v>0.51036077513147549</c:v>
                </c:pt>
                <c:pt idx="809">
                  <c:v>0.51945121135999639</c:v>
                </c:pt>
                <c:pt idx="810">
                  <c:v>0.51689399999784957</c:v>
                </c:pt>
                <c:pt idx="811">
                  <c:v>0.51699216958044381</c:v>
                </c:pt>
                <c:pt idx="812">
                  <c:v>0.52147919702856838</c:v>
                </c:pt>
                <c:pt idx="813">
                  <c:v>0.53081338149134594</c:v>
                </c:pt>
                <c:pt idx="814">
                  <c:v>0.52178094705424238</c:v>
                </c:pt>
                <c:pt idx="815">
                  <c:v>0.52120530279145838</c:v>
                </c:pt>
                <c:pt idx="816">
                  <c:v>0.5121328373686046</c:v>
                </c:pt>
                <c:pt idx="817">
                  <c:v>0.51112379438316891</c:v>
                </c:pt>
                <c:pt idx="818">
                  <c:v>0.51494862558493104</c:v>
                </c:pt>
                <c:pt idx="819">
                  <c:v>0.51097583826373472</c:v>
                </c:pt>
                <c:pt idx="820">
                  <c:v>0.5131247481669422</c:v>
                </c:pt>
                <c:pt idx="821">
                  <c:v>0.52543826838397889</c:v>
                </c:pt>
                <c:pt idx="822">
                  <c:v>0.5257369018443705</c:v>
                </c:pt>
                <c:pt idx="823">
                  <c:v>0.52026568206736024</c:v>
                </c:pt>
                <c:pt idx="824" formatCode="0.0">
                  <c:v>0.51569640465383215</c:v>
                </c:pt>
                <c:pt idx="825" formatCode="0.0">
                  <c:v>0.5265665723194618</c:v>
                </c:pt>
                <c:pt idx="826" formatCode="0.0">
                  <c:v>0.53077085781261446</c:v>
                </c:pt>
                <c:pt idx="827" formatCode="0.0">
                  <c:v>0.53942562332250887</c:v>
                </c:pt>
                <c:pt idx="828" formatCode="0.0">
                  <c:v>0.53922729315873752</c:v>
                </c:pt>
                <c:pt idx="829" formatCode="0.0">
                  <c:v>0.52431354476343006</c:v>
                </c:pt>
                <c:pt idx="830" formatCode="0.0">
                  <c:v>0.52225245511718577</c:v>
                </c:pt>
                <c:pt idx="831" formatCode="0.0">
                  <c:v>0.52559187061699297</c:v>
                </c:pt>
                <c:pt idx="832" formatCode="0.0">
                  <c:v>0.52625595431000827</c:v>
                </c:pt>
                <c:pt idx="833" formatCode="0.0">
                  <c:v>0.52064995775005096</c:v>
                </c:pt>
                <c:pt idx="834" formatCode="0.0">
                  <c:v>0.5321507226019746</c:v>
                </c:pt>
                <c:pt idx="835" formatCode="0.0">
                  <c:v>0.52545827683785717</c:v>
                </c:pt>
                <c:pt idx="836" formatCode="0.0">
                  <c:v>0.52205049407227377</c:v>
                </c:pt>
                <c:pt idx="837" formatCode="0.0">
                  <c:v>0.52037627219941285</c:v>
                </c:pt>
                <c:pt idx="838" formatCode="0.0">
                  <c:v>0.52087221472608136</c:v>
                </c:pt>
                <c:pt idx="839" formatCode="0.0">
                  <c:v>0.52755676373093485</c:v>
                </c:pt>
                <c:pt idx="840" formatCode="0.0">
                  <c:v>0.53957476547020466</c:v>
                </c:pt>
                <c:pt idx="841" formatCode="0.0">
                  <c:v>0.52925614182898317</c:v>
                </c:pt>
                <c:pt idx="842" formatCode="0.0">
                  <c:v>0.53056848622861108</c:v>
                </c:pt>
                <c:pt idx="843" formatCode="0.0">
                  <c:v>0.52214977958731845</c:v>
                </c:pt>
                <c:pt idx="844" formatCode="0.0">
                  <c:v>0.52243845527644284</c:v>
                </c:pt>
                <c:pt idx="845" formatCode="0.0">
                  <c:v>0.51797565981072657</c:v>
                </c:pt>
                <c:pt idx="846" formatCode="0.0">
                  <c:v>0.51394087594279791</c:v>
                </c:pt>
                <c:pt idx="847" formatCode="0.0">
                  <c:v>0.50922321164471041</c:v>
                </c:pt>
                <c:pt idx="848" formatCode="0.0">
                  <c:v>0.51191123355701529</c:v>
                </c:pt>
                <c:pt idx="849" formatCode="0.0">
                  <c:v>0.50854892044045164</c:v>
                </c:pt>
                <c:pt idx="850" formatCode="0.0">
                  <c:v>0.51292750696526934</c:v>
                </c:pt>
                <c:pt idx="851" formatCode="0.0">
                  <c:v>0.51972418416739119</c:v>
                </c:pt>
                <c:pt idx="852" formatCode="0.0">
                  <c:v>0.51920928775854325</c:v>
                </c:pt>
                <c:pt idx="853" formatCode="0.0">
                  <c:v>0.52822807993655974</c:v>
                </c:pt>
                <c:pt idx="854" formatCode="0.0">
                  <c:v>0.51330862707910685</c:v>
                </c:pt>
                <c:pt idx="855" formatCode="0.0">
                  <c:v>0.51282095611417045</c:v>
                </c:pt>
                <c:pt idx="856" formatCode="0.0">
                  <c:v>0.51734626733338418</c:v>
                </c:pt>
                <c:pt idx="857" formatCode="0.0">
                  <c:v>0.51267797465881537</c:v>
                </c:pt>
                <c:pt idx="858" formatCode="0.0">
                  <c:v>0.50911830602117503</c:v>
                </c:pt>
                <c:pt idx="859" formatCode="0.0">
                  <c:v>0.50704773911315604</c:v>
                </c:pt>
                <c:pt idx="860" formatCode="0.0">
                  <c:v>0.50780070144303424</c:v>
                </c:pt>
                <c:pt idx="861" formatCode="0.0">
                  <c:v>0.51093269782901229</c:v>
                </c:pt>
                <c:pt idx="862" formatCode="0.0">
                  <c:v>0.51988349127565714</c:v>
                </c:pt>
                <c:pt idx="863" formatCode="0.0">
                  <c:v>0.52393560856968835</c:v>
                </c:pt>
                <c:pt idx="864" formatCode="0.0">
                  <c:v>0.52399591446594407</c:v>
                </c:pt>
                <c:pt idx="865" formatCode="0.0">
                  <c:v>0.5241030684097705</c:v>
                </c:pt>
                <c:pt idx="866" formatCode="0.0">
                  <c:v>0.52444431873786723</c:v>
                </c:pt>
                <c:pt idx="867" formatCode="0.0">
                  <c:v>0.5169366992733655</c:v>
                </c:pt>
                <c:pt idx="868" formatCode="0.0">
                  <c:v>0.54243070890969802</c:v>
                </c:pt>
                <c:pt idx="869" formatCode="0.0">
                  <c:v>0.60200782639215744</c:v>
                </c:pt>
                <c:pt idx="870" formatCode="0.0">
                  <c:v>0.68761321567745093</c:v>
                </c:pt>
                <c:pt idx="871" formatCode="0.0">
                  <c:v>0.53519874974289794</c:v>
                </c:pt>
                <c:pt idx="872" formatCode="0.0">
                  <c:v>0.51940703327818027</c:v>
                </c:pt>
                <c:pt idx="873" formatCode="0.0">
                  <c:v>0.51618836631495535</c:v>
                </c:pt>
                <c:pt idx="874" formatCode="0.0">
                  <c:v>0.51306377491369759</c:v>
                </c:pt>
                <c:pt idx="875" formatCode="0.0">
                  <c:v>0.52166846425144231</c:v>
                </c:pt>
                <c:pt idx="876" formatCode="0.0">
                  <c:v>0.5173225331544079</c:v>
                </c:pt>
                <c:pt idx="877" formatCode="0.0">
                  <c:v>0.52049167411031294</c:v>
                </c:pt>
                <c:pt idx="878" formatCode="0.0">
                  <c:v>0.5141844238308646</c:v>
                </c:pt>
                <c:pt idx="879" formatCode="0.0">
                  <c:v>0.50725834957743676</c:v>
                </c:pt>
                <c:pt idx="880" formatCode="0.0">
                  <c:v>0.51305311731722769</c:v>
                </c:pt>
                <c:pt idx="881" formatCode="0.0">
                  <c:v>0.51549058403225856</c:v>
                </c:pt>
                <c:pt idx="882" formatCode="0.0">
                  <c:v>0.51932342896829053</c:v>
                </c:pt>
                <c:pt idx="883" formatCode="0.0">
                  <c:v>0.52197286374214036</c:v>
                </c:pt>
                <c:pt idx="884" formatCode="0.0">
                  <c:v>0.52390916019604739</c:v>
                </c:pt>
                <c:pt idx="885" formatCode="0.0">
                  <c:v>0.51228223100544923</c:v>
                </c:pt>
                <c:pt idx="886" formatCode="0.0">
                  <c:v>0.51246044457613205</c:v>
                </c:pt>
                <c:pt idx="887" formatCode="0.0">
                  <c:v>0.50982681424496434</c:v>
                </c:pt>
                <c:pt idx="888" formatCode="0.0">
                  <c:v>0.51932609267116614</c:v>
                </c:pt>
                <c:pt idx="889" formatCode="0.0">
                  <c:v>0.51887740583032982</c:v>
                </c:pt>
                <c:pt idx="890" formatCode="0.0">
                  <c:v>0.51712476251968953</c:v>
                </c:pt>
                <c:pt idx="891" formatCode="0.0">
                  <c:v>0.51829132467070871</c:v>
                </c:pt>
                <c:pt idx="892" formatCode="0.0">
                  <c:v>0.51984442873008974</c:v>
                </c:pt>
                <c:pt idx="893" formatCode="0.0">
                  <c:v>0.52065434608975902</c:v>
                </c:pt>
                <c:pt idx="894" formatCode="0.0">
                  <c:v>0.51922882262229719</c:v>
                </c:pt>
                <c:pt idx="895" formatCode="0.0">
                  <c:v>0.52339251262771913</c:v>
                </c:pt>
                <c:pt idx="896" formatCode="0.0">
                  <c:v>0.52133953657692089</c:v>
                </c:pt>
                <c:pt idx="897" formatCode="0.0">
                  <c:v>0.51972993002823886</c:v>
                </c:pt>
                <c:pt idx="898" formatCode="0.0">
                  <c:v>0.51209884400311778</c:v>
                </c:pt>
                <c:pt idx="899" formatCode="0.0">
                  <c:v>0.51595132942903499</c:v>
                </c:pt>
                <c:pt idx="900" formatCode="0.0">
                  <c:v>0.52222696174041539</c:v>
                </c:pt>
                <c:pt idx="901" formatCode="0.0">
                  <c:v>0.52093141995841463</c:v>
                </c:pt>
                <c:pt idx="902" formatCode="0.0">
                  <c:v>0.52979760557834532</c:v>
                </c:pt>
                <c:pt idx="903" formatCode="0.0">
                  <c:v>0.51898491924208989</c:v>
                </c:pt>
                <c:pt idx="904" formatCode="0.0">
                  <c:v>0.5161049698263116</c:v>
                </c:pt>
                <c:pt idx="905" formatCode="0.0">
                  <c:v>0.51899346074748298</c:v>
                </c:pt>
                <c:pt idx="906" formatCode="0.0">
                  <c:v>0.5179525643261681</c:v>
                </c:pt>
                <c:pt idx="907" formatCode="0.0">
                  <c:v>0.51837307733754123</c:v>
                </c:pt>
                <c:pt idx="908" formatCode="0.0">
                  <c:v>0.52590805987821332</c:v>
                </c:pt>
                <c:pt idx="909" formatCode="0.0">
                  <c:v>0.52195965023668622</c:v>
                </c:pt>
                <c:pt idx="910" formatCode="0.0">
                  <c:v>0.52216163346527511</c:v>
                </c:pt>
                <c:pt idx="911" formatCode="0.0">
                  <c:v>0.52447019035538289</c:v>
                </c:pt>
                <c:pt idx="912" formatCode="0.0">
                  <c:v>0.51796800443372637</c:v>
                </c:pt>
                <c:pt idx="913" formatCode="0.0">
                  <c:v>0.51221607659322832</c:v>
                </c:pt>
                <c:pt idx="914" formatCode="0.0">
                  <c:v>0.51575802447694441</c:v>
                </c:pt>
                <c:pt idx="915" formatCode="0.0">
                  <c:v>0.53198593795175209</c:v>
                </c:pt>
                <c:pt idx="916" formatCode="0.0">
                  <c:v>0.52323991357299171</c:v>
                </c:pt>
                <c:pt idx="917" formatCode="0.0">
                  <c:v>0.53255019652174052</c:v>
                </c:pt>
                <c:pt idx="918" formatCode="0.0">
                  <c:v>0.53342529223235702</c:v>
                </c:pt>
                <c:pt idx="919" formatCode="0.0">
                  <c:v>0.52473828121134258</c:v>
                </c:pt>
                <c:pt idx="920" formatCode="0.0">
                  <c:v>0.52871285237578047</c:v>
                </c:pt>
                <c:pt idx="921" formatCode="0.0">
                  <c:v>0.52102612108030844</c:v>
                </c:pt>
                <c:pt idx="922" formatCode="0.0">
                  <c:v>0.52577305460661206</c:v>
                </c:pt>
                <c:pt idx="923" formatCode="0.0">
                  <c:v>0.51538053913988846</c:v>
                </c:pt>
                <c:pt idx="924" formatCode="0.0">
                  <c:v>0.51315313826399367</c:v>
                </c:pt>
                <c:pt idx="925" formatCode="0.0">
                  <c:v>0.51989146551325649</c:v>
                </c:pt>
                <c:pt idx="926" formatCode="0.0">
                  <c:v>0.5223466874202346</c:v>
                </c:pt>
                <c:pt idx="927" formatCode="0.0">
                  <c:v>0.5116369921528755</c:v>
                </c:pt>
                <c:pt idx="928" formatCode="0.0">
                  <c:v>0.52742556340099289</c:v>
                </c:pt>
                <c:pt idx="929" formatCode="0.0">
                  <c:v>0.52865773248030423</c:v>
                </c:pt>
                <c:pt idx="930" formatCode="0.0">
                  <c:v>0.53535390781931458</c:v>
                </c:pt>
                <c:pt idx="931" formatCode="0.0">
                  <c:v>0.53041623172023467</c:v>
                </c:pt>
                <c:pt idx="932" formatCode="0.0">
                  <c:v>0.53076323623191524</c:v>
                </c:pt>
                <c:pt idx="933" formatCode="0.0">
                  <c:v>0.52771563337529503</c:v>
                </c:pt>
                <c:pt idx="934" formatCode="0.0">
                  <c:v>0.52819284238565523</c:v>
                </c:pt>
                <c:pt idx="935" formatCode="0.0">
                  <c:v>0.52677309915279513</c:v>
                </c:pt>
                <c:pt idx="936" formatCode="0.0">
                  <c:v>0.52397357415307033</c:v>
                </c:pt>
                <c:pt idx="937" formatCode="0.0">
                  <c:v>0.52657002592276791</c:v>
                </c:pt>
                <c:pt idx="938" formatCode="0.0">
                  <c:v>0.53021539645125026</c:v>
                </c:pt>
                <c:pt idx="939" formatCode="0.0">
                  <c:v>0.53072889923776112</c:v>
                </c:pt>
                <c:pt idx="940" formatCode="0.0">
                  <c:v>0.52984064416826948</c:v>
                </c:pt>
                <c:pt idx="941" formatCode="0.0">
                  <c:v>0.5294933906954592</c:v>
                </c:pt>
                <c:pt idx="942" formatCode="0.0">
                  <c:v>0.52372636134406814</c:v>
                </c:pt>
                <c:pt idx="943" formatCode="0.0">
                  <c:v>0.52224076629572014</c:v>
                </c:pt>
                <c:pt idx="944" formatCode="0.0">
                  <c:v>0.51887354737800129</c:v>
                </c:pt>
                <c:pt idx="945" formatCode="0.0">
                  <c:v>0.5313906893897884</c:v>
                </c:pt>
                <c:pt idx="946" formatCode="0.0">
                  <c:v>0.53037479861671799</c:v>
                </c:pt>
                <c:pt idx="947" formatCode="0.0">
                  <c:v>0.52279767692834267</c:v>
                </c:pt>
                <c:pt idx="948" formatCode="0.0">
                  <c:v>0.51943127945842027</c:v>
                </c:pt>
                <c:pt idx="949" formatCode="0.0">
                  <c:v>0.52076262707304322</c:v>
                </c:pt>
                <c:pt idx="950" formatCode="0.0">
                  <c:v>0.52424399994990334</c:v>
                </c:pt>
                <c:pt idx="951" formatCode="0.0">
                  <c:v>0.52593822551447933</c:v>
                </c:pt>
                <c:pt idx="952" formatCode="0.0">
                  <c:v>0.52522932463836636</c:v>
                </c:pt>
                <c:pt idx="953" formatCode="0.0">
                  <c:v>0.52410436286719297</c:v>
                </c:pt>
                <c:pt idx="954" formatCode="0.0">
                  <c:v>0.52590402080250009</c:v>
                </c:pt>
                <c:pt idx="955" formatCode="0.0">
                  <c:v>0.52807862760903412</c:v>
                </c:pt>
                <c:pt idx="956" formatCode="0.0">
                  <c:v>0.52870657657660158</c:v>
                </c:pt>
                <c:pt idx="957" formatCode="0.0">
                  <c:v>0.53493434947254415</c:v>
                </c:pt>
                <c:pt idx="958" formatCode="0.0">
                  <c:v>0.53931789174335287</c:v>
                </c:pt>
                <c:pt idx="959" formatCode="0.0">
                  <c:v>0.53576487791780814</c:v>
                </c:pt>
                <c:pt idx="960" formatCode="0.0">
                  <c:v>0.53649222534682017</c:v>
                </c:pt>
                <c:pt idx="961" formatCode="0.0">
                  <c:v>0.53173536275421074</c:v>
                </c:pt>
                <c:pt idx="962" formatCode="0.0">
                  <c:v>0.54220818662913872</c:v>
                </c:pt>
                <c:pt idx="963" formatCode="0.0">
                  <c:v>0.54674068110777607</c:v>
                </c:pt>
                <c:pt idx="964" formatCode="0.0">
                  <c:v>0.58048053727849691</c:v>
                </c:pt>
                <c:pt idx="965" formatCode="0.0">
                  <c:v>0.59493024733851163</c:v>
                </c:pt>
                <c:pt idx="966" formatCode="0.0">
                  <c:v>0.54143454389521173</c:v>
                </c:pt>
                <c:pt idx="967" formatCode="0.0">
                  <c:v>0.54639979716941123</c:v>
                </c:pt>
                <c:pt idx="968" formatCode="0.0">
                  <c:v>0.54355997924190258</c:v>
                </c:pt>
                <c:pt idx="969" formatCode="0.0">
                  <c:v>0.54031706675451641</c:v>
                </c:pt>
                <c:pt idx="970" formatCode="0.0">
                  <c:v>0.53515671341620752</c:v>
                </c:pt>
                <c:pt idx="971" formatCode="0.0">
                  <c:v>0.53398602718798105</c:v>
                </c:pt>
                <c:pt idx="972" formatCode="0.0">
                  <c:v>0.53334313899306895</c:v>
                </c:pt>
                <c:pt idx="973" formatCode="0.0">
                  <c:v>0.53080443476516803</c:v>
                </c:pt>
                <c:pt idx="974" formatCode="0.0">
                  <c:v>0.53750058583775329</c:v>
                </c:pt>
                <c:pt idx="975" formatCode="0.0">
                  <c:v>0.53238193128663625</c:v>
                </c:pt>
                <c:pt idx="976" formatCode="0.0">
                  <c:v>0.53160758897390337</c:v>
                </c:pt>
                <c:pt idx="977" formatCode="0.0">
                  <c:v>0.53386200749442358</c:v>
                </c:pt>
                <c:pt idx="978" formatCode="0.0">
                  <c:v>0.52580524774858994</c:v>
                </c:pt>
                <c:pt idx="979" formatCode="0.0">
                  <c:v>0.52530430592622579</c:v>
                </c:pt>
                <c:pt idx="980" formatCode="0.0">
                  <c:v>0.5282023640016843</c:v>
                </c:pt>
                <c:pt idx="981" formatCode="0.0">
                  <c:v>0.5195305737546928</c:v>
                </c:pt>
                <c:pt idx="982" formatCode="0.0">
                  <c:v>0.52537216405133191</c:v>
                </c:pt>
                <c:pt idx="983" formatCode="0.0">
                  <c:v>0.51774984789311951</c:v>
                </c:pt>
                <c:pt idx="984" formatCode="0.0">
                  <c:v>0.52169099999872715</c:v>
                </c:pt>
                <c:pt idx="985" formatCode="0.0">
                  <c:v>0.51670650513818894</c:v>
                </c:pt>
                <c:pt idx="986" formatCode="0.0">
                  <c:v>0.51626330739626825</c:v>
                </c:pt>
                <c:pt idx="987" formatCode="0.0">
                  <c:v>0.51476007424965742</c:v>
                </c:pt>
                <c:pt idx="988" formatCode="0.0">
                  <c:v>0.51816795837896623</c:v>
                </c:pt>
                <c:pt idx="989" formatCode="0.0">
                  <c:v>0.51555430279108572</c:v>
                </c:pt>
                <c:pt idx="990" formatCode="0.0">
                  <c:v>0.51165411327804766</c:v>
                </c:pt>
                <c:pt idx="991" formatCode="0.0">
                  <c:v>0.51325083426646356</c:v>
                </c:pt>
                <c:pt idx="992" formatCode="0.0">
                  <c:v>0.53346892285783776</c:v>
                </c:pt>
                <c:pt idx="993" formatCode="0.0">
                  <c:v>0.53809661414103704</c:v>
                </c:pt>
                <c:pt idx="994" formatCode="0.0">
                  <c:v>0.54282755252580017</c:v>
                </c:pt>
                <c:pt idx="995" formatCode="0.0">
                  <c:v>0.53967279504053811</c:v>
                </c:pt>
                <c:pt idx="996" formatCode="0.0">
                  <c:v>0.54214880296266843</c:v>
                </c:pt>
                <c:pt idx="997" formatCode="0.0">
                  <c:v>0.555027428902239</c:v>
                </c:pt>
                <c:pt idx="998" formatCode="0.0">
                  <c:v>0.55494672758906816</c:v>
                </c:pt>
                <c:pt idx="999" formatCode="0.0">
                  <c:v>0.54892572959001107</c:v>
                </c:pt>
                <c:pt idx="1000" formatCode="0.0">
                  <c:v>0.54720898380792826</c:v>
                </c:pt>
                <c:pt idx="1001" formatCode="0.0">
                  <c:v>0.54249515228809109</c:v>
                </c:pt>
                <c:pt idx="1002" formatCode="0.0">
                  <c:v>0.53780333968146643</c:v>
                </c:pt>
                <c:pt idx="1003" formatCode="0.0">
                  <c:v>0.54233557071989025</c:v>
                </c:pt>
                <c:pt idx="1004" formatCode="0.0">
                  <c:v>0.54425060001438785</c:v>
                </c:pt>
                <c:pt idx="1005" formatCode="0.0">
                  <c:v>0.5473034951257385</c:v>
                </c:pt>
                <c:pt idx="1006" formatCode="0.0">
                  <c:v>0.54527673732454529</c:v>
                </c:pt>
                <c:pt idx="1007" formatCode="0.0">
                  <c:v>0.53318419682079632</c:v>
                </c:pt>
                <c:pt idx="1008" formatCode="0.0">
                  <c:v>0.53179329530331554</c:v>
                </c:pt>
                <c:pt idx="1009" formatCode="0.0">
                  <c:v>0.53921929769740928</c:v>
                </c:pt>
                <c:pt idx="1010" formatCode="0.0">
                  <c:v>0.53900433738683928</c:v>
                </c:pt>
                <c:pt idx="1011" formatCode="0.0">
                  <c:v>0.54725876739827306</c:v>
                </c:pt>
                <c:pt idx="1012" formatCode="0.0">
                  <c:v>0.54561696128537396</c:v>
                </c:pt>
                <c:pt idx="1013" formatCode="0.0">
                  <c:v>0.54202068157856231</c:v>
                </c:pt>
                <c:pt idx="1014" formatCode="0.0">
                  <c:v>0.54623216931062557</c:v>
                </c:pt>
                <c:pt idx="1015" formatCode="0.0">
                  <c:v>0.54102205738918352</c:v>
                </c:pt>
                <c:pt idx="1016" formatCode="0.0">
                  <c:v>0.54344229643773534</c:v>
                </c:pt>
                <c:pt idx="1017" formatCode="0.0">
                  <c:v>0.53803934291142552</c:v>
                </c:pt>
                <c:pt idx="1018" formatCode="0.0">
                  <c:v>0.54054113457618469</c:v>
                </c:pt>
                <c:pt idx="1019" formatCode="0.0">
                  <c:v>0.53804653025562355</c:v>
                </c:pt>
                <c:pt idx="1020" formatCode="0.0">
                  <c:v>0.53837363699538932</c:v>
                </c:pt>
                <c:pt idx="1021" formatCode="0.0">
                  <c:v>0.53635541149922139</c:v>
                </c:pt>
                <c:pt idx="1022" formatCode="0.0">
                  <c:v>0.53638839847496445</c:v>
                </c:pt>
                <c:pt idx="1023" formatCode="0.0">
                  <c:v>0.53761570059178299</c:v>
                </c:pt>
                <c:pt idx="1024" formatCode="0.0">
                  <c:v>0.52652084279922073</c:v>
                </c:pt>
                <c:pt idx="1025" formatCode="0.0">
                  <c:v>0.52915809651375589</c:v>
                </c:pt>
                <c:pt idx="1026" formatCode="General">
                  <c:v>0.52832303238043177</c:v>
                </c:pt>
                <c:pt idx="1027">
                  <c:v>0.53097535902031801</c:v>
                </c:pt>
                <c:pt idx="1028">
                  <c:v>0.53211733318238774</c:v>
                </c:pt>
                <c:pt idx="1029">
                  <c:v>0.52634848041659965</c:v>
                </c:pt>
                <c:pt idx="1030">
                  <c:v>0.52948441901814391</c:v>
                </c:pt>
                <c:pt idx="1031" formatCode="General">
                  <c:v>0.52746284592607628</c:v>
                </c:pt>
                <c:pt idx="1032" formatCode="0.0">
                  <c:v>0.52467367135942033</c:v>
                </c:pt>
                <c:pt idx="1033" formatCode="0.0">
                  <c:v>0.52748418543048081</c:v>
                </c:pt>
                <c:pt idx="1034" formatCode="General">
                  <c:v>0.53035236476416059</c:v>
                </c:pt>
                <c:pt idx="1035" formatCode="General">
                  <c:v>0.53508185466141689</c:v>
                </c:pt>
                <c:pt idx="1036" formatCode="0.0">
                  <c:v>0.53894199220239747</c:v>
                </c:pt>
                <c:pt idx="1037" formatCode="General">
                  <c:v>0.57489659761718703</c:v>
                </c:pt>
                <c:pt idx="1038" formatCode="General">
                  <c:v>0.54741364576464924</c:v>
                </c:pt>
                <c:pt idx="1039">
                  <c:v>0.52930346860187072</c:v>
                </c:pt>
                <c:pt idx="1040">
                  <c:v>0.52483202645588145</c:v>
                </c:pt>
                <c:pt idx="1041">
                  <c:v>0.52545689355520409</c:v>
                </c:pt>
                <c:pt idx="1042">
                  <c:v>0.53002839343048247</c:v>
                </c:pt>
                <c:pt idx="1043">
                  <c:v>0.52916376486402561</c:v>
                </c:pt>
                <c:pt idx="1044">
                  <c:v>0.52143867009231903</c:v>
                </c:pt>
                <c:pt idx="1045">
                  <c:v>0.52264893481025021</c:v>
                </c:pt>
                <c:pt idx="1046">
                  <c:v>0.52286310920693957</c:v>
                </c:pt>
                <c:pt idx="1047">
                  <c:v>0.52344485578297284</c:v>
                </c:pt>
                <c:pt idx="1048">
                  <c:v>0.52624660181460203</c:v>
                </c:pt>
                <c:pt idx="1049">
                  <c:v>0.52239403781454019</c:v>
                </c:pt>
                <c:pt idx="1050">
                  <c:v>0.5239105898222951</c:v>
                </c:pt>
                <c:pt idx="1051">
                  <c:v>0.52622861155618195</c:v>
                </c:pt>
                <c:pt idx="1052">
                  <c:v>0.5234301144321678</c:v>
                </c:pt>
                <c:pt idx="1053" formatCode="0.0">
                  <c:v>0.53291055660056219</c:v>
                </c:pt>
                <c:pt idx="1054" formatCode="General">
                  <c:v>0.55013369270743384</c:v>
                </c:pt>
                <c:pt idx="1055">
                  <c:v>0.55012870619722976</c:v>
                </c:pt>
                <c:pt idx="1056">
                  <c:v>0.54148117783269667</c:v>
                </c:pt>
                <c:pt idx="1057">
                  <c:v>0.54258618987861251</c:v>
                </c:pt>
                <c:pt idx="1058">
                  <c:v>0.52764937213289875</c:v>
                </c:pt>
                <c:pt idx="1059">
                  <c:v>0.52432935151840987</c:v>
                </c:pt>
                <c:pt idx="1060" formatCode="0.0">
                  <c:v>0.5339552433287913</c:v>
                </c:pt>
                <c:pt idx="1061" formatCode="0.0">
                  <c:v>0.53790455207953514</c:v>
                </c:pt>
                <c:pt idx="1062" formatCode="0.0">
                  <c:v>0.54358432823808744</c:v>
                </c:pt>
                <c:pt idx="1063" formatCode="General">
                  <c:v>0.53688089436695274</c:v>
                </c:pt>
                <c:pt idx="1064" formatCode="0.0">
                  <c:v>0.53876738292687387</c:v>
                </c:pt>
                <c:pt idx="1065" formatCode="General">
                  <c:v>0.53852878701757356</c:v>
                </c:pt>
                <c:pt idx="1066" formatCode="General">
                  <c:v>0.53041897107197111</c:v>
                </c:pt>
                <c:pt idx="1067" formatCode="General">
                  <c:v>0.53204276244714255</c:v>
                </c:pt>
                <c:pt idx="1068" formatCode="General">
                  <c:v>0.52322043112775951</c:v>
                </c:pt>
                <c:pt idx="1069" formatCode="General">
                  <c:v>0.51978403237571758</c:v>
                </c:pt>
                <c:pt idx="1070" formatCode="General">
                  <c:v>0.52618583765760296</c:v>
                </c:pt>
                <c:pt idx="1071" formatCode="General">
                  <c:v>0.52650446071730628</c:v>
                </c:pt>
                <c:pt idx="1072" formatCode="General">
                  <c:v>0.52204548439106435</c:v>
                </c:pt>
                <c:pt idx="1073" formatCode="0.0">
                  <c:v>0.52606236285910879</c:v>
                </c:pt>
                <c:pt idx="1074" formatCode="0.0">
                  <c:v>0.51834323492667556</c:v>
                </c:pt>
                <c:pt idx="1075" formatCode="General">
                  <c:v>0.52363267641867861</c:v>
                </c:pt>
                <c:pt idx="1076" formatCode="General">
                  <c:v>0.52996630281844304</c:v>
                </c:pt>
                <c:pt idx="1077" formatCode="0.0">
                  <c:v>0.52812342719910998</c:v>
                </c:pt>
                <c:pt idx="1078" formatCode="General">
                  <c:v>0.52243021954103852</c:v>
                </c:pt>
                <c:pt idx="1079" formatCode="General">
                  <c:v>0.52706834128761648</c:v>
                </c:pt>
                <c:pt idx="1080" formatCode="General">
                  <c:v>0.52762266699230231</c:v>
                </c:pt>
                <c:pt idx="1081" formatCode="General">
                  <c:v>0.52649125302623623</c:v>
                </c:pt>
                <c:pt idx="1082" formatCode="General">
                  <c:v>0.52678562665257667</c:v>
                </c:pt>
                <c:pt idx="1083" formatCode="General">
                  <c:v>0.52948013066271393</c:v>
                </c:pt>
                <c:pt idx="1084" formatCode="General">
                  <c:v>0.53186267242174723</c:v>
                </c:pt>
                <c:pt idx="1085" formatCode="General">
                  <c:v>0.5345984060226856</c:v>
                </c:pt>
                <c:pt idx="1086" formatCode="General">
                  <c:v>0.53019539071592603</c:v>
                </c:pt>
                <c:pt idx="1087" formatCode="General">
                  <c:v>0.53758977069141545</c:v>
                </c:pt>
                <c:pt idx="1088" formatCode="General">
                  <c:v>0.5364318759902853</c:v>
                </c:pt>
                <c:pt idx="1089" formatCode="General">
                  <c:v>0.52962821789593939</c:v>
                </c:pt>
                <c:pt idx="1090" formatCode="General">
                  <c:v>0.5260030315338502</c:v>
                </c:pt>
                <c:pt idx="1091" formatCode="General">
                  <c:v>0.52204632866606737</c:v>
                </c:pt>
                <c:pt idx="1092" formatCode="General">
                  <c:v>0.52135749949932519</c:v>
                </c:pt>
                <c:pt idx="1093" formatCode="General">
                  <c:v>0.52366416087170065</c:v>
                </c:pt>
                <c:pt idx="1094" formatCode="General">
                  <c:v>0.52904155635912564</c:v>
                </c:pt>
                <c:pt idx="1095" formatCode="General">
                  <c:v>0.52349612015781855</c:v>
                </c:pt>
              </c:numCache>
            </c:numRef>
          </c:xVal>
          <c:yVal>
            <c:numRef>
              <c:f>'Parameters ranges for ANN step1'!$AM$3:$AM$1137</c:f>
              <c:numCache>
                <c:formatCode>0</c:formatCode>
                <c:ptCount val="1135"/>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204.23485725682175</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204.9854741107371</c:v>
                </c:pt>
                <c:pt idx="18">
                  <c:v>200.86132216632797</c:v>
                </c:pt>
                <c:pt idx="19">
                  <c:v>200.17306711282052</c:v>
                </c:pt>
                <c:pt idx="20">
                  <c:v>204.4587150016421</c:v>
                </c:pt>
                <c:pt idx="21">
                  <c:v>204.3411578349818</c:v>
                </c:pt>
                <c:pt idx="22">
                  <c:v>205.39641517325504</c:v>
                </c:pt>
                <c:pt idx="23">
                  <c:v>211.42894853503395</c:v>
                </c:pt>
                <c:pt idx="24">
                  <c:v>210.1118244813469</c:v>
                </c:pt>
                <c:pt idx="25">
                  <c:v>209.81106247452513</c:v>
                </c:pt>
                <c:pt idx="26">
                  <c:v>200.11319713725905</c:v>
                </c:pt>
                <c:pt idx="27">
                  <c:v>173.67865142747749</c:v>
                </c:pt>
                <c:pt idx="28">
                  <c:v>203.54901586662913</c:v>
                </c:pt>
                <c:pt idx="29">
                  <c:v>205.44527388108517</c:v>
                </c:pt>
                <c:pt idx="30">
                  <c:v>198.80113941896195</c:v>
                </c:pt>
                <c:pt idx="31">
                  <c:v>208.3547156699791</c:v>
                </c:pt>
                <c:pt idx="32">
                  <c:v>204.97710129072723</c:v>
                </c:pt>
                <c:pt idx="33">
                  <c:v>196.03589432171418</c:v>
                </c:pt>
                <c:pt idx="34">
                  <c:v>182.5595009983401</c:v>
                </c:pt>
                <c:pt idx="35">
                  <c:v>183</c:v>
                </c:pt>
                <c:pt idx="36">
                  <c:v>190.2037903840403</c:v>
                </c:pt>
                <c:pt idx="37">
                  <c:v>202.77186371182805</c:v>
                </c:pt>
                <c:pt idx="38">
                  <c:v>204.4456666396741</c:v>
                </c:pt>
                <c:pt idx="39">
                  <c:v>199.0306694122568</c:v>
                </c:pt>
                <c:pt idx="40">
                  <c:v>199.40765687845391</c:v>
                </c:pt>
                <c:pt idx="41">
                  <c:v>197.89153341741755</c:v>
                </c:pt>
                <c:pt idx="42">
                  <c:v>188.00692709323579</c:v>
                </c:pt>
                <c:pt idx="43">
                  <c:v>178.62371304274293</c:v>
                </c:pt>
                <c:pt idx="44">
                  <c:v>157.1835588434451</c:v>
                </c:pt>
                <c:pt idx="45">
                  <c:v>90.264375751437598</c:v>
                </c:pt>
                <c:pt idx="46">
                  <c:v>93.619960051127521</c:v>
                </c:pt>
                <c:pt idx="47">
                  <c:v>168.17878837871211</c:v>
                </c:pt>
                <c:pt idx="48">
                  <c:v>190.45977180578873</c:v>
                </c:pt>
                <c:pt idx="49">
                  <c:v>186.06141522536356</c:v>
                </c:pt>
                <c:pt idx="50">
                  <c:v>194.42344753769504</c:v>
                </c:pt>
                <c:pt idx="51">
                  <c:v>193.26092064238506</c:v>
                </c:pt>
                <c:pt idx="52">
                  <c:v>194.88152309283421</c:v>
                </c:pt>
                <c:pt idx="53">
                  <c:v>204.16933157639949</c:v>
                </c:pt>
                <c:pt idx="54">
                  <c:v>206.99102854411368</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189.45283358020691</c:v>
                </c:pt>
                <c:pt idx="69">
                  <c:v>198.09208163020048</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200.34529527456326</c:v>
                </c:pt>
                <c:pt idx="110">
                  <c:v>204.59989468205592</c:v>
                </c:pt>
                <c:pt idx="111">
                  <c:v>205.42229572465371</c:v>
                </c:pt>
                <c:pt idx="112">
                  <c:v>193.70361963208651</c:v>
                </c:pt>
                <c:pt idx="113">
                  <c:v>190.65854630669233</c:v>
                </c:pt>
                <c:pt idx="114">
                  <c:v>198.05574008021773</c:v>
                </c:pt>
                <c:pt idx="115">
                  <c:v>177.21101646872836</c:v>
                </c:pt>
                <c:pt idx="116">
                  <c:v>203.99336148504639</c:v>
                </c:pt>
                <c:pt idx="117">
                  <c:v>198.65814750554023</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0</c:v>
                </c:pt>
                <c:pt idx="149">
                  <c:v>0</c:v>
                </c:pt>
                <c:pt idx="150">
                  <c:v>59.922850515450001</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183.67564572317701</c:v>
                </c:pt>
                <c:pt idx="160">
                  <c:v>182.13725069832299</c:v>
                </c:pt>
                <c:pt idx="161">
                  <c:v>181.94320776918099</c:v>
                </c:pt>
                <c:pt idx="162">
                  <c:v>191.74179510009</c:v>
                </c:pt>
                <c:pt idx="163">
                  <c:v>197.45405984671601</c:v>
                </c:pt>
                <c:pt idx="164">
                  <c:v>208.24809973350699</c:v>
                </c:pt>
                <c:pt idx="165">
                  <c:v>209.336772296264</c:v>
                </c:pt>
                <c:pt idx="166">
                  <c:v>206.93214712700799</c:v>
                </c:pt>
                <c:pt idx="167">
                  <c:v>208.23197421418899</c:v>
                </c:pt>
                <c:pt idx="168">
                  <c:v>209.62684202933701</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193.00778233618999</c:v>
                </c:pt>
                <c:pt idx="178">
                  <c:v>202.564554544923</c:v>
                </c:pt>
                <c:pt idx="179">
                  <c:v>201.867407228378</c:v>
                </c:pt>
                <c:pt idx="180">
                  <c:v>202.48205478732899</c:v>
                </c:pt>
                <c:pt idx="181">
                  <c:v>210.50410235335701</c:v>
                </c:pt>
                <c:pt idx="182">
                  <c:v>206.72212819481999</c:v>
                </c:pt>
                <c:pt idx="183">
                  <c:v>189.785173048677</c:v>
                </c:pt>
                <c:pt idx="184">
                  <c:v>195.41703532181401</c:v>
                </c:pt>
                <c:pt idx="185">
                  <c:v>194.76924152241099</c:v>
                </c:pt>
                <c:pt idx="186">
                  <c:v>207.328777578049</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210.01170741985499</c:v>
                </c:pt>
                <c:pt idx="201">
                  <c:v>210.20412866665799</c:v>
                </c:pt>
                <c:pt idx="202">
                  <c:v>199.70215738161301</c:v>
                </c:pt>
                <c:pt idx="203">
                  <c:v>190.647296690302</c:v>
                </c:pt>
                <c:pt idx="204">
                  <c:v>197.72543263838301</c:v>
                </c:pt>
                <c:pt idx="205">
                  <c:v>196.93914842305901</c:v>
                </c:pt>
                <c:pt idx="206">
                  <c:v>196.72991510273701</c:v>
                </c:pt>
                <c:pt idx="207">
                  <c:v>207.777894083316</c:v>
                </c:pt>
                <c:pt idx="208">
                  <c:v>208.83200254090801</c:v>
                </c:pt>
                <c:pt idx="209">
                  <c:v>208.23062774383899</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196.00917183168201</c:v>
                </c:pt>
                <c:pt idx="220">
                  <c:v>211.59340286438601</c:v>
                </c:pt>
                <c:pt idx="221">
                  <c:v>209.14073880869799</c:v>
                </c:pt>
                <c:pt idx="222">
                  <c:v>203.12033249689401</c:v>
                </c:pt>
                <c:pt idx="223">
                  <c:v>211.523462291176</c:v>
                </c:pt>
                <c:pt idx="224">
                  <c:v>211.81077765009499</c:v>
                </c:pt>
                <c:pt idx="225">
                  <c:v>211.32603242399199</c:v>
                </c:pt>
                <c:pt idx="226">
                  <c:v>198.47818272088901</c:v>
                </c:pt>
                <c:pt idx="227">
                  <c:v>210.12645670348999</c:v>
                </c:pt>
                <c:pt idx="228">
                  <c:v>204.110230037799</c:v>
                </c:pt>
                <c:pt idx="229">
                  <c:v>196.75329555706</c:v>
                </c:pt>
                <c:pt idx="230">
                  <c:v>203.255966573363</c:v>
                </c:pt>
                <c:pt idx="231">
                  <c:v>197.34498332552201</c:v>
                </c:pt>
                <c:pt idx="232">
                  <c:v>181.31150567497701</c:v>
                </c:pt>
                <c:pt idx="233">
                  <c:v>195.64953782477599</c:v>
                </c:pt>
                <c:pt idx="234">
                  <c:v>203.959943500392</c:v>
                </c:pt>
                <c:pt idx="235">
                  <c:v>178.60152971854899</c:v>
                </c:pt>
                <c:pt idx="236">
                  <c:v>190.793168397024</c:v>
                </c:pt>
                <c:pt idx="237">
                  <c:v>202.394235923297</c:v>
                </c:pt>
                <c:pt idx="238">
                  <c:v>209.94557877343999</c:v>
                </c:pt>
                <c:pt idx="239">
                  <c:v>195.48295273423599</c:v>
                </c:pt>
                <c:pt idx="240">
                  <c:v>172.15223546562399</c:v>
                </c:pt>
                <c:pt idx="241">
                  <c:v>170.48176291699201</c:v>
                </c:pt>
                <c:pt idx="242">
                  <c:v>181.93214392793399</c:v>
                </c:pt>
                <c:pt idx="243">
                  <c:v>179.612415507425</c:v>
                </c:pt>
                <c:pt idx="244">
                  <c:v>174.472774488119</c:v>
                </c:pt>
                <c:pt idx="245">
                  <c:v>117.74555131036399</c:v>
                </c:pt>
                <c:pt idx="246">
                  <c:v>138.92974343908901</c:v>
                </c:pt>
                <c:pt idx="247">
                  <c:v>125.100134916952</c:v>
                </c:pt>
                <c:pt idx="248">
                  <c:v>140.803276088144</c:v>
                </c:pt>
                <c:pt idx="249">
                  <c:v>151.34502549916999</c:v>
                </c:pt>
                <c:pt idx="250">
                  <c:v>149.83854421042</c:v>
                </c:pt>
                <c:pt idx="251">
                  <c:v>178.60252485124801</c:v>
                </c:pt>
                <c:pt idx="252">
                  <c:v>171.64255227816301</c:v>
                </c:pt>
                <c:pt idx="253">
                  <c:v>170.05826919215099</c:v>
                </c:pt>
                <c:pt idx="254">
                  <c:v>179.56099730714899</c:v>
                </c:pt>
                <c:pt idx="255">
                  <c:v>170.180850816401</c:v>
                </c:pt>
                <c:pt idx="256">
                  <c:v>202.58945730613101</c:v>
                </c:pt>
                <c:pt idx="257">
                  <c:v>208.80892981364201</c:v>
                </c:pt>
                <c:pt idx="258">
                  <c:v>191.54506271347</c:v>
                </c:pt>
                <c:pt idx="259">
                  <c:v>100.379153832909</c:v>
                </c:pt>
                <c:pt idx="260">
                  <c:v>86.404099136261394</c:v>
                </c:pt>
                <c:pt idx="261">
                  <c:v>173.39193134753299</c:v>
                </c:pt>
                <c:pt idx="262">
                  <c:v>184.46046040777</c:v>
                </c:pt>
                <c:pt idx="263">
                  <c:v>176.59625965425201</c:v>
                </c:pt>
                <c:pt idx="264">
                  <c:v>197.38488654618601</c:v>
                </c:pt>
                <c:pt idx="265">
                  <c:v>189.966517129848</c:v>
                </c:pt>
                <c:pt idx="266">
                  <c:v>193.56260335391801</c:v>
                </c:pt>
                <c:pt idx="267">
                  <c:v>171.68709832832499</c:v>
                </c:pt>
                <c:pt idx="268">
                  <c:v>205.907457880826</c:v>
                </c:pt>
                <c:pt idx="269">
                  <c:v>202.97785964145299</c:v>
                </c:pt>
                <c:pt idx="270">
                  <c:v>199.937482425881</c:v>
                </c:pt>
                <c:pt idx="271">
                  <c:v>206.94785873537299</c:v>
                </c:pt>
                <c:pt idx="272">
                  <c:v>211.83629621987299</c:v>
                </c:pt>
                <c:pt idx="273">
                  <c:v>210.25017162800501</c:v>
                </c:pt>
                <c:pt idx="274">
                  <c:v>199.802347634901</c:v>
                </c:pt>
                <c:pt idx="275">
                  <c:v>197.2399877933</c:v>
                </c:pt>
                <c:pt idx="276">
                  <c:v>198.67665657612599</c:v>
                </c:pt>
                <c:pt idx="277">
                  <c:v>194.23131899335601</c:v>
                </c:pt>
                <c:pt idx="278">
                  <c:v>185.20579750444199</c:v>
                </c:pt>
                <c:pt idx="279">
                  <c:v>210.50811395635</c:v>
                </c:pt>
                <c:pt idx="280">
                  <c:v>213.780016927952</c:v>
                </c:pt>
                <c:pt idx="281">
                  <c:v>213.633222080118</c:v>
                </c:pt>
                <c:pt idx="282">
                  <c:v>214.10461180059599</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206.107296638729</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188.00933253043999</c:v>
                </c:pt>
                <c:pt idx="335">
                  <c:v>170.244128774269</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200.763000645886</c:v>
                </c:pt>
                <c:pt idx="357">
                  <c:v>207.038617517175</c:v>
                </c:pt>
                <c:pt idx="358">
                  <c:v>195.48047291531901</c:v>
                </c:pt>
                <c:pt idx="359">
                  <c:v>213.42871447377101</c:v>
                </c:pt>
                <c:pt idx="360">
                  <c:v>214.579969931638</c:v>
                </c:pt>
                <c:pt idx="361">
                  <c:v>210.05308815120301</c:v>
                </c:pt>
                <c:pt idx="362">
                  <c:v>202.591847461756</c:v>
                </c:pt>
                <c:pt idx="363">
                  <c:v>173.46667430850999</c:v>
                </c:pt>
                <c:pt idx="364">
                  <c:v>95.0082083065018</c:v>
                </c:pt>
                <c:pt idx="365">
                  <c:v>99.469568021421395</c:v>
                </c:pt>
                <c:pt idx="366" formatCode="General">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212.084719308568</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211.34931868997501</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191.84450886993</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215.46349192291899</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211.838106770704</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215.00048363333499</c:v>
                </c:pt>
                <c:pt idx="454">
                  <c:v>216.99357226464201</c:v>
                </c:pt>
                <c:pt idx="455">
                  <c:v>220.443474562939</c:v>
                </c:pt>
                <c:pt idx="456">
                  <c:v>220.17628686295001</c:v>
                </c:pt>
                <c:pt idx="457">
                  <c:v>217.76361151301401</c:v>
                </c:pt>
                <c:pt idx="458">
                  <c:v>216.79963752675701</c:v>
                </c:pt>
                <c:pt idx="459">
                  <c:v>220.753680756276</c:v>
                </c:pt>
                <c:pt idx="460">
                  <c:v>224.153485219619</c:v>
                </c:pt>
                <c:pt idx="461">
                  <c:v>223.24377771201699</c:v>
                </c:pt>
                <c:pt idx="462">
                  <c:v>223.31982925877401</c:v>
                </c:pt>
                <c:pt idx="463">
                  <c:v>220.52500265213101</c:v>
                </c:pt>
                <c:pt idx="464">
                  <c:v>212.849607368845</c:v>
                </c:pt>
                <c:pt idx="465">
                  <c:v>211.68618011279199</c:v>
                </c:pt>
                <c:pt idx="466">
                  <c:v>203.01595913883901</c:v>
                </c:pt>
                <c:pt idx="467">
                  <c:v>127.938194657867</c:v>
                </c:pt>
                <c:pt idx="468">
                  <c:v>104.23288644929001</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209.607809014606</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41.427343997948903</c:v>
                </c:pt>
                <c:pt idx="496">
                  <c:v>185.32334532565201</c:v>
                </c:pt>
                <c:pt idx="498">
                  <c:v>0</c:v>
                </c:pt>
                <c:pt idx="499">
                  <c:v>216.29640478550601</c:v>
                </c:pt>
                <c:pt idx="500">
                  <c:v>214.70909178833099</c:v>
                </c:pt>
                <c:pt idx="501">
                  <c:v>209.84345530065301</c:v>
                </c:pt>
                <c:pt idx="502">
                  <c:v>205.45196735902201</c:v>
                </c:pt>
                <c:pt idx="503">
                  <c:v>200.23528273940201</c:v>
                </c:pt>
                <c:pt idx="504">
                  <c:v>197.369133482878</c:v>
                </c:pt>
                <c:pt idx="505">
                  <c:v>199.73838875631299</c:v>
                </c:pt>
                <c:pt idx="506">
                  <c:v>201.79092126516801</c:v>
                </c:pt>
                <c:pt idx="507">
                  <c:v>203.60721717669199</c:v>
                </c:pt>
                <c:pt idx="508">
                  <c:v>206.32909209578099</c:v>
                </c:pt>
                <c:pt idx="509">
                  <c:v>209.94757868297401</c:v>
                </c:pt>
                <c:pt idx="510">
                  <c:v>210.18914525296</c:v>
                </c:pt>
                <c:pt idx="511">
                  <c:v>209.66868631574999</c:v>
                </c:pt>
                <c:pt idx="512">
                  <c:v>208.11187206002199</c:v>
                </c:pt>
                <c:pt idx="513">
                  <c:v>214.191940938058</c:v>
                </c:pt>
                <c:pt idx="514">
                  <c:v>210.64199835321199</c:v>
                </c:pt>
                <c:pt idx="515">
                  <c:v>211.50644393550701</c:v>
                </c:pt>
                <c:pt idx="516">
                  <c:v>210.712137592912</c:v>
                </c:pt>
                <c:pt idx="517">
                  <c:v>192.53066040612299</c:v>
                </c:pt>
                <c:pt idx="518">
                  <c:v>202.975907563379</c:v>
                </c:pt>
                <c:pt idx="519">
                  <c:v>208.154512512976</c:v>
                </c:pt>
                <c:pt idx="520">
                  <c:v>209.790430644846</c:v>
                </c:pt>
                <c:pt idx="521">
                  <c:v>212.42647704067599</c:v>
                </c:pt>
                <c:pt idx="522">
                  <c:v>214.90916136788601</c:v>
                </c:pt>
                <c:pt idx="523">
                  <c:v>214.84527140445499</c:v>
                </c:pt>
                <c:pt idx="524">
                  <c:v>214.90446733138199</c:v>
                </c:pt>
                <c:pt idx="525">
                  <c:v>214.22177973914501</c:v>
                </c:pt>
                <c:pt idx="526">
                  <c:v>205.068833961038</c:v>
                </c:pt>
                <c:pt idx="527">
                  <c:v>186.77264306491301</c:v>
                </c:pt>
                <c:pt idx="528">
                  <c:v>189.914166041713</c:v>
                </c:pt>
                <c:pt idx="529">
                  <c:v>163.55443233067899</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189.69939529311799</c:v>
                </c:pt>
                <c:pt idx="543">
                  <c:v>184.97375638193299</c:v>
                </c:pt>
                <c:pt idx="544">
                  <c:v>184.94264355067</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175.08653427554799</c:v>
                </c:pt>
                <c:pt idx="571">
                  <c:v>179.611103427063</c:v>
                </c:pt>
                <c:pt idx="572">
                  <c:v>185.73023315803999</c:v>
                </c:pt>
                <c:pt idx="573">
                  <c:v>199.731652819185</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198.365242991006</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180.340262113184</c:v>
                </c:pt>
                <c:pt idx="603">
                  <c:v>177.11262035307701</c:v>
                </c:pt>
                <c:pt idx="604">
                  <c:v>185.058473237144</c:v>
                </c:pt>
                <c:pt idx="605">
                  <c:v>198.038747189525</c:v>
                </c:pt>
                <c:pt idx="606">
                  <c:v>190.40639698840801</c:v>
                </c:pt>
                <c:pt idx="607">
                  <c:v>135.461545377871</c:v>
                </c:pt>
                <c:pt idx="608">
                  <c:v>203.494331568908</c:v>
                </c:pt>
                <c:pt idx="609">
                  <c:v>199.05418758923099</c:v>
                </c:pt>
                <c:pt idx="610">
                  <c:v>182.56889224868601</c:v>
                </c:pt>
                <c:pt idx="611">
                  <c:v>172.564320917212</c:v>
                </c:pt>
                <c:pt idx="612">
                  <c:v>170.685156385721</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178.53512362924201</c:v>
                </c:pt>
                <c:pt idx="629">
                  <c:v>195.63474523749201</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178.070465936831</c:v>
                </c:pt>
                <c:pt idx="641">
                  <c:v>35.0224499773148</c:v>
                </c:pt>
                <c:pt idx="643">
                  <c:v>83.531049277316896</c:v>
                </c:pt>
                <c:pt idx="644">
                  <c:v>184.56771327403001</c:v>
                </c:pt>
                <c:pt idx="645">
                  <c:v>200.285270302383</c:v>
                </c:pt>
                <c:pt idx="646">
                  <c:v>199.50436093752501</c:v>
                </c:pt>
                <c:pt idx="647">
                  <c:v>199.78683609901699</c:v>
                </c:pt>
                <c:pt idx="648">
                  <c:v>200.17669418412899</c:v>
                </c:pt>
                <c:pt idx="649">
                  <c:v>201.80837143852801</c:v>
                </c:pt>
                <c:pt idx="650">
                  <c:v>200.307079736529</c:v>
                </c:pt>
                <c:pt idx="651">
                  <c:v>200.91932366613301</c:v>
                </c:pt>
                <c:pt idx="652">
                  <c:v>199.71928463089</c:v>
                </c:pt>
                <c:pt idx="653">
                  <c:v>199.72715825433099</c:v>
                </c:pt>
                <c:pt idx="654">
                  <c:v>200.47337203379101</c:v>
                </c:pt>
                <c:pt idx="655">
                  <c:v>186.36484504437999</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200.116867541311</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133.02832575859301</c:v>
                </c:pt>
                <c:pt idx="702">
                  <c:v>170.967465006097</c:v>
                </c:pt>
                <c:pt idx="703">
                  <c:v>194.82277440936701</c:v>
                </c:pt>
                <c:pt idx="704">
                  <c:v>195.698949010825</c:v>
                </c:pt>
                <c:pt idx="705">
                  <c:v>195.56037357538099</c:v>
                </c:pt>
                <c:pt idx="706">
                  <c:v>189.552547455704</c:v>
                </c:pt>
                <c:pt idx="707">
                  <c:v>185.11205439355501</c:v>
                </c:pt>
                <c:pt idx="708">
                  <c:v>196.461881726039</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199.08000130975199</c:v>
                </c:pt>
                <c:pt idx="719">
                  <c:v>198.654111100318</c:v>
                </c:pt>
                <c:pt idx="720">
                  <c:v>199.07211316560699</c:v>
                </c:pt>
                <c:pt idx="721">
                  <c:v>200.466453362854</c:v>
                </c:pt>
                <c:pt idx="722">
                  <c:v>198.15825906388699</c:v>
                </c:pt>
                <c:pt idx="723">
                  <c:v>194.26387662660301</c:v>
                </c:pt>
                <c:pt idx="724">
                  <c:v>159.72463653362999</c:v>
                </c:pt>
                <c:pt idx="725">
                  <c:v>-2.5501573389323799E-9</c:v>
                </c:pt>
                <c:pt idx="726">
                  <c:v>71.178680406847803</c:v>
                </c:pt>
                <c:pt idx="727">
                  <c:v>181.524668195239</c:v>
                </c:pt>
                <c:pt idx="728">
                  <c:v>196.47276508566799</c:v>
                </c:pt>
                <c:pt idx="729">
                  <c:v>199.847304953178</c:v>
                </c:pt>
                <c:pt idx="730">
                  <c:v>197.65918572191899</c:v>
                </c:pt>
                <c:pt idx="731">
                  <c:v>196.5943893063845</c:v>
                </c:pt>
                <c:pt idx="732">
                  <c:v>194.51249989842162</c:v>
                </c:pt>
                <c:pt idx="733">
                  <c:v>195.47466834948239</c:v>
                </c:pt>
                <c:pt idx="734">
                  <c:v>196.16422385037691</c:v>
                </c:pt>
                <c:pt idx="735">
                  <c:v>194.73202153113448</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111.28112512317084</c:v>
                </c:pt>
                <c:pt idx="790">
                  <c:v>183.63519228282792</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174.20444678136769</c:v>
                </c:pt>
                <c:pt idx="812">
                  <c:v>170.02985832780968</c:v>
                </c:pt>
                <c:pt idx="813">
                  <c:v>170.19158117597544</c:v>
                </c:pt>
                <c:pt idx="814">
                  <c:v>169.5931368174424</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160.60385763950646</c:v>
                </c:pt>
                <c:pt idx="829">
                  <c:v>160.15049111354321</c:v>
                </c:pt>
                <c:pt idx="830">
                  <c:v>163.10111823204591</c:v>
                </c:pt>
                <c:pt idx="831">
                  <c:v>162.49552817067033</c:v>
                </c:pt>
                <c:pt idx="832">
                  <c:v>164.06702012001867</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160.68117976442608</c:v>
                </c:pt>
                <c:pt idx="861">
                  <c:v>101.96828892676182</c:v>
                </c:pt>
                <c:pt idx="862">
                  <c:v>199.11097182949177</c:v>
                </c:pt>
                <c:pt idx="863">
                  <c:v>197.90826406043936</c:v>
                </c:pt>
                <c:pt idx="864">
                  <c:v>170.93069683413199</c:v>
                </c:pt>
                <c:pt idx="865">
                  <c:v>135.47799916344161</c:v>
                </c:pt>
                <c:pt idx="866">
                  <c:v>201.92772237426297</c:v>
                </c:pt>
                <c:pt idx="867">
                  <c:v>196.83810389292307</c:v>
                </c:pt>
                <c:pt idx="868">
                  <c:v>203.4938953563277</c:v>
                </c:pt>
                <c:pt idx="869">
                  <c:v>199.99858238075475</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190.69367953106632</c:v>
                </c:pt>
                <c:pt idx="895">
                  <c:v>190.99507929097189</c:v>
                </c:pt>
                <c:pt idx="896">
                  <c:v>195.79846682536672</c:v>
                </c:pt>
                <c:pt idx="897">
                  <c:v>190.0539120853183</c:v>
                </c:pt>
                <c:pt idx="898">
                  <c:v>179.54258888435314</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172.16082475612498</c:v>
                </c:pt>
                <c:pt idx="912">
                  <c:v>183.5784087816505</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157.72858441138965</c:v>
                </c:pt>
                <c:pt idx="925">
                  <c:v>165.53527531529423</c:v>
                </c:pt>
                <c:pt idx="926">
                  <c:v>186.86790401561026</c:v>
                </c:pt>
                <c:pt idx="927">
                  <c:v>198.25691933070721</c:v>
                </c:pt>
                <c:pt idx="928">
                  <c:v>195.85276737334419</c:v>
                </c:pt>
                <c:pt idx="929">
                  <c:v>166.78424912457371</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120.70595504451498</c:v>
                </c:pt>
                <c:pt idx="956">
                  <c:v>0.10269381774752381</c:v>
                </c:pt>
                <c:pt idx="957">
                  <c:v>91.927651254056613</c:v>
                </c:pt>
                <c:pt idx="958">
                  <c:v>142.80678165061826</c:v>
                </c:pt>
                <c:pt idx="959">
                  <c:v>192.4656875185255</c:v>
                </c:pt>
                <c:pt idx="960">
                  <c:v>190.17188343099733</c:v>
                </c:pt>
                <c:pt idx="961">
                  <c:v>196.77224301022241</c:v>
                </c:pt>
                <c:pt idx="962">
                  <c:v>195.21480039773192</c:v>
                </c:pt>
                <c:pt idx="963">
                  <c:v>179.49657280631141</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176.13062732573817</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182.20201487109492</c:v>
                </c:pt>
                <c:pt idx="1021">
                  <c:v>171.6300787578738</c:v>
                </c:pt>
                <c:pt idx="1022">
                  <c:v>182.8492835209826</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96.643294930628159</c:v>
                </c:pt>
                <c:pt idx="1032">
                  <c:v>173.28908123769781</c:v>
                </c:pt>
                <c:pt idx="1033">
                  <c:v>189.75289489076087</c:v>
                </c:pt>
                <c:pt idx="1034">
                  <c:v>194.21678639066241</c:v>
                </c:pt>
                <c:pt idx="1035">
                  <c:v>191.94066070613019</c:v>
                </c:pt>
                <c:pt idx="1036">
                  <c:v>181.09936127829653</c:v>
                </c:pt>
                <c:pt idx="1037">
                  <c:v>188.30530648196631</c:v>
                </c:pt>
                <c:pt idx="1038">
                  <c:v>183.32906990176988</c:v>
                </c:pt>
                <c:pt idx="1039">
                  <c:v>169.1998332501891</c:v>
                </c:pt>
                <c:pt idx="1040">
                  <c:v>147.8853599680393</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186.38615262093737</c:v>
                </c:pt>
                <c:pt idx="1052">
                  <c:v>180.01103621756548</c:v>
                </c:pt>
                <c:pt idx="1053">
                  <c:v>179.38999796040625</c:v>
                </c:pt>
                <c:pt idx="1054">
                  <c:v>170.66616217802033</c:v>
                </c:pt>
                <c:pt idx="1055">
                  <c:v>172.76375482356508</c:v>
                </c:pt>
                <c:pt idx="1056">
                  <c:v>185.83453848596551</c:v>
                </c:pt>
                <c:pt idx="1057">
                  <c:v>187.05240858007895</c:v>
                </c:pt>
                <c:pt idx="1058">
                  <c:v>171.05155633494076</c:v>
                </c:pt>
                <c:pt idx="1059">
                  <c:v>176.56895677067467</c:v>
                </c:pt>
                <c:pt idx="1060">
                  <c:v>188.96564296500739</c:v>
                </c:pt>
                <c:pt idx="1061">
                  <c:v>188.36963384658122</c:v>
                </c:pt>
                <c:pt idx="1062">
                  <c:v>187.24727744517713</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175.71996940048535</c:v>
                </c:pt>
                <c:pt idx="1071">
                  <c:v>174.31562083605635</c:v>
                </c:pt>
                <c:pt idx="1072">
                  <c:v>181.79563025720668</c:v>
                </c:pt>
                <c:pt idx="1073">
                  <c:v>181.57409208584204</c:v>
                </c:pt>
                <c:pt idx="1074">
                  <c:v>176.12905552827499</c:v>
                </c:pt>
                <c:pt idx="1075">
                  <c:v>167.41712213090335</c:v>
                </c:pt>
                <c:pt idx="1076">
                  <c:v>148.42618726013114</c:v>
                </c:pt>
                <c:pt idx="1077">
                  <c:v>158.86493140605128</c:v>
                </c:pt>
                <c:pt idx="1078">
                  <c:v>181.83919075656124</c:v>
                </c:pt>
                <c:pt idx="1079">
                  <c:v>179.92665631772826</c:v>
                </c:pt>
                <c:pt idx="1080">
                  <c:v>177.07717732998904</c:v>
                </c:pt>
                <c:pt idx="1081">
                  <c:v>169.47434599013408</c:v>
                </c:pt>
                <c:pt idx="1082">
                  <c:v>167.10507783739064</c:v>
                </c:pt>
                <c:pt idx="1083">
                  <c:v>142.63633816492805</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1F0D-482C-834E-B19A41BBDCA4}"/>
            </c:ext>
          </c:extLst>
        </c:ser>
        <c:dLbls>
          <c:showLegendKey val="0"/>
          <c:showVal val="0"/>
          <c:showCatName val="0"/>
          <c:showSerName val="0"/>
          <c:showPercent val="0"/>
          <c:showBubbleSize val="0"/>
        </c:dLbls>
        <c:axId val="55637135"/>
        <c:axId val="55647535"/>
      </c:scatterChart>
      <c:valAx>
        <c:axId val="55637135"/>
        <c:scaling>
          <c:orientation val="minMax"/>
          <c:max val="0.52"/>
          <c:min val="0.5"/>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647535"/>
        <c:crosses val="autoZero"/>
        <c:crossBetween val="midCat"/>
      </c:valAx>
      <c:valAx>
        <c:axId val="55647535"/>
        <c:scaling>
          <c:orientation val="minMax"/>
          <c:max val="220"/>
          <c:min val="18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637135"/>
        <c:crosses val="autoZero"/>
        <c:crossBetween val="midCat"/>
      </c:valAx>
      <c:spPr>
        <a:noFill/>
        <a:ln>
          <a:noFill/>
        </a:ln>
        <a:effectLst/>
      </c:spPr>
    </c:plotArea>
    <c:plotVisOnly val="1"/>
    <c:dispBlanksAs val="gap"/>
    <c:showDLblsOverMax val="0"/>
  </c:chart>
  <c:spPr>
    <a:noFill/>
    <a:ln w="9525">
      <a:solidFill>
        <a:schemeClr val="tx2"/>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spPr>
            <a:solidFill>
              <a:sysClr val="windowText" lastClr="000000">
                <a:lumMod val="50000"/>
                <a:lumOff val="50000"/>
              </a:sysClr>
            </a:solidFill>
            <a:ln>
              <a:solidFill>
                <a:schemeClr val="bg1"/>
              </a:solidFill>
            </a:ln>
            <a:effectLst/>
          </c:spPr>
          <c:invertIfNegative val="0"/>
          <c:dPt>
            <c:idx val="0"/>
            <c:invertIfNegative val="0"/>
            <c:bubble3D val="0"/>
            <c:spPr>
              <a:solidFill>
                <a:sysClr val="windowText" lastClr="000000">
                  <a:lumMod val="75000"/>
                  <a:lumOff val="25000"/>
                </a:sysClr>
              </a:solidFill>
              <a:ln>
                <a:solidFill>
                  <a:schemeClr val="bg1"/>
                </a:solidFill>
              </a:ln>
              <a:effectLst/>
            </c:spPr>
            <c:extLst>
              <c:ext xmlns:c16="http://schemas.microsoft.com/office/drawing/2014/chart" uri="{C3380CC4-5D6E-409C-BE32-E72D297353CC}">
                <c16:uniqueId val="{00000001-2B71-41BC-8C59-6070D8658382}"/>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2B71-41BC-8C59-6070D865838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J$8:$J$23</c:f>
              <c:strCache>
                <c:ptCount val="16"/>
                <c:pt idx="0">
                  <c:v>World</c:v>
                </c:pt>
                <c:pt idx="1">
                  <c:v>Mexico</c:v>
                </c:pt>
                <c:pt idx="2">
                  <c:v>Ukraine</c:v>
                </c:pt>
                <c:pt idx="3">
                  <c:v>Vietnam</c:v>
                </c:pt>
                <c:pt idx="4">
                  <c:v>Taiwan</c:v>
                </c:pt>
                <c:pt idx="5">
                  <c:v>Italy</c:v>
                </c:pt>
                <c:pt idx="6">
                  <c:v>Iran</c:v>
                </c:pt>
                <c:pt idx="7">
                  <c:v>Brazil</c:v>
                </c:pt>
                <c:pt idx="8">
                  <c:v>Germany</c:v>
                </c:pt>
                <c:pt idx="9">
                  <c:v>Turkey</c:v>
                </c:pt>
                <c:pt idx="10">
                  <c:v>South Korea</c:v>
                </c:pt>
                <c:pt idx="11">
                  <c:v>Russia</c:v>
                </c:pt>
                <c:pt idx="12">
                  <c:v>USA</c:v>
                </c:pt>
                <c:pt idx="13">
                  <c:v>Japan</c:v>
                </c:pt>
                <c:pt idx="14">
                  <c:v>India</c:v>
                </c:pt>
                <c:pt idx="15">
                  <c:v>China</c:v>
                </c:pt>
              </c:strCache>
            </c:strRef>
          </c:cat>
          <c:val>
            <c:numRef>
              <c:f>Sheet3!$K$8:$K$23</c:f>
              <c:numCache>
                <c:formatCode>General</c:formatCode>
                <c:ptCount val="16"/>
                <c:pt idx="0">
                  <c:v>70.8</c:v>
                </c:pt>
                <c:pt idx="1">
                  <c:v>15.9</c:v>
                </c:pt>
                <c:pt idx="2">
                  <c:v>76</c:v>
                </c:pt>
                <c:pt idx="3">
                  <c:v>35.6</c:v>
                </c:pt>
                <c:pt idx="4">
                  <c:v>60.5</c:v>
                </c:pt>
                <c:pt idx="5">
                  <c:v>16</c:v>
                </c:pt>
                <c:pt idx="6">
                  <c:v>9.6999999999999993</c:v>
                </c:pt>
                <c:pt idx="7">
                  <c:v>75.2</c:v>
                </c:pt>
                <c:pt idx="8">
                  <c:v>69.8</c:v>
                </c:pt>
                <c:pt idx="9">
                  <c:v>28.4</c:v>
                </c:pt>
                <c:pt idx="10">
                  <c:v>68.2</c:v>
                </c:pt>
                <c:pt idx="11">
                  <c:v>59</c:v>
                </c:pt>
                <c:pt idx="12">
                  <c:v>30.8</c:v>
                </c:pt>
                <c:pt idx="13">
                  <c:v>74.7</c:v>
                </c:pt>
                <c:pt idx="14">
                  <c:v>44.8</c:v>
                </c:pt>
                <c:pt idx="15">
                  <c:v>89.4</c:v>
                </c:pt>
              </c:numCache>
            </c:numRef>
          </c:val>
          <c:extLst>
            <c:ext xmlns:c16="http://schemas.microsoft.com/office/drawing/2014/chart" uri="{C3380CC4-5D6E-409C-BE32-E72D297353CC}">
              <c16:uniqueId val="{00000002-2B71-41BC-8C59-6070D8658382}"/>
            </c:ext>
          </c:extLst>
        </c:ser>
        <c:ser>
          <c:idx val="1"/>
          <c:order val="1"/>
          <c:spPr>
            <a:solidFill>
              <a:srgbClr val="0070C0"/>
            </a:solidFill>
            <a:ln>
              <a:solidFill>
                <a:schemeClr val="bg1"/>
              </a:solidFill>
            </a:ln>
            <a:effectLst/>
          </c:spPr>
          <c:invertIfNegative val="0"/>
          <c:dPt>
            <c:idx val="0"/>
            <c:invertIfNegative val="0"/>
            <c:bubble3D val="0"/>
            <c:spPr>
              <a:solidFill>
                <a:srgbClr val="004A82"/>
              </a:solidFill>
              <a:ln>
                <a:solidFill>
                  <a:schemeClr val="bg1"/>
                </a:solidFill>
              </a:ln>
              <a:effectLst/>
            </c:spPr>
            <c:extLst>
              <c:ext xmlns:c16="http://schemas.microsoft.com/office/drawing/2014/chart" uri="{C3380CC4-5D6E-409C-BE32-E72D297353CC}">
                <c16:uniqueId val="{00000004-2B71-41BC-8C59-6070D8658382}"/>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4-2B71-41BC-8C59-6070D865838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J$8:$J$23</c:f>
              <c:strCache>
                <c:ptCount val="16"/>
                <c:pt idx="0">
                  <c:v>World</c:v>
                </c:pt>
                <c:pt idx="1">
                  <c:v>Mexico</c:v>
                </c:pt>
                <c:pt idx="2">
                  <c:v>Ukraine</c:v>
                </c:pt>
                <c:pt idx="3">
                  <c:v>Vietnam</c:v>
                </c:pt>
                <c:pt idx="4">
                  <c:v>Taiwan</c:v>
                </c:pt>
                <c:pt idx="5">
                  <c:v>Italy</c:v>
                </c:pt>
                <c:pt idx="6">
                  <c:v>Iran</c:v>
                </c:pt>
                <c:pt idx="7">
                  <c:v>Brazil</c:v>
                </c:pt>
                <c:pt idx="8">
                  <c:v>Germany</c:v>
                </c:pt>
                <c:pt idx="9">
                  <c:v>Turkey</c:v>
                </c:pt>
                <c:pt idx="10">
                  <c:v>South Korea</c:v>
                </c:pt>
                <c:pt idx="11">
                  <c:v>Russia</c:v>
                </c:pt>
                <c:pt idx="12">
                  <c:v>USA</c:v>
                </c:pt>
                <c:pt idx="13">
                  <c:v>Japan</c:v>
                </c:pt>
                <c:pt idx="14">
                  <c:v>India</c:v>
                </c:pt>
                <c:pt idx="15">
                  <c:v>China</c:v>
                </c:pt>
              </c:strCache>
            </c:strRef>
          </c:cat>
          <c:val>
            <c:numRef>
              <c:f>Sheet3!$L$8:$L$23</c:f>
              <c:numCache>
                <c:formatCode>General</c:formatCode>
                <c:ptCount val="16"/>
                <c:pt idx="0">
                  <c:v>29.200000000000003</c:v>
                </c:pt>
                <c:pt idx="1">
                  <c:v>84.1</c:v>
                </c:pt>
                <c:pt idx="2">
                  <c:v>24</c:v>
                </c:pt>
                <c:pt idx="3">
                  <c:v>64.400000000000006</c:v>
                </c:pt>
                <c:pt idx="4">
                  <c:v>39.5</c:v>
                </c:pt>
                <c:pt idx="5">
                  <c:v>84</c:v>
                </c:pt>
                <c:pt idx="6">
                  <c:v>90.3</c:v>
                </c:pt>
                <c:pt idx="7">
                  <c:v>24.799999999999997</c:v>
                </c:pt>
                <c:pt idx="8">
                  <c:v>30.200000000000003</c:v>
                </c:pt>
                <c:pt idx="9">
                  <c:v>71.599999999999994</c:v>
                </c:pt>
                <c:pt idx="10">
                  <c:v>31.799999999999997</c:v>
                </c:pt>
                <c:pt idx="11">
                  <c:v>41</c:v>
                </c:pt>
                <c:pt idx="12">
                  <c:v>69.2</c:v>
                </c:pt>
                <c:pt idx="13">
                  <c:v>25.299999999999997</c:v>
                </c:pt>
                <c:pt idx="14">
                  <c:v>55.2</c:v>
                </c:pt>
                <c:pt idx="15">
                  <c:v>10.599999999999994</c:v>
                </c:pt>
              </c:numCache>
            </c:numRef>
          </c:val>
          <c:extLst>
            <c:ext xmlns:c16="http://schemas.microsoft.com/office/drawing/2014/chart" uri="{C3380CC4-5D6E-409C-BE32-E72D297353CC}">
              <c16:uniqueId val="{00000005-2B71-41BC-8C59-6070D8658382}"/>
            </c:ext>
          </c:extLst>
        </c:ser>
        <c:dLbls>
          <c:showLegendKey val="0"/>
          <c:showVal val="0"/>
          <c:showCatName val="0"/>
          <c:showSerName val="0"/>
          <c:showPercent val="0"/>
          <c:showBubbleSize val="0"/>
        </c:dLbls>
        <c:gapWidth val="0"/>
        <c:overlap val="100"/>
        <c:axId val="638628416"/>
        <c:axId val="638632160"/>
      </c:barChart>
      <c:catAx>
        <c:axId val="638628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638632160"/>
        <c:crosses val="autoZero"/>
        <c:auto val="1"/>
        <c:lblAlgn val="ctr"/>
        <c:lblOffset val="100"/>
        <c:noMultiLvlLbl val="0"/>
      </c:catAx>
      <c:valAx>
        <c:axId val="638632160"/>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63862841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0" i="0" baseline="0">
                <a:effectLst/>
              </a:rPr>
              <a:t>CDI (kg) v/s Hot Metal Production tons/day </a:t>
            </a:r>
            <a:endParaRPr lang="en-US">
              <a:effectLst/>
            </a:endParaRPr>
          </a:p>
        </c:rich>
      </c:tx>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2!$D$3:$D$1098</c:f>
              <c:numCache>
                <c:formatCode>0</c:formatCode>
                <c:ptCount val="1096"/>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Sheet2!$G$3:$G$1098</c:f>
              <c:numCache>
                <c:formatCode>General</c:formatCode>
                <c:ptCount val="1096"/>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N/A</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N/A</c:v>
                </c:pt>
                <c:pt idx="18">
                  <c:v>#N/A</c:v>
                </c:pt>
                <c:pt idx="19">
                  <c:v>200.17306711282052</c:v>
                </c:pt>
                <c:pt idx="20">
                  <c:v>204.4587150016421</c:v>
                </c:pt>
                <c:pt idx="21">
                  <c:v>204.3411578349818</c:v>
                </c:pt>
                <c:pt idx="22">
                  <c:v>205.39641517325504</c:v>
                </c:pt>
                <c:pt idx="23">
                  <c:v>#N/A</c:v>
                </c:pt>
                <c:pt idx="24">
                  <c:v>210.1118244813469</c:v>
                </c:pt>
                <c:pt idx="25">
                  <c:v>#N/A</c:v>
                </c:pt>
                <c:pt idx="26">
                  <c:v>#N/A</c:v>
                </c:pt>
                <c:pt idx="27">
                  <c:v>#N/A</c:v>
                </c:pt>
                <c:pt idx="28">
                  <c:v>203.54901586662913</c:v>
                </c:pt>
                <c:pt idx="29">
                  <c:v>205.44527388108517</c:v>
                </c:pt>
                <c:pt idx="30">
                  <c:v>198.80113941896195</c:v>
                </c:pt>
                <c:pt idx="31">
                  <c:v>208.3547156699791</c:v>
                </c:pt>
                <c:pt idx="32">
                  <c:v>#N/A</c:v>
                </c:pt>
                <c:pt idx="33">
                  <c:v>196.03589432171418</c:v>
                </c:pt>
                <c:pt idx="34">
                  <c:v>182.5595009983401</c:v>
                </c:pt>
                <c:pt idx="35">
                  <c:v>183</c:v>
                </c:pt>
                <c:pt idx="36">
                  <c:v>190.2037903840403</c:v>
                </c:pt>
                <c:pt idx="37">
                  <c:v>#N/A</c:v>
                </c:pt>
                <c:pt idx="38">
                  <c:v>204.4456666396741</c:v>
                </c:pt>
                <c:pt idx="39">
                  <c:v>199.0306694122568</c:v>
                </c:pt>
                <c:pt idx="40">
                  <c:v>199.40765687845391</c:v>
                </c:pt>
                <c:pt idx="41">
                  <c:v>197.89153341741755</c:v>
                </c:pt>
                <c:pt idx="42">
                  <c:v>188.00692709323579</c:v>
                </c:pt>
                <c:pt idx="43">
                  <c:v>178.62371304274293</c:v>
                </c:pt>
                <c:pt idx="44">
                  <c:v>157.1835588434451</c:v>
                </c:pt>
                <c:pt idx="45">
                  <c:v>#N/A</c:v>
                </c:pt>
                <c:pt idx="46">
                  <c:v>#N/A</c:v>
                </c:pt>
                <c:pt idx="47">
                  <c:v>168.17878837871211</c:v>
                </c:pt>
                <c:pt idx="48">
                  <c:v>#N/A</c:v>
                </c:pt>
                <c:pt idx="49">
                  <c:v>186.06141522536356</c:v>
                </c:pt>
                <c:pt idx="50">
                  <c:v>#N/A</c:v>
                </c:pt>
                <c:pt idx="51">
                  <c:v>193.26092064238506</c:v>
                </c:pt>
                <c:pt idx="52">
                  <c:v>194.88152309283421</c:v>
                </c:pt>
                <c:pt idx="53">
                  <c:v>204.16933157639949</c:v>
                </c:pt>
                <c:pt idx="54">
                  <c:v>#N/A</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N/A</c:v>
                </c:pt>
                <c:pt idx="69">
                  <c:v>#N/A</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N/A</c:v>
                </c:pt>
                <c:pt idx="110">
                  <c:v>204.59989468205592</c:v>
                </c:pt>
                <c:pt idx="111">
                  <c:v>205.42229572465371</c:v>
                </c:pt>
                <c:pt idx="112">
                  <c:v>193.70361963208651</c:v>
                </c:pt>
                <c:pt idx="113">
                  <c:v>#N/A</c:v>
                </c:pt>
                <c:pt idx="114">
                  <c:v>198.05574008021773</c:v>
                </c:pt>
                <c:pt idx="115">
                  <c:v>#N/A</c:v>
                </c:pt>
                <c:pt idx="116">
                  <c:v>203.99336148504639</c:v>
                </c:pt>
                <c:pt idx="117">
                  <c:v>#N/A</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N/A</c:v>
                </c:pt>
                <c:pt idx="146">
                  <c:v>#N/A</c:v>
                </c:pt>
                <c:pt idx="147">
                  <c:v>#N/A</c:v>
                </c:pt>
                <c:pt idx="148">
                  <c:v>#N/A</c:v>
                </c:pt>
                <c:pt idx="149">
                  <c:v>0</c:v>
                </c:pt>
                <c:pt idx="150">
                  <c:v>#N/A</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N/A</c:v>
                </c:pt>
                <c:pt idx="160">
                  <c:v>#N/A</c:v>
                </c:pt>
                <c:pt idx="161">
                  <c:v>181.94320776918099</c:v>
                </c:pt>
                <c:pt idx="162">
                  <c:v>191.74179510009</c:v>
                </c:pt>
                <c:pt idx="163">
                  <c:v>197.45405984671601</c:v>
                </c:pt>
                <c:pt idx="164">
                  <c:v>208.24809973350699</c:v>
                </c:pt>
                <c:pt idx="165">
                  <c:v>209.336772296264</c:v>
                </c:pt>
                <c:pt idx="166">
                  <c:v>206.93214712700799</c:v>
                </c:pt>
                <c:pt idx="167">
                  <c:v>208.23197421418899</c:v>
                </c:pt>
                <c:pt idx="168">
                  <c:v>#N/A</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N/A</c:v>
                </c:pt>
                <c:pt idx="178">
                  <c:v>202.564554544923</c:v>
                </c:pt>
                <c:pt idx="179">
                  <c:v>#N/A</c:v>
                </c:pt>
                <c:pt idx="180">
                  <c:v>202.48205478732899</c:v>
                </c:pt>
                <c:pt idx="181">
                  <c:v>210.50410235335701</c:v>
                </c:pt>
                <c:pt idx="182">
                  <c:v>206.72212819481999</c:v>
                </c:pt>
                <c:pt idx="183">
                  <c:v>#N/A</c:v>
                </c:pt>
                <c:pt idx="184">
                  <c:v>195.41703532181401</c:v>
                </c:pt>
                <c:pt idx="185">
                  <c:v>194.76924152241099</c:v>
                </c:pt>
                <c:pt idx="186">
                  <c:v>#N/A</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N/A</c:v>
                </c:pt>
                <c:pt idx="201">
                  <c:v>210.20412866665799</c:v>
                </c:pt>
                <c:pt idx="202">
                  <c:v>199.70215738161301</c:v>
                </c:pt>
                <c:pt idx="203">
                  <c:v>190.647296690302</c:v>
                </c:pt>
                <c:pt idx="204">
                  <c:v>197.72543263838301</c:v>
                </c:pt>
                <c:pt idx="205">
                  <c:v>196.93914842305901</c:v>
                </c:pt>
                <c:pt idx="206">
                  <c:v>196.72991510273701</c:v>
                </c:pt>
                <c:pt idx="207">
                  <c:v>#N/A</c:v>
                </c:pt>
                <c:pt idx="208">
                  <c:v>208.83200254090801</c:v>
                </c:pt>
                <c:pt idx="209">
                  <c:v>#N/A</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N/A</c:v>
                </c:pt>
                <c:pt idx="220">
                  <c:v>211.59340286438601</c:v>
                </c:pt>
                <c:pt idx="221">
                  <c:v>209.14073880869799</c:v>
                </c:pt>
                <c:pt idx="222">
                  <c:v>203.12033249689401</c:v>
                </c:pt>
                <c:pt idx="223">
                  <c:v>#N/A</c:v>
                </c:pt>
                <c:pt idx="224">
                  <c:v>211.81077765009499</c:v>
                </c:pt>
                <c:pt idx="225">
                  <c:v>211.32603242399199</c:v>
                </c:pt>
                <c:pt idx="226">
                  <c:v>198.47818272088901</c:v>
                </c:pt>
                <c:pt idx="227">
                  <c:v>210.12645670348999</c:v>
                </c:pt>
                <c:pt idx="228">
                  <c:v>204.110230037799</c:v>
                </c:pt>
                <c:pt idx="229">
                  <c:v>196.75329555706</c:v>
                </c:pt>
                <c:pt idx="230">
                  <c:v>#N/A</c:v>
                </c:pt>
                <c:pt idx="231">
                  <c:v>197.34498332552201</c:v>
                </c:pt>
                <c:pt idx="232">
                  <c:v>#N/A</c:v>
                </c:pt>
                <c:pt idx="233">
                  <c:v>195.64953782477599</c:v>
                </c:pt>
                <c:pt idx="234">
                  <c:v>203.959943500392</c:v>
                </c:pt>
                <c:pt idx="235">
                  <c:v>#N/A</c:v>
                </c:pt>
                <c:pt idx="236">
                  <c:v>190.793168397024</c:v>
                </c:pt>
                <c:pt idx="237">
                  <c:v>202.394235923297</c:v>
                </c:pt>
                <c:pt idx="238">
                  <c:v>#N/A</c:v>
                </c:pt>
                <c:pt idx="239">
                  <c:v>195.48295273423599</c:v>
                </c:pt>
                <c:pt idx="240">
                  <c:v>172.15223546562399</c:v>
                </c:pt>
                <c:pt idx="241">
                  <c:v>170.48176291699201</c:v>
                </c:pt>
                <c:pt idx="242">
                  <c:v>181.93214392793399</c:v>
                </c:pt>
                <c:pt idx="243">
                  <c:v>179.612415507425</c:v>
                </c:pt>
                <c:pt idx="244">
                  <c:v>174.472774488119</c:v>
                </c:pt>
                <c:pt idx="245">
                  <c:v>117.74555131036399</c:v>
                </c:pt>
                <c:pt idx="246">
                  <c:v>#N/A</c:v>
                </c:pt>
                <c:pt idx="247">
                  <c:v>#N/A</c:v>
                </c:pt>
                <c:pt idx="248">
                  <c:v>#N/A</c:v>
                </c:pt>
                <c:pt idx="249">
                  <c:v>#N/A</c:v>
                </c:pt>
                <c:pt idx="250">
                  <c:v>149.83854421042</c:v>
                </c:pt>
                <c:pt idx="251">
                  <c:v>#N/A</c:v>
                </c:pt>
                <c:pt idx="252">
                  <c:v>171.64255227816301</c:v>
                </c:pt>
                <c:pt idx="253">
                  <c:v>170.05826919215099</c:v>
                </c:pt>
                <c:pt idx="254">
                  <c:v>#N/A</c:v>
                </c:pt>
                <c:pt idx="255">
                  <c:v>#N/A</c:v>
                </c:pt>
                <c:pt idx="256">
                  <c:v>#N/A</c:v>
                </c:pt>
                <c:pt idx="257">
                  <c:v>208.80892981364201</c:v>
                </c:pt>
                <c:pt idx="258">
                  <c:v>191.54506271347</c:v>
                </c:pt>
                <c:pt idx="259">
                  <c:v>100.379153832909</c:v>
                </c:pt>
                <c:pt idx="260">
                  <c:v>#N/A</c:v>
                </c:pt>
                <c:pt idx="261">
                  <c:v>173.39193134753299</c:v>
                </c:pt>
                <c:pt idx="262">
                  <c:v>184.46046040777</c:v>
                </c:pt>
                <c:pt idx="263">
                  <c:v>176.59625965425201</c:v>
                </c:pt>
                <c:pt idx="264">
                  <c:v>#N/A</c:v>
                </c:pt>
                <c:pt idx="265">
                  <c:v>189.966517129848</c:v>
                </c:pt>
                <c:pt idx="266">
                  <c:v>193.56260335391801</c:v>
                </c:pt>
                <c:pt idx="267">
                  <c:v>#N/A</c:v>
                </c:pt>
                <c:pt idx="268">
                  <c:v>205.907457880826</c:v>
                </c:pt>
                <c:pt idx="269">
                  <c:v>202.97785964145299</c:v>
                </c:pt>
                <c:pt idx="270">
                  <c:v>199.937482425881</c:v>
                </c:pt>
                <c:pt idx="271">
                  <c:v>#N/A</c:v>
                </c:pt>
                <c:pt idx="272">
                  <c:v>#N/A</c:v>
                </c:pt>
                <c:pt idx="273">
                  <c:v>210.25017162800501</c:v>
                </c:pt>
                <c:pt idx="274">
                  <c:v>199.802347634901</c:v>
                </c:pt>
                <c:pt idx="275">
                  <c:v>197.2399877933</c:v>
                </c:pt>
                <c:pt idx="276">
                  <c:v>198.67665657612599</c:v>
                </c:pt>
                <c:pt idx="277">
                  <c:v>194.23131899335601</c:v>
                </c:pt>
                <c:pt idx="278">
                  <c:v>185.20579750444199</c:v>
                </c:pt>
                <c:pt idx="279">
                  <c:v>#N/A</c:v>
                </c:pt>
                <c:pt idx="280">
                  <c:v>213.780016927952</c:v>
                </c:pt>
                <c:pt idx="281">
                  <c:v>#N/A</c:v>
                </c:pt>
                <c:pt idx="282">
                  <c:v>#N/A</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N/A</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N/A</c:v>
                </c:pt>
                <c:pt idx="335">
                  <c:v>#N/A</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N/A</c:v>
                </c:pt>
                <c:pt idx="357">
                  <c:v>#N/A</c:v>
                </c:pt>
                <c:pt idx="358">
                  <c:v>195.48047291531901</c:v>
                </c:pt>
                <c:pt idx="359">
                  <c:v>213.42871447377101</c:v>
                </c:pt>
                <c:pt idx="360">
                  <c:v>214.579969931638</c:v>
                </c:pt>
                <c:pt idx="361">
                  <c:v>210.05308815120301</c:v>
                </c:pt>
                <c:pt idx="362">
                  <c:v>202.591847461756</c:v>
                </c:pt>
                <c:pt idx="363">
                  <c:v>#N/A</c:v>
                </c:pt>
                <c:pt idx="364">
                  <c:v>95.0082083065018</c:v>
                </c:pt>
                <c:pt idx="365">
                  <c:v>#N/A</c:v>
                </c:pt>
                <c:pt idx="366">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N/A</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N/A</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N/A</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N/A</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N/A</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N/A</c:v>
                </c:pt>
                <c:pt idx="454">
                  <c:v>#N/A</c:v>
                </c:pt>
                <c:pt idx="455">
                  <c:v>#N/A</c:v>
                </c:pt>
                <c:pt idx="456">
                  <c:v>#N/A</c:v>
                </c:pt>
                <c:pt idx="457">
                  <c:v>#N/A</c:v>
                </c:pt>
                <c:pt idx="458">
                  <c:v>#N/A</c:v>
                </c:pt>
                <c:pt idx="459">
                  <c:v>#N/A</c:v>
                </c:pt>
                <c:pt idx="460">
                  <c:v>#N/A</c:v>
                </c:pt>
                <c:pt idx="461">
                  <c:v>#N/A</c:v>
                </c:pt>
                <c:pt idx="462">
                  <c:v>#N/A</c:v>
                </c:pt>
                <c:pt idx="463">
                  <c:v>#N/A</c:v>
                </c:pt>
                <c:pt idx="464">
                  <c:v>212.849607368845</c:v>
                </c:pt>
                <c:pt idx="465">
                  <c:v>211.68618011279199</c:v>
                </c:pt>
                <c:pt idx="466">
                  <c:v>203.01595913883901</c:v>
                </c:pt>
                <c:pt idx="467">
                  <c:v>127.938194657867</c:v>
                </c:pt>
                <c:pt idx="468">
                  <c:v>#N/A</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N/A</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N/A</c:v>
                </c:pt>
                <c:pt idx="496">
                  <c:v>#N/A</c:v>
                </c:pt>
                <c:pt idx="497">
                  <c:v>#N/A</c:v>
                </c:pt>
                <c:pt idx="498">
                  <c:v>#N/A</c:v>
                </c:pt>
                <c:pt idx="499">
                  <c:v>#N/A</c:v>
                </c:pt>
                <c:pt idx="500">
                  <c:v>#N/A</c:v>
                </c:pt>
                <c:pt idx="501">
                  <c:v>209.84345530065301</c:v>
                </c:pt>
                <c:pt idx="502">
                  <c:v>205.45196735902201</c:v>
                </c:pt>
                <c:pt idx="503">
                  <c:v>200.23528273940201</c:v>
                </c:pt>
                <c:pt idx="504">
                  <c:v>197.369133482878</c:v>
                </c:pt>
                <c:pt idx="505">
                  <c:v>199.73838875631299</c:v>
                </c:pt>
                <c:pt idx="506">
                  <c:v>#N/A</c:v>
                </c:pt>
                <c:pt idx="507">
                  <c:v>203.60721717669199</c:v>
                </c:pt>
                <c:pt idx="508">
                  <c:v>#N/A</c:v>
                </c:pt>
                <c:pt idx="509">
                  <c:v>209.94757868297401</c:v>
                </c:pt>
                <c:pt idx="510">
                  <c:v>210.18914525296</c:v>
                </c:pt>
                <c:pt idx="511">
                  <c:v>209.66868631574999</c:v>
                </c:pt>
                <c:pt idx="512">
                  <c:v>#N/A</c:v>
                </c:pt>
                <c:pt idx="513">
                  <c:v>#N/A</c:v>
                </c:pt>
                <c:pt idx="514">
                  <c:v>#N/A</c:v>
                </c:pt>
                <c:pt idx="515">
                  <c:v>#N/A</c:v>
                </c:pt>
                <c:pt idx="516">
                  <c:v>#N/A</c:v>
                </c:pt>
                <c:pt idx="517">
                  <c:v>192.53066040612299</c:v>
                </c:pt>
                <c:pt idx="518">
                  <c:v>202.975907563379</c:v>
                </c:pt>
                <c:pt idx="519">
                  <c:v>208.154512512976</c:v>
                </c:pt>
                <c:pt idx="520">
                  <c:v>209.790430644846</c:v>
                </c:pt>
                <c:pt idx="521">
                  <c:v>212.42647704067599</c:v>
                </c:pt>
                <c:pt idx="522">
                  <c:v>#N/A</c:v>
                </c:pt>
                <c:pt idx="523">
                  <c:v>#N/A</c:v>
                </c:pt>
                <c:pt idx="524">
                  <c:v>#N/A</c:v>
                </c:pt>
                <c:pt idx="525">
                  <c:v>#N/A</c:v>
                </c:pt>
                <c:pt idx="526">
                  <c:v>205.068833961038</c:v>
                </c:pt>
                <c:pt idx="527">
                  <c:v>186.77264306491301</c:v>
                </c:pt>
                <c:pt idx="528">
                  <c:v>189.914166041713</c:v>
                </c:pt>
                <c:pt idx="529">
                  <c:v>#N/A</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N/A</c:v>
                </c:pt>
                <c:pt idx="543">
                  <c:v>184.97375638193299</c:v>
                </c:pt>
                <c:pt idx="544">
                  <c:v>#N/A</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N/A</c:v>
                </c:pt>
                <c:pt idx="571">
                  <c:v>179.611103427063</c:v>
                </c:pt>
                <c:pt idx="572">
                  <c:v>#N/A</c:v>
                </c:pt>
                <c:pt idx="573">
                  <c:v>#N/A</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N/A</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N/A</c:v>
                </c:pt>
                <c:pt idx="603">
                  <c:v>177.11262035307701</c:v>
                </c:pt>
                <c:pt idx="604">
                  <c:v>185.058473237144</c:v>
                </c:pt>
                <c:pt idx="605">
                  <c:v>198.038747189525</c:v>
                </c:pt>
                <c:pt idx="606">
                  <c:v>190.40639698840801</c:v>
                </c:pt>
                <c:pt idx="607">
                  <c:v>#N/A</c:v>
                </c:pt>
                <c:pt idx="608">
                  <c:v>203.494331568908</c:v>
                </c:pt>
                <c:pt idx="609">
                  <c:v>199.05418758923099</c:v>
                </c:pt>
                <c:pt idx="610">
                  <c:v>182.56889224868601</c:v>
                </c:pt>
                <c:pt idx="611">
                  <c:v>#N/A</c:v>
                </c:pt>
                <c:pt idx="612">
                  <c:v>#N/A</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N/A</c:v>
                </c:pt>
                <c:pt idx="629">
                  <c:v>#N/A</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N/A</c:v>
                </c:pt>
                <c:pt idx="641">
                  <c:v>#N/A</c:v>
                </c:pt>
                <c:pt idx="642">
                  <c:v>#N/A</c:v>
                </c:pt>
                <c:pt idx="643">
                  <c:v>#N/A</c:v>
                </c:pt>
                <c:pt idx="644">
                  <c:v>184.56771327403001</c:v>
                </c:pt>
                <c:pt idx="645">
                  <c:v>#N/A</c:v>
                </c:pt>
                <c:pt idx="646">
                  <c:v>#N/A</c:v>
                </c:pt>
                <c:pt idx="647">
                  <c:v>#N/A</c:v>
                </c:pt>
                <c:pt idx="648">
                  <c:v>#N/A</c:v>
                </c:pt>
                <c:pt idx="649">
                  <c:v>201.80837143852801</c:v>
                </c:pt>
                <c:pt idx="650">
                  <c:v>#N/A</c:v>
                </c:pt>
                <c:pt idx="651">
                  <c:v>200.91932366613301</c:v>
                </c:pt>
                <c:pt idx="652">
                  <c:v>199.71928463089</c:v>
                </c:pt>
                <c:pt idx="653">
                  <c:v>199.72715825433099</c:v>
                </c:pt>
                <c:pt idx="654">
                  <c:v>200.47337203379101</c:v>
                </c:pt>
                <c:pt idx="655">
                  <c:v>#N/A</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N/A</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N/A</c:v>
                </c:pt>
                <c:pt idx="702">
                  <c:v>170.967465006097</c:v>
                </c:pt>
                <c:pt idx="703">
                  <c:v>194.82277440936701</c:v>
                </c:pt>
                <c:pt idx="704">
                  <c:v>195.698949010825</c:v>
                </c:pt>
                <c:pt idx="705">
                  <c:v>195.56037357538099</c:v>
                </c:pt>
                <c:pt idx="706">
                  <c:v>189.552547455704</c:v>
                </c:pt>
                <c:pt idx="707">
                  <c:v>#N/A</c:v>
                </c:pt>
                <c:pt idx="708">
                  <c:v>#N/A</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N/A</c:v>
                </c:pt>
                <c:pt idx="719">
                  <c:v>198.654111100318</c:v>
                </c:pt>
                <c:pt idx="720">
                  <c:v>199.07211316560699</c:v>
                </c:pt>
                <c:pt idx="721">
                  <c:v>200.466453362854</c:v>
                </c:pt>
                <c:pt idx="722">
                  <c:v>198.15825906388699</c:v>
                </c:pt>
                <c:pt idx="723">
                  <c:v>194.26387662660301</c:v>
                </c:pt>
                <c:pt idx="724">
                  <c:v>159.72463653362999</c:v>
                </c:pt>
                <c:pt idx="725">
                  <c:v>#N/A</c:v>
                </c:pt>
                <c:pt idx="726">
                  <c:v>#N/A</c:v>
                </c:pt>
                <c:pt idx="727">
                  <c:v>#N/A</c:v>
                </c:pt>
                <c:pt idx="728">
                  <c:v>196.47276508566799</c:v>
                </c:pt>
                <c:pt idx="729">
                  <c:v>199.847304953178</c:v>
                </c:pt>
                <c:pt idx="730">
                  <c:v>197.65918572191899</c:v>
                </c:pt>
                <c:pt idx="731">
                  <c:v>196.5943893063845</c:v>
                </c:pt>
                <c:pt idx="732">
                  <c:v>194.51249989842162</c:v>
                </c:pt>
                <c:pt idx="733">
                  <c:v>195.47466834948239</c:v>
                </c:pt>
                <c:pt idx="734">
                  <c:v>196.16422385037691</c:v>
                </c:pt>
                <c:pt idx="735">
                  <c:v>#N/A</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N/A</c:v>
                </c:pt>
                <c:pt idx="790">
                  <c:v>#N/A</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N/A</c:v>
                </c:pt>
                <c:pt idx="812">
                  <c:v>#N/A</c:v>
                </c:pt>
                <c:pt idx="813">
                  <c:v>170.19158117597544</c:v>
                </c:pt>
                <c:pt idx="814">
                  <c:v>#N/A</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N/A</c:v>
                </c:pt>
                <c:pt idx="829">
                  <c:v>160.15049111354321</c:v>
                </c:pt>
                <c:pt idx="830">
                  <c:v>163.10111823204591</c:v>
                </c:pt>
                <c:pt idx="831">
                  <c:v>162.49552817067033</c:v>
                </c:pt>
                <c:pt idx="832">
                  <c:v>#N/A</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N/A</c:v>
                </c:pt>
                <c:pt idx="861">
                  <c:v>#N/A</c:v>
                </c:pt>
                <c:pt idx="862">
                  <c:v>#N/A</c:v>
                </c:pt>
                <c:pt idx="863">
                  <c:v>197.90826406043936</c:v>
                </c:pt>
                <c:pt idx="864">
                  <c:v>#N/A</c:v>
                </c:pt>
                <c:pt idx="865">
                  <c:v>#N/A</c:v>
                </c:pt>
                <c:pt idx="866">
                  <c:v>201.92772237426297</c:v>
                </c:pt>
                <c:pt idx="867">
                  <c:v>196.83810389292307</c:v>
                </c:pt>
                <c:pt idx="868">
                  <c:v>#N/A</c:v>
                </c:pt>
                <c:pt idx="869">
                  <c:v>#N/A</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N/A</c:v>
                </c:pt>
                <c:pt idx="895">
                  <c:v>190.99507929097189</c:v>
                </c:pt>
                <c:pt idx="896">
                  <c:v>195.79846682536672</c:v>
                </c:pt>
                <c:pt idx="897">
                  <c:v>190.0539120853183</c:v>
                </c:pt>
                <c:pt idx="898">
                  <c:v>#N/A</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N/A</c:v>
                </c:pt>
                <c:pt idx="912">
                  <c:v>#N/A</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N/A</c:v>
                </c:pt>
                <c:pt idx="925">
                  <c:v>165.53527531529423</c:v>
                </c:pt>
                <c:pt idx="926">
                  <c:v>186.86790401561026</c:v>
                </c:pt>
                <c:pt idx="927">
                  <c:v>198.25691933070721</c:v>
                </c:pt>
                <c:pt idx="928">
                  <c:v>195.85276737334419</c:v>
                </c:pt>
                <c:pt idx="929">
                  <c:v>#N/A</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N/A</c:v>
                </c:pt>
                <c:pt idx="956">
                  <c:v>#N/A</c:v>
                </c:pt>
                <c:pt idx="957">
                  <c:v>#N/A</c:v>
                </c:pt>
                <c:pt idx="958">
                  <c:v>#N/A</c:v>
                </c:pt>
                <c:pt idx="959">
                  <c:v>192.4656875185255</c:v>
                </c:pt>
                <c:pt idx="960">
                  <c:v>#N/A</c:v>
                </c:pt>
                <c:pt idx="961">
                  <c:v>196.77224301022241</c:v>
                </c:pt>
                <c:pt idx="962">
                  <c:v>#N/A</c:v>
                </c:pt>
                <c:pt idx="963">
                  <c:v>#N/A</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N/A</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N/A</c:v>
                </c:pt>
                <c:pt idx="1021">
                  <c:v>#N/A</c:v>
                </c:pt>
                <c:pt idx="1022">
                  <c:v>#N/A</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N/A</c:v>
                </c:pt>
                <c:pt idx="1032">
                  <c:v>173.28908123769781</c:v>
                </c:pt>
                <c:pt idx="1033">
                  <c:v>189.75289489076087</c:v>
                </c:pt>
                <c:pt idx="1034">
                  <c:v>194.21678639066241</c:v>
                </c:pt>
                <c:pt idx="1035">
                  <c:v>191.94066070613019</c:v>
                </c:pt>
                <c:pt idx="1036">
                  <c:v>181.09936127829653</c:v>
                </c:pt>
                <c:pt idx="1037">
                  <c:v>188.30530648196631</c:v>
                </c:pt>
                <c:pt idx="1038">
                  <c:v>#N/A</c:v>
                </c:pt>
                <c:pt idx="1039">
                  <c:v>#N/A</c:v>
                </c:pt>
                <c:pt idx="1040">
                  <c:v>#N/A</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N/A</c:v>
                </c:pt>
                <c:pt idx="1052">
                  <c:v>#N/A</c:v>
                </c:pt>
                <c:pt idx="1053">
                  <c:v>#N/A</c:v>
                </c:pt>
                <c:pt idx="1054">
                  <c:v>#N/A</c:v>
                </c:pt>
                <c:pt idx="1055">
                  <c:v>#N/A</c:v>
                </c:pt>
                <c:pt idx="1056">
                  <c:v>185.83453848596551</c:v>
                </c:pt>
                <c:pt idx="1057">
                  <c:v>#N/A</c:v>
                </c:pt>
                <c:pt idx="1058">
                  <c:v>#N/A</c:v>
                </c:pt>
                <c:pt idx="1059">
                  <c:v>#N/A</c:v>
                </c:pt>
                <c:pt idx="1060">
                  <c:v>#N/A</c:v>
                </c:pt>
                <c:pt idx="1061">
                  <c:v>188.36963384658122</c:v>
                </c:pt>
                <c:pt idx="1062">
                  <c:v>#N/A</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N/A</c:v>
                </c:pt>
                <c:pt idx="1071">
                  <c:v>174.31562083605635</c:v>
                </c:pt>
                <c:pt idx="1072">
                  <c:v>181.79563025720668</c:v>
                </c:pt>
                <c:pt idx="1073">
                  <c:v>181.57409208584204</c:v>
                </c:pt>
                <c:pt idx="1074">
                  <c:v>176.12905552827499</c:v>
                </c:pt>
                <c:pt idx="1075">
                  <c:v>167.41712213090335</c:v>
                </c:pt>
                <c:pt idx="1076">
                  <c:v>148.42618726013114</c:v>
                </c:pt>
                <c:pt idx="1077">
                  <c:v>#N/A</c:v>
                </c:pt>
                <c:pt idx="1078">
                  <c:v>181.83919075656124</c:v>
                </c:pt>
                <c:pt idx="1079">
                  <c:v>179.92665631772826</c:v>
                </c:pt>
                <c:pt idx="1080">
                  <c:v>177.07717732998904</c:v>
                </c:pt>
                <c:pt idx="1081">
                  <c:v>169.47434599013408</c:v>
                </c:pt>
                <c:pt idx="1082">
                  <c:v>#N/A</c:v>
                </c:pt>
                <c:pt idx="1083">
                  <c:v>#N/A</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B411-404F-B363-46C4A10DA37E}"/>
            </c:ext>
          </c:extLst>
        </c:ser>
        <c:dLbls>
          <c:showLegendKey val="0"/>
          <c:showVal val="0"/>
          <c:showCatName val="0"/>
          <c:showSerName val="0"/>
          <c:showPercent val="0"/>
          <c:showBubbleSize val="0"/>
        </c:dLbls>
        <c:axId val="1271898559"/>
        <c:axId val="1271906879"/>
      </c:scatterChart>
      <c:valAx>
        <c:axId val="1271898559"/>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6879"/>
        <c:crosses val="autoZero"/>
        <c:crossBetween val="midCat"/>
      </c:valAx>
      <c:valAx>
        <c:axId val="1271906879"/>
        <c:scaling>
          <c:orientation val="minMax"/>
          <c:max val="220"/>
          <c:min val="17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898559"/>
        <c:crosses val="autoZero"/>
        <c:crossBetween val="midCat"/>
      </c:valAx>
      <c:spPr>
        <a:noFill/>
        <a:ln>
          <a:noFill/>
        </a:ln>
        <a:effectLst/>
      </c:spPr>
    </c:plotArea>
    <c:plotVisOnly val="1"/>
    <c:dispBlanksAs val="gap"/>
    <c:showDLblsOverMax val="0"/>
  </c:chart>
  <c:spPr>
    <a:noFill/>
    <a:ln w="19050">
      <a:solidFill>
        <a:schemeClr val="tx2"/>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 </a:t>
            </a:r>
            <a:r>
              <a:rPr lang="en-US" sz="1400" b="0" i="0" u="none" strike="noStrike" baseline="0" dirty="0" smtClean="0">
                <a:effectLst/>
              </a:rPr>
              <a:t>O</a:t>
            </a:r>
            <a:r>
              <a:rPr lang="en-US" sz="1400" b="0" i="0" u="none" strike="noStrike" baseline="-25000" dirty="0" smtClean="0">
                <a:effectLst/>
              </a:rPr>
              <a:t>2</a:t>
            </a:r>
            <a:r>
              <a:rPr lang="en-US" dirty="0" smtClean="0"/>
              <a:t> (Nm3)</a:t>
            </a:r>
            <a:r>
              <a:rPr lang="en-US" baseline="0" dirty="0" smtClean="0"/>
              <a:t> </a:t>
            </a:r>
            <a:r>
              <a:rPr lang="en-US" baseline="0" dirty="0"/>
              <a:t>vs </a:t>
            </a:r>
            <a:r>
              <a:rPr lang="en-US" baseline="0" dirty="0" smtClean="0"/>
              <a:t>Hot Metal Production (tons/day) </a:t>
            </a:r>
            <a:endParaRPr lang="en-US" baseline="0"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V$1:$AV$2</c:f>
              <c:strCache>
                <c:ptCount val="2"/>
                <c:pt idx="0">
                  <c:v>O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B$3:$B$1131</c:f>
              <c:numCache>
                <c:formatCode>0</c:formatCode>
                <c:ptCount val="1129"/>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Final Graph 2.xlsx]Parameters ranges for ANN step1'!$AV$3:$AV$1131</c:f>
              <c:numCache>
                <c:formatCode>0.0000</c:formatCode>
                <c:ptCount val="1129"/>
                <c:pt idx="0">
                  <c:v>281.73102424158401</c:v>
                </c:pt>
                <c:pt idx="1">
                  <c:v>280.54230235056002</c:v>
                </c:pt>
                <c:pt idx="2">
                  <c:v>271.80282553606332</c:v>
                </c:pt>
                <c:pt idx="3">
                  <c:v>271.97165623925764</c:v>
                </c:pt>
                <c:pt idx="4">
                  <c:v>278.31748766708085</c:v>
                </c:pt>
                <c:pt idx="5">
                  <c:v>281.05401655230048</c:v>
                </c:pt>
                <c:pt idx="6">
                  <c:v>286.32188989480414</c:v>
                </c:pt>
                <c:pt idx="7">
                  <c:v>275.05510194271108</c:v>
                </c:pt>
                <c:pt idx="8">
                  <c:v>277.84054787215018</c:v>
                </c:pt>
                <c:pt idx="9">
                  <c:v>279.95565441548115</c:v>
                </c:pt>
                <c:pt idx="10">
                  <c:v>273.75306164166511</c:v>
                </c:pt>
                <c:pt idx="11">
                  <c:v>274.8880975912989</c:v>
                </c:pt>
                <c:pt idx="12">
                  <c:v>278.61392552557538</c:v>
                </c:pt>
                <c:pt idx="13">
                  <c:v>293.36180221659777</c:v>
                </c:pt>
                <c:pt idx="14">
                  <c:v>281.97889520648744</c:v>
                </c:pt>
                <c:pt idx="15">
                  <c:v>274.91528488747304</c:v>
                </c:pt>
                <c:pt idx="16">
                  <c:v>271.83207947105723</c:v>
                </c:pt>
                <c:pt idx="17">
                  <c:v>274.82510348656012</c:v>
                </c:pt>
                <c:pt idx="18">
                  <c:v>284.96399554825643</c:v>
                </c:pt>
                <c:pt idx="19">
                  <c:v>273.25444858913534</c:v>
                </c:pt>
                <c:pt idx="20">
                  <c:v>277.29966597133853</c:v>
                </c:pt>
                <c:pt idx="21">
                  <c:v>273.14768861711593</c:v>
                </c:pt>
                <c:pt idx="22">
                  <c:v>278.3499056871625</c:v>
                </c:pt>
                <c:pt idx="23">
                  <c:v>281.22537557652925</c:v>
                </c:pt>
                <c:pt idx="24">
                  <c:v>278.2303478693492</c:v>
                </c:pt>
                <c:pt idx="25">
                  <c:v>275.32689315975847</c:v>
                </c:pt>
                <c:pt idx="26">
                  <c:v>288.95282793490605</c:v>
                </c:pt>
                <c:pt idx="27">
                  <c:v>280.57906144003334</c:v>
                </c:pt>
                <c:pt idx="28">
                  <c:v>279.36027086428237</c:v>
                </c:pt>
                <c:pt idx="29">
                  <c:v>281.17479393959593</c:v>
                </c:pt>
                <c:pt idx="30">
                  <c:v>284.62139288037611</c:v>
                </c:pt>
                <c:pt idx="31">
                  <c:v>273.64610481865509</c:v>
                </c:pt>
                <c:pt idx="32">
                  <c:v>282.22840530473729</c:v>
                </c:pt>
                <c:pt idx="33">
                  <c:v>280.17666488887471</c:v>
                </c:pt>
                <c:pt idx="34">
                  <c:v>284.41129479856215</c:v>
                </c:pt>
                <c:pt idx="35">
                  <c:v>273.24130026615114</c:v>
                </c:pt>
                <c:pt idx="36">
                  <c:v>271.61030593980684</c:v>
                </c:pt>
                <c:pt idx="37">
                  <c:v>285.16408198647412</c:v>
                </c:pt>
                <c:pt idx="38">
                  <c:v>276.14102297745546</c:v>
                </c:pt>
                <c:pt idx="39">
                  <c:v>282.34877274508347</c:v>
                </c:pt>
                <c:pt idx="40">
                  <c:v>279.23553304455868</c:v>
                </c:pt>
                <c:pt idx="41">
                  <c:v>277.82853886991848</c:v>
                </c:pt>
                <c:pt idx="42">
                  <c:v>279.48514545053069</c:v>
                </c:pt>
                <c:pt idx="43">
                  <c:v>292.9320122053482</c:v>
                </c:pt>
                <c:pt idx="44">
                  <c:v>274.62201769886985</c:v>
                </c:pt>
                <c:pt idx="45">
                  <c:v>334.51197849652249</c:v>
                </c:pt>
                <c:pt idx="46">
                  <c:v>235.5877423128984</c:v>
                </c:pt>
                <c:pt idx="47">
                  <c:v>281.00402560667521</c:v>
                </c:pt>
                <c:pt idx="48">
                  <c:v>282.25213628194854</c:v>
                </c:pt>
                <c:pt idx="49">
                  <c:v>278.03699057654592</c:v>
                </c:pt>
                <c:pt idx="50">
                  <c:v>275.12614023304843</c:v>
                </c:pt>
                <c:pt idx="51">
                  <c:v>279.21051362325193</c:v>
                </c:pt>
                <c:pt idx="52">
                  <c:v>275.45282559372379</c:v>
                </c:pt>
                <c:pt idx="53">
                  <c:v>276.21089791037241</c:v>
                </c:pt>
                <c:pt idx="54">
                  <c:v>275.26206438568192</c:v>
                </c:pt>
                <c:pt idx="55">
                  <c:v>273.58122866380268</c:v>
                </c:pt>
                <c:pt idx="56">
                  <c:v>273.14089689646949</c:v>
                </c:pt>
                <c:pt idx="57">
                  <c:v>287.79528632396352</c:v>
                </c:pt>
                <c:pt idx="58">
                  <c:v>284.85931051242255</c:v>
                </c:pt>
                <c:pt idx="59">
                  <c:v>279.27667716419739</c:v>
                </c:pt>
                <c:pt idx="60">
                  <c:v>263.29082445487154</c:v>
                </c:pt>
                <c:pt idx="61">
                  <c:v>276.87525792674114</c:v>
                </c:pt>
                <c:pt idx="62">
                  <c:v>278.06704463690096</c:v>
                </c:pt>
                <c:pt idx="63">
                  <c:v>277.28150595089824</c:v>
                </c:pt>
                <c:pt idx="64">
                  <c:v>270.65275313644554</c:v>
                </c:pt>
                <c:pt idx="65">
                  <c:v>277.29047001508127</c:v>
                </c:pt>
                <c:pt idx="66">
                  <c:v>276.98796784350475</c:v>
                </c:pt>
                <c:pt idx="67">
                  <c:v>280.77989136421138</c:v>
                </c:pt>
                <c:pt idx="68">
                  <c:v>276.99300425266358</c:v>
                </c:pt>
                <c:pt idx="69">
                  <c:v>247.7833412359671</c:v>
                </c:pt>
                <c:pt idx="70">
                  <c:v>282.58536459609149</c:v>
                </c:pt>
                <c:pt idx="71">
                  <c:v>284.80508176429794</c:v>
                </c:pt>
                <c:pt idx="72">
                  <c:v>281.95781863024695</c:v>
                </c:pt>
                <c:pt idx="73">
                  <c:v>272.49716307186725</c:v>
                </c:pt>
                <c:pt idx="74">
                  <c:v>275.56195653349766</c:v>
                </c:pt>
                <c:pt idx="75">
                  <c:v>270.77879238789421</c:v>
                </c:pt>
                <c:pt idx="76">
                  <c:v>276.60483480750236</c:v>
                </c:pt>
                <c:pt idx="77">
                  <c:v>270.0438489821737</c:v>
                </c:pt>
                <c:pt idx="78">
                  <c:v>273.35009137348231</c:v>
                </c:pt>
                <c:pt idx="79">
                  <c:v>274.81469754927798</c:v>
                </c:pt>
                <c:pt idx="80">
                  <c:v>275.96241815792428</c:v>
                </c:pt>
                <c:pt idx="81">
                  <c:v>278.94910973502317</c:v>
                </c:pt>
                <c:pt idx="82">
                  <c:v>273.56473045852385</c:v>
                </c:pt>
                <c:pt idx="83">
                  <c:v>275.61858590919064</c:v>
                </c:pt>
                <c:pt idx="84">
                  <c:v>278.00188244783078</c:v>
                </c:pt>
                <c:pt idx="85">
                  <c:v>280.50174809364034</c:v>
                </c:pt>
                <c:pt idx="86">
                  <c:v>279.49116499295997</c:v>
                </c:pt>
                <c:pt idx="87">
                  <c:v>273.74554395831115</c:v>
                </c:pt>
                <c:pt idx="88">
                  <c:v>273.67818243399984</c:v>
                </c:pt>
                <c:pt idx="89">
                  <c:v>278.31139377558407</c:v>
                </c:pt>
                <c:pt idx="90">
                  <c:v>276.46456393819938</c:v>
                </c:pt>
                <c:pt idx="91">
                  <c:v>278.16175493388846</c:v>
                </c:pt>
                <c:pt idx="92">
                  <c:v>279.07764225026699</c:v>
                </c:pt>
                <c:pt idx="93">
                  <c:v>273.35245532202157</c:v>
                </c:pt>
                <c:pt idx="94">
                  <c:v>282.8510336176264</c:v>
                </c:pt>
                <c:pt idx="95">
                  <c:v>281.47404661194014</c:v>
                </c:pt>
                <c:pt idx="96">
                  <c:v>278.2245792703502</c:v>
                </c:pt>
                <c:pt idx="97">
                  <c:v>279.01459907581636</c:v>
                </c:pt>
                <c:pt idx="98">
                  <c:v>274.05462565832056</c:v>
                </c:pt>
                <c:pt idx="99">
                  <c:v>277.65912054529667</c:v>
                </c:pt>
                <c:pt idx="100">
                  <c:v>275.27296800045099</c:v>
                </c:pt>
                <c:pt idx="101">
                  <c:v>280.52749416141728</c:v>
                </c:pt>
                <c:pt idx="102">
                  <c:v>279.85270022084228</c:v>
                </c:pt>
                <c:pt idx="103">
                  <c:v>280.38807080663571</c:v>
                </c:pt>
                <c:pt idx="104">
                  <c:v>287.63717809794798</c:v>
                </c:pt>
                <c:pt idx="105">
                  <c:v>293.13003411451325</c:v>
                </c:pt>
                <c:pt idx="106">
                  <c:v>287.80243527473237</c:v>
                </c:pt>
                <c:pt idx="107">
                  <c:v>284.02324238820859</c:v>
                </c:pt>
                <c:pt idx="108">
                  <c:v>283.63416158872997</c:v>
                </c:pt>
                <c:pt idx="109">
                  <c:v>283.80364897158506</c:v>
                </c:pt>
                <c:pt idx="110">
                  <c:v>281.66376537957399</c:v>
                </c:pt>
                <c:pt idx="111">
                  <c:v>280.41588293139171</c:v>
                </c:pt>
                <c:pt idx="112">
                  <c:v>281.83778747099029</c:v>
                </c:pt>
                <c:pt idx="113">
                  <c:v>281.03289153620096</c:v>
                </c:pt>
                <c:pt idx="114">
                  <c:v>284.35417059837914</c:v>
                </c:pt>
                <c:pt idx="115">
                  <c:v>281.3536700778717</c:v>
                </c:pt>
                <c:pt idx="116">
                  <c:v>277.61045667443739</c:v>
                </c:pt>
                <c:pt idx="117">
                  <c:v>280.25955869413224</c:v>
                </c:pt>
                <c:pt idx="118">
                  <c:v>271.29078783200612</c:v>
                </c:pt>
                <c:pt idx="119">
                  <c:v>284.80811296939896</c:v>
                </c:pt>
                <c:pt idx="120">
                  <c:v>275.99764842001639</c:v>
                </c:pt>
                <c:pt idx="121">
                  <c:v>287.26726215411486</c:v>
                </c:pt>
                <c:pt idx="122">
                  <c:v>287.41530565429082</c:v>
                </c:pt>
                <c:pt idx="123">
                  <c:v>286.09966328775772</c:v>
                </c:pt>
                <c:pt idx="124">
                  <c:v>282.39440745373076</c:v>
                </c:pt>
                <c:pt idx="125">
                  <c:v>286.92084283823931</c:v>
                </c:pt>
                <c:pt idx="126">
                  <c:v>284.44894269012264</c:v>
                </c:pt>
                <c:pt idx="127">
                  <c:v>281.74166899381373</c:v>
                </c:pt>
                <c:pt idx="128">
                  <c:v>281.0443953819605</c:v>
                </c:pt>
                <c:pt idx="129">
                  <c:v>282.71511037736832</c:v>
                </c:pt>
                <c:pt idx="130">
                  <c:v>283.80091700565436</c:v>
                </c:pt>
                <c:pt idx="131">
                  <c:v>287.4474359391819</c:v>
                </c:pt>
                <c:pt idx="132">
                  <c:v>287.86692017371877</c:v>
                </c:pt>
                <c:pt idx="133">
                  <c:v>278.53646321130589</c:v>
                </c:pt>
                <c:pt idx="134">
                  <c:v>284.21338409541465</c:v>
                </c:pt>
                <c:pt idx="135">
                  <c:v>288.11190985635085</c:v>
                </c:pt>
                <c:pt idx="136">
                  <c:v>275.8618681882142</c:v>
                </c:pt>
                <c:pt idx="137">
                  <c:v>279.17287422468701</c:v>
                </c:pt>
                <c:pt idx="138">
                  <c:v>279.56876477681794</c:v>
                </c:pt>
                <c:pt idx="139">
                  <c:v>275.34246121802278</c:v>
                </c:pt>
                <c:pt idx="140">
                  <c:v>283.25022799181306</c:v>
                </c:pt>
                <c:pt idx="141">
                  <c:v>290.91199354854587</c:v>
                </c:pt>
                <c:pt idx="142">
                  <c:v>292.26217250565651</c:v>
                </c:pt>
                <c:pt idx="143">
                  <c:v>295.23661269844786</c:v>
                </c:pt>
                <c:pt idx="144">
                  <c:v>425.58117531805783</c:v>
                </c:pt>
                <c:pt idx="145">
                  <c:v>1971.7383412306644</c:v>
                </c:pt>
                <c:pt idx="146">
                  <c:v>0</c:v>
                </c:pt>
                <c:pt idx="147">
                  <c:v>0</c:v>
                </c:pt>
                <c:pt idx="148">
                  <c:v>0</c:v>
                </c:pt>
                <c:pt idx="149">
                  <c:v>320.63874961778856</c:v>
                </c:pt>
                <c:pt idx="150">
                  <c:v>277.51011605019562</c:v>
                </c:pt>
                <c:pt idx="151">
                  <c:v>280.68506845325476</c:v>
                </c:pt>
                <c:pt idx="152">
                  <c:v>277.01542761090661</c:v>
                </c:pt>
                <c:pt idx="153">
                  <c:v>274.32427744831034</c:v>
                </c:pt>
                <c:pt idx="154">
                  <c:v>274.32562272082896</c:v>
                </c:pt>
                <c:pt idx="155">
                  <c:v>278.23401610154804</c:v>
                </c:pt>
                <c:pt idx="156">
                  <c:v>278.72407715771044</c:v>
                </c:pt>
                <c:pt idx="157">
                  <c:v>277.07167964276096</c:v>
                </c:pt>
                <c:pt idx="158">
                  <c:v>283.15114080526416</c:v>
                </c:pt>
                <c:pt idx="159">
                  <c:v>281.2465940738158</c:v>
                </c:pt>
                <c:pt idx="160">
                  <c:v>284.28403591014307</c:v>
                </c:pt>
                <c:pt idx="161">
                  <c:v>287.416694613461</c:v>
                </c:pt>
                <c:pt idx="162">
                  <c:v>286.92973291542228</c:v>
                </c:pt>
                <c:pt idx="163">
                  <c:v>276.75950241773546</c:v>
                </c:pt>
                <c:pt idx="164">
                  <c:v>273.70570868440473</c:v>
                </c:pt>
                <c:pt idx="165">
                  <c:v>274.74291440493676</c:v>
                </c:pt>
                <c:pt idx="166">
                  <c:v>281.6206259138412</c:v>
                </c:pt>
                <c:pt idx="167">
                  <c:v>280.96043993450769</c:v>
                </c:pt>
                <c:pt idx="168">
                  <c:v>282.16429602750395</c:v>
                </c:pt>
                <c:pt idx="169">
                  <c:v>277.40329019532328</c:v>
                </c:pt>
                <c:pt idx="170">
                  <c:v>284.54927753176207</c:v>
                </c:pt>
                <c:pt idx="171">
                  <c:v>292.87711611225609</c:v>
                </c:pt>
                <c:pt idx="172">
                  <c:v>284.67561857988414</c:v>
                </c:pt>
                <c:pt idx="173">
                  <c:v>287.90630371309055</c:v>
                </c:pt>
                <c:pt idx="174">
                  <c:v>289.73559639944483</c:v>
                </c:pt>
                <c:pt idx="175">
                  <c:v>286.26928404865532</c:v>
                </c:pt>
                <c:pt idx="176">
                  <c:v>293.93598426724054</c:v>
                </c:pt>
                <c:pt idx="177">
                  <c:v>288.57010989218816</c:v>
                </c:pt>
                <c:pt idx="178">
                  <c:v>281.25442327543351</c:v>
                </c:pt>
                <c:pt idx="179">
                  <c:v>288.85248175579136</c:v>
                </c:pt>
                <c:pt idx="180">
                  <c:v>287.53568614680148</c:v>
                </c:pt>
                <c:pt idx="181">
                  <c:v>279.69833640718832</c:v>
                </c:pt>
                <c:pt idx="182">
                  <c:v>287.14881618540301</c:v>
                </c:pt>
                <c:pt idx="183">
                  <c:v>283.60377313841911</c:v>
                </c:pt>
                <c:pt idx="184">
                  <c:v>286.54269971618908</c:v>
                </c:pt>
                <c:pt idx="185">
                  <c:v>285.1147583927094</c:v>
                </c:pt>
                <c:pt idx="186">
                  <c:v>285.03579391044434</c:v>
                </c:pt>
                <c:pt idx="187">
                  <c:v>284.39453088939501</c:v>
                </c:pt>
                <c:pt idx="188">
                  <c:v>286.03704460491815</c:v>
                </c:pt>
                <c:pt idx="189">
                  <c:v>284.20653683115256</c:v>
                </c:pt>
                <c:pt idx="190">
                  <c:v>284.59382854580815</c:v>
                </c:pt>
                <c:pt idx="191">
                  <c:v>286.75674677900236</c:v>
                </c:pt>
                <c:pt idx="192">
                  <c:v>285.71310521690395</c:v>
                </c:pt>
                <c:pt idx="193">
                  <c:v>285.43771657811442</c:v>
                </c:pt>
                <c:pt idx="194">
                  <c:v>286.94778629819291</c:v>
                </c:pt>
                <c:pt idx="195">
                  <c:v>285.47383721913025</c:v>
                </c:pt>
                <c:pt idx="196">
                  <c:v>286.84626558399248</c:v>
                </c:pt>
                <c:pt idx="197">
                  <c:v>284.07340734052309</c:v>
                </c:pt>
                <c:pt idx="198">
                  <c:v>282.87543326321781</c:v>
                </c:pt>
                <c:pt idx="199">
                  <c:v>283.01984897502041</c:v>
                </c:pt>
                <c:pt idx="200">
                  <c:v>287.15256221823211</c:v>
                </c:pt>
                <c:pt idx="201">
                  <c:v>283.27126393716139</c:v>
                </c:pt>
                <c:pt idx="202">
                  <c:v>285.19159311762212</c:v>
                </c:pt>
                <c:pt idx="203">
                  <c:v>285.42718845636341</c:v>
                </c:pt>
                <c:pt idx="204">
                  <c:v>282.63256935860261</c:v>
                </c:pt>
                <c:pt idx="205">
                  <c:v>282.47753154274983</c:v>
                </c:pt>
                <c:pt idx="206">
                  <c:v>290.71386728182938</c:v>
                </c:pt>
                <c:pt idx="207">
                  <c:v>282.99462920982444</c:v>
                </c:pt>
                <c:pt idx="208">
                  <c:v>278.67305791662966</c:v>
                </c:pt>
                <c:pt idx="209">
                  <c:v>286.63312612634115</c:v>
                </c:pt>
                <c:pt idx="210">
                  <c:v>277.30791631479815</c:v>
                </c:pt>
                <c:pt idx="211">
                  <c:v>281.24375880403568</c:v>
                </c:pt>
                <c:pt idx="212">
                  <c:v>279.20515925285667</c:v>
                </c:pt>
                <c:pt idx="213">
                  <c:v>285.32918731701261</c:v>
                </c:pt>
                <c:pt idx="214">
                  <c:v>296.15340284645663</c:v>
                </c:pt>
                <c:pt idx="215">
                  <c:v>285.08713038874282</c:v>
                </c:pt>
                <c:pt idx="216">
                  <c:v>279.51000185510873</c:v>
                </c:pt>
                <c:pt idx="217">
                  <c:v>284.11402845608063</c:v>
                </c:pt>
                <c:pt idx="218">
                  <c:v>278.71838047712185</c:v>
                </c:pt>
                <c:pt idx="219">
                  <c:v>278.33309667283163</c:v>
                </c:pt>
                <c:pt idx="220">
                  <c:v>274.23171463611129</c:v>
                </c:pt>
                <c:pt idx="221">
                  <c:v>280.17270264352362</c:v>
                </c:pt>
                <c:pt idx="222">
                  <c:v>277.61444421728277</c:v>
                </c:pt>
                <c:pt idx="223">
                  <c:v>280.62448328323273</c:v>
                </c:pt>
                <c:pt idx="224">
                  <c:v>274.10124768124138</c:v>
                </c:pt>
                <c:pt idx="225">
                  <c:v>257.99780101349563</c:v>
                </c:pt>
                <c:pt idx="226">
                  <c:v>272.91477670939787</c:v>
                </c:pt>
                <c:pt idx="227">
                  <c:v>271.32045734863675</c:v>
                </c:pt>
                <c:pt idx="228">
                  <c:v>277.31025093215737</c:v>
                </c:pt>
                <c:pt idx="229">
                  <c:v>272.05048253370228</c:v>
                </c:pt>
                <c:pt idx="230">
                  <c:v>280.46053619063264</c:v>
                </c:pt>
                <c:pt idx="231">
                  <c:v>277.6402578259756</c:v>
                </c:pt>
                <c:pt idx="232">
                  <c:v>278.71243397575938</c:v>
                </c:pt>
                <c:pt idx="233">
                  <c:v>280.22903569194034</c:v>
                </c:pt>
                <c:pt idx="234">
                  <c:v>279.73096443371276</c:v>
                </c:pt>
                <c:pt idx="235">
                  <c:v>286.09450762412791</c:v>
                </c:pt>
                <c:pt idx="236">
                  <c:v>283.49987431296711</c:v>
                </c:pt>
                <c:pt idx="237">
                  <c:v>281.53354863771096</c:v>
                </c:pt>
                <c:pt idx="238">
                  <c:v>279.63461047980923</c:v>
                </c:pt>
                <c:pt idx="239">
                  <c:v>282.40042299664719</c:v>
                </c:pt>
                <c:pt idx="240">
                  <c:v>298.40320491652926</c:v>
                </c:pt>
                <c:pt idx="241">
                  <c:v>299.72807940029668</c:v>
                </c:pt>
                <c:pt idx="242">
                  <c:v>299.27271533102157</c:v>
                </c:pt>
                <c:pt idx="243">
                  <c:v>287.48172674954776</c:v>
                </c:pt>
                <c:pt idx="244">
                  <c:v>289.1249355605072</c:v>
                </c:pt>
                <c:pt idx="245">
                  <c:v>276.88025628308321</c:v>
                </c:pt>
                <c:pt idx="246">
                  <c:v>300.54842337576213</c:v>
                </c:pt>
                <c:pt idx="247">
                  <c:v>306.20921416657416</c:v>
                </c:pt>
                <c:pt idx="248">
                  <c:v>283.8738930349341</c:v>
                </c:pt>
                <c:pt idx="249">
                  <c:v>277.40720564963158</c:v>
                </c:pt>
                <c:pt idx="250">
                  <c:v>299.64341768594443</c:v>
                </c:pt>
                <c:pt idx="251">
                  <c:v>309.96382055032245</c:v>
                </c:pt>
                <c:pt idx="252">
                  <c:v>291.16669580683856</c:v>
                </c:pt>
                <c:pt idx="253">
                  <c:v>298.29276532772622</c:v>
                </c:pt>
                <c:pt idx="254">
                  <c:v>291.1904070553968</c:v>
                </c:pt>
                <c:pt idx="255">
                  <c:v>301.17956921096106</c:v>
                </c:pt>
                <c:pt idx="256">
                  <c:v>280.20111540354412</c:v>
                </c:pt>
                <c:pt idx="257">
                  <c:v>282.33665268113862</c:v>
                </c:pt>
                <c:pt idx="258">
                  <c:v>288.44386235234379</c:v>
                </c:pt>
                <c:pt idx="259">
                  <c:v>314.3667891298627</c:v>
                </c:pt>
                <c:pt idx="260">
                  <c:v>239.10012285199537</c:v>
                </c:pt>
                <c:pt idx="261">
                  <c:v>279.96809956854429</c:v>
                </c:pt>
                <c:pt idx="262">
                  <c:v>286.35917555065555</c:v>
                </c:pt>
                <c:pt idx="263">
                  <c:v>278.3768800541302</c:v>
                </c:pt>
                <c:pt idx="264">
                  <c:v>284.15957174884863</c:v>
                </c:pt>
                <c:pt idx="265">
                  <c:v>284.14959920150659</c:v>
                </c:pt>
                <c:pt idx="266">
                  <c:v>291.76442475111457</c:v>
                </c:pt>
                <c:pt idx="267">
                  <c:v>257.32233903263534</c:v>
                </c:pt>
                <c:pt idx="268">
                  <c:v>278.93944500939483</c:v>
                </c:pt>
                <c:pt idx="269">
                  <c:v>286.80059241226047</c:v>
                </c:pt>
                <c:pt idx="270">
                  <c:v>288.71421527608015</c:v>
                </c:pt>
                <c:pt idx="271">
                  <c:v>283.65776444976154</c:v>
                </c:pt>
                <c:pt idx="272">
                  <c:v>277.42774653246727</c:v>
                </c:pt>
                <c:pt idx="273">
                  <c:v>279.94893411135411</c:v>
                </c:pt>
                <c:pt idx="274">
                  <c:v>285.57475587628551</c:v>
                </c:pt>
                <c:pt idx="275">
                  <c:v>289.04181091723945</c:v>
                </c:pt>
                <c:pt idx="276">
                  <c:v>285.92328826982578</c:v>
                </c:pt>
                <c:pt idx="277">
                  <c:v>288.39161844232592</c:v>
                </c:pt>
                <c:pt idx="278">
                  <c:v>299.87078989632289</c:v>
                </c:pt>
                <c:pt idx="279">
                  <c:v>284.89351057538386</c:v>
                </c:pt>
                <c:pt idx="280">
                  <c:v>275.58552388850148</c:v>
                </c:pt>
                <c:pt idx="281">
                  <c:v>280.94331223099073</c:v>
                </c:pt>
                <c:pt idx="282">
                  <c:v>277.98735091860863</c:v>
                </c:pt>
                <c:pt idx="283">
                  <c:v>277.3244340402133</c:v>
                </c:pt>
                <c:pt idx="284">
                  <c:v>276.71560608160678</c:v>
                </c:pt>
                <c:pt idx="285">
                  <c:v>279.64226413281028</c:v>
                </c:pt>
                <c:pt idx="286">
                  <c:v>278.64224833429296</c:v>
                </c:pt>
                <c:pt idx="287">
                  <c:v>281.85346735218957</c:v>
                </c:pt>
                <c:pt idx="288">
                  <c:v>285.73003022062312</c:v>
                </c:pt>
                <c:pt idx="289">
                  <c:v>285.30556529133298</c:v>
                </c:pt>
                <c:pt idx="290">
                  <c:v>285.32676213115008</c:v>
                </c:pt>
                <c:pt idx="291">
                  <c:v>301.81075980561445</c:v>
                </c:pt>
                <c:pt idx="292">
                  <c:v>287.46511480345225</c:v>
                </c:pt>
                <c:pt idx="293">
                  <c:v>290.20460051079749</c:v>
                </c:pt>
                <c:pt idx="294">
                  <c:v>287.32640652743873</c:v>
                </c:pt>
                <c:pt idx="295">
                  <c:v>290.0350603790065</c:v>
                </c:pt>
                <c:pt idx="296">
                  <c:v>283.37537648956754</c:v>
                </c:pt>
                <c:pt idx="297">
                  <c:v>279.97315011863827</c:v>
                </c:pt>
                <c:pt idx="298">
                  <c:v>283.27159813736807</c:v>
                </c:pt>
                <c:pt idx="299">
                  <c:v>282.06091800673869</c:v>
                </c:pt>
                <c:pt idx="300">
                  <c:v>286.88399432149686</c:v>
                </c:pt>
                <c:pt idx="301">
                  <c:v>284.52775506061334</c:v>
                </c:pt>
                <c:pt idx="302">
                  <c:v>284.81197398755819</c:v>
                </c:pt>
                <c:pt idx="303">
                  <c:v>280.42431120064896</c:v>
                </c:pt>
                <c:pt idx="304">
                  <c:v>283.0358097498106</c:v>
                </c:pt>
                <c:pt idx="305">
                  <c:v>274.91439550475172</c:v>
                </c:pt>
                <c:pt idx="306">
                  <c:v>282.38949805698985</c:v>
                </c:pt>
                <c:pt idx="307">
                  <c:v>281.29804236453879</c:v>
                </c:pt>
                <c:pt idx="308">
                  <c:v>274.95821324215126</c:v>
                </c:pt>
                <c:pt idx="309">
                  <c:v>284.94001409146551</c:v>
                </c:pt>
                <c:pt idx="310">
                  <c:v>281.78472064690152</c:v>
                </c:pt>
                <c:pt idx="311">
                  <c:v>280.28624448485232</c:v>
                </c:pt>
                <c:pt idx="312">
                  <c:v>286.84360501695414</c:v>
                </c:pt>
                <c:pt idx="313">
                  <c:v>280.80249736371979</c:v>
                </c:pt>
                <c:pt idx="314">
                  <c:v>283.5116756740008</c:v>
                </c:pt>
                <c:pt idx="315">
                  <c:v>282.97086426949761</c:v>
                </c:pt>
                <c:pt idx="316">
                  <c:v>288.59047386556483</c:v>
                </c:pt>
                <c:pt idx="317">
                  <c:v>284.0849572436814</c:v>
                </c:pt>
                <c:pt idx="318">
                  <c:v>280.14527791037483</c:v>
                </c:pt>
                <c:pt idx="319">
                  <c:v>279.91458628262455</c:v>
                </c:pt>
                <c:pt idx="320">
                  <c:v>285.12897966783066</c:v>
                </c:pt>
                <c:pt idx="321">
                  <c:v>284.30139701689041</c:v>
                </c:pt>
                <c:pt idx="322">
                  <c:v>280.31307450119914</c:v>
                </c:pt>
                <c:pt idx="323">
                  <c:v>284.40357533099109</c:v>
                </c:pt>
                <c:pt idx="324">
                  <c:v>281.14782135494318</c:v>
                </c:pt>
                <c:pt idx="325">
                  <c:v>278.12567567299493</c:v>
                </c:pt>
                <c:pt idx="326">
                  <c:v>275.98971557999027</c:v>
                </c:pt>
                <c:pt idx="327">
                  <c:v>276.7197836099607</c:v>
                </c:pt>
                <c:pt idx="328">
                  <c:v>276.1252085500206</c:v>
                </c:pt>
                <c:pt idx="329">
                  <c:v>280.74805947638242</c:v>
                </c:pt>
                <c:pt idx="330">
                  <c:v>277.96482867533859</c:v>
                </c:pt>
                <c:pt idx="331">
                  <c:v>283.32021751491391</c:v>
                </c:pt>
                <c:pt idx="332">
                  <c:v>280.24516477490181</c:v>
                </c:pt>
                <c:pt idx="333">
                  <c:v>279.51095796047116</c:v>
                </c:pt>
                <c:pt idx="334">
                  <c:v>290.31091834436995</c:v>
                </c:pt>
                <c:pt idx="335">
                  <c:v>265.29353888134006</c:v>
                </c:pt>
                <c:pt idx="336">
                  <c:v>285.03361783071944</c:v>
                </c:pt>
                <c:pt idx="337">
                  <c:v>280.51987515885162</c:v>
                </c:pt>
                <c:pt idx="338">
                  <c:v>279.6732559346741</c:v>
                </c:pt>
                <c:pt idx="339">
                  <c:v>276.54074558214188</c:v>
                </c:pt>
                <c:pt idx="340">
                  <c:v>276.00874433432625</c:v>
                </c:pt>
                <c:pt idx="341">
                  <c:v>273.58129283026722</c:v>
                </c:pt>
                <c:pt idx="342">
                  <c:v>274.78766853286425</c:v>
                </c:pt>
                <c:pt idx="343">
                  <c:v>277.49507275759606</c:v>
                </c:pt>
                <c:pt idx="344">
                  <c:v>277.93588204861692</c:v>
                </c:pt>
                <c:pt idx="345">
                  <c:v>280.90311136609898</c:v>
                </c:pt>
                <c:pt idx="346">
                  <c:v>278.79675866845832</c:v>
                </c:pt>
                <c:pt idx="347">
                  <c:v>276.19300221526464</c:v>
                </c:pt>
                <c:pt idx="348">
                  <c:v>275.74673667060085</c:v>
                </c:pt>
                <c:pt idx="349">
                  <c:v>276.74615558592234</c:v>
                </c:pt>
                <c:pt idx="350">
                  <c:v>276.30297377080183</c:v>
                </c:pt>
                <c:pt idx="351">
                  <c:v>273.9431386643023</c:v>
                </c:pt>
                <c:pt idx="352">
                  <c:v>279.0019973039083</c:v>
                </c:pt>
                <c:pt idx="353">
                  <c:v>275.43193187368001</c:v>
                </c:pt>
                <c:pt idx="354">
                  <c:v>279.47477241103252</c:v>
                </c:pt>
                <c:pt idx="355">
                  <c:v>279.3361041669649</c:v>
                </c:pt>
                <c:pt idx="356">
                  <c:v>280.12921500577113</c:v>
                </c:pt>
                <c:pt idx="357">
                  <c:v>259.77833233074739</c:v>
                </c:pt>
                <c:pt idx="358">
                  <c:v>274.85570225121683</c:v>
                </c:pt>
                <c:pt idx="359">
                  <c:v>278.04464881959075</c:v>
                </c:pt>
                <c:pt idx="360">
                  <c:v>275.85959205952702</c:v>
                </c:pt>
                <c:pt idx="361">
                  <c:v>276.7031178302567</c:v>
                </c:pt>
                <c:pt idx="362">
                  <c:v>278.36371689467012</c:v>
                </c:pt>
                <c:pt idx="363">
                  <c:v>286.05042296620957</c:v>
                </c:pt>
                <c:pt idx="364">
                  <c:v>315.13034177154111</c:v>
                </c:pt>
                <c:pt idx="365">
                  <c:v>250.92583730263595</c:v>
                </c:pt>
                <c:pt idx="366">
                  <c:v>275.47635041685533</c:v>
                </c:pt>
                <c:pt idx="367">
                  <c:v>273.99218307244655</c:v>
                </c:pt>
                <c:pt idx="368">
                  <c:v>267.69332676241152</c:v>
                </c:pt>
                <c:pt idx="369">
                  <c:v>271.06557960610996</c:v>
                </c:pt>
                <c:pt idx="370">
                  <c:v>266.62761040700786</c:v>
                </c:pt>
                <c:pt idx="371">
                  <c:v>270.59638285342953</c:v>
                </c:pt>
                <c:pt idx="372">
                  <c:v>269.51122729810743</c:v>
                </c:pt>
                <c:pt idx="373">
                  <c:v>272.94890947548186</c:v>
                </c:pt>
                <c:pt idx="374">
                  <c:v>275.01836367036981</c:v>
                </c:pt>
                <c:pt idx="375">
                  <c:v>283.49448439521018</c:v>
                </c:pt>
                <c:pt idx="376">
                  <c:v>277.14474620881697</c:v>
                </c:pt>
                <c:pt idx="377">
                  <c:v>277.21098066973286</c:v>
                </c:pt>
                <c:pt idx="378">
                  <c:v>275.56624092488073</c:v>
                </c:pt>
                <c:pt idx="379">
                  <c:v>275.99830592262435</c:v>
                </c:pt>
                <c:pt idx="380">
                  <c:v>268.8216492824638</c:v>
                </c:pt>
                <c:pt idx="381">
                  <c:v>269.67701547121055</c:v>
                </c:pt>
                <c:pt idx="382">
                  <c:v>273.94160881679841</c:v>
                </c:pt>
                <c:pt idx="383">
                  <c:v>277.55218730532954</c:v>
                </c:pt>
                <c:pt idx="384">
                  <c:v>276.6243508801997</c:v>
                </c:pt>
                <c:pt idx="385">
                  <c:v>272.55518287578684</c:v>
                </c:pt>
                <c:pt idx="386">
                  <c:v>271.03358696115674</c:v>
                </c:pt>
                <c:pt idx="387">
                  <c:v>274.51391981612835</c:v>
                </c:pt>
                <c:pt idx="388">
                  <c:v>275.76607605728339</c:v>
                </c:pt>
                <c:pt idx="389">
                  <c:v>270.86992000142902</c:v>
                </c:pt>
                <c:pt idx="390">
                  <c:v>272.65237697917098</c:v>
                </c:pt>
                <c:pt idx="391">
                  <c:v>266.39052100980769</c:v>
                </c:pt>
                <c:pt idx="392">
                  <c:v>271.86219056599327</c:v>
                </c:pt>
                <c:pt idx="393">
                  <c:v>270.642182128218</c:v>
                </c:pt>
                <c:pt idx="394">
                  <c:v>272.17695274591927</c:v>
                </c:pt>
                <c:pt idx="395">
                  <c:v>274.56679440983839</c:v>
                </c:pt>
                <c:pt idx="396">
                  <c:v>278.15068127681445</c:v>
                </c:pt>
                <c:pt idx="397">
                  <c:v>273.06520012560952</c:v>
                </c:pt>
                <c:pt idx="398">
                  <c:v>277.82023508792076</c:v>
                </c:pt>
                <c:pt idx="399">
                  <c:v>275.22275796063207</c:v>
                </c:pt>
                <c:pt idx="400">
                  <c:v>278.37957047825057</c:v>
                </c:pt>
                <c:pt idx="401">
                  <c:v>275.3804985780879</c:v>
                </c:pt>
                <c:pt idx="402">
                  <c:v>281.35031739738724</c:v>
                </c:pt>
                <c:pt idx="403">
                  <c:v>281.78041240328264</c:v>
                </c:pt>
                <c:pt idx="404">
                  <c:v>281.63267436435069</c:v>
                </c:pt>
                <c:pt idx="405">
                  <c:v>281.80145351472765</c:v>
                </c:pt>
                <c:pt idx="406">
                  <c:v>277.22956251317271</c:v>
                </c:pt>
                <c:pt idx="407">
                  <c:v>275.05894191356128</c:v>
                </c:pt>
                <c:pt idx="408">
                  <c:v>281.19644319987935</c:v>
                </c:pt>
                <c:pt idx="409">
                  <c:v>276.02883071135022</c:v>
                </c:pt>
                <c:pt idx="410">
                  <c:v>274.60988619652051</c:v>
                </c:pt>
                <c:pt idx="411">
                  <c:v>272.79536384939354</c:v>
                </c:pt>
                <c:pt idx="412">
                  <c:v>279.82326743039107</c:v>
                </c:pt>
                <c:pt idx="413">
                  <c:v>277.01265574120475</c:v>
                </c:pt>
                <c:pt idx="414">
                  <c:v>274.64317659731046</c:v>
                </c:pt>
                <c:pt idx="415">
                  <c:v>280.65581128747101</c:v>
                </c:pt>
                <c:pt idx="416">
                  <c:v>283.90429190227132</c:v>
                </c:pt>
                <c:pt idx="417">
                  <c:v>280.25080395337204</c:v>
                </c:pt>
                <c:pt idx="418">
                  <c:v>274.3094873909389</c:v>
                </c:pt>
                <c:pt idx="419">
                  <c:v>280.62937426119436</c:v>
                </c:pt>
                <c:pt idx="420">
                  <c:v>280.97639686887157</c:v>
                </c:pt>
                <c:pt idx="421">
                  <c:v>277.26354704507537</c:v>
                </c:pt>
                <c:pt idx="422">
                  <c:v>280.86860495677797</c:v>
                </c:pt>
                <c:pt idx="423">
                  <c:v>276.48528241569443</c:v>
                </c:pt>
                <c:pt idx="424">
                  <c:v>278.94168354786314</c:v>
                </c:pt>
                <c:pt idx="425">
                  <c:v>283.0968730460786</c:v>
                </c:pt>
                <c:pt idx="426">
                  <c:v>278.75448742193635</c:v>
                </c:pt>
                <c:pt idx="427">
                  <c:v>274.20840104597494</c:v>
                </c:pt>
                <c:pt idx="428">
                  <c:v>274.91565444996604</c:v>
                </c:pt>
                <c:pt idx="429">
                  <c:v>280.66491548898398</c:v>
                </c:pt>
                <c:pt idx="430">
                  <c:v>278.17281218772791</c:v>
                </c:pt>
                <c:pt idx="431">
                  <c:v>277.08415610794202</c:v>
                </c:pt>
                <c:pt idx="432">
                  <c:v>274.01279847979799</c:v>
                </c:pt>
                <c:pt idx="433">
                  <c:v>277.98181841662665</c:v>
                </c:pt>
                <c:pt idx="434">
                  <c:v>278.88864804230161</c:v>
                </c:pt>
                <c:pt idx="435">
                  <c:v>275.91339235793976</c:v>
                </c:pt>
                <c:pt idx="436">
                  <c:v>278.97368165513876</c:v>
                </c:pt>
                <c:pt idx="437">
                  <c:v>277.93268492921266</c:v>
                </c:pt>
                <c:pt idx="438">
                  <c:v>282.144854080762</c:v>
                </c:pt>
                <c:pt idx="439">
                  <c:v>279.24372718183827</c:v>
                </c:pt>
                <c:pt idx="440">
                  <c:v>278.11605456632117</c:v>
                </c:pt>
                <c:pt idx="441">
                  <c:v>285.71221499557225</c:v>
                </c:pt>
                <c:pt idx="442">
                  <c:v>276.26912696385068</c:v>
                </c:pt>
                <c:pt idx="443">
                  <c:v>276.5824482495176</c:v>
                </c:pt>
                <c:pt idx="444">
                  <c:v>276.69018572876871</c:v>
                </c:pt>
                <c:pt idx="445">
                  <c:v>270.85523462679419</c:v>
                </c:pt>
                <c:pt idx="446">
                  <c:v>275.58362109336815</c:v>
                </c:pt>
                <c:pt idx="447">
                  <c:v>276.15627685999459</c:v>
                </c:pt>
                <c:pt idx="448">
                  <c:v>280.58540910755823</c:v>
                </c:pt>
                <c:pt idx="449">
                  <c:v>284.13290074548286</c:v>
                </c:pt>
                <c:pt idx="450">
                  <c:v>275.16954857489873</c:v>
                </c:pt>
                <c:pt idx="451">
                  <c:v>276.18777108291465</c:v>
                </c:pt>
                <c:pt idx="452">
                  <c:v>273.97381175903331</c:v>
                </c:pt>
                <c:pt idx="453">
                  <c:v>279.69724047542854</c:v>
                </c:pt>
                <c:pt idx="454">
                  <c:v>278.03026363425408</c:v>
                </c:pt>
                <c:pt idx="455">
                  <c:v>271.89666189127047</c:v>
                </c:pt>
                <c:pt idx="456">
                  <c:v>277.59442260485434</c:v>
                </c:pt>
                <c:pt idx="457">
                  <c:v>285.94550331715016</c:v>
                </c:pt>
                <c:pt idx="458">
                  <c:v>275.64354086318406</c:v>
                </c:pt>
                <c:pt idx="459">
                  <c:v>278.58534476804164</c:v>
                </c:pt>
                <c:pt idx="460">
                  <c:v>273.16609759862683</c:v>
                </c:pt>
                <c:pt idx="461">
                  <c:v>276.08486203623306</c:v>
                </c:pt>
                <c:pt idx="462">
                  <c:v>271.99968405285256</c:v>
                </c:pt>
                <c:pt idx="463">
                  <c:v>266.00764587793162</c:v>
                </c:pt>
                <c:pt idx="464">
                  <c:v>270.78896474569592</c:v>
                </c:pt>
                <c:pt idx="465">
                  <c:v>270.25659898099138</c:v>
                </c:pt>
                <c:pt idx="466">
                  <c:v>276.16985693545462</c:v>
                </c:pt>
                <c:pt idx="467">
                  <c:v>295.74818540513979</c:v>
                </c:pt>
                <c:pt idx="468">
                  <c:v>309.04866577666144</c:v>
                </c:pt>
                <c:pt idx="469">
                  <c:v>277.71418371782693</c:v>
                </c:pt>
                <c:pt idx="470">
                  <c:v>277.27079501813841</c:v>
                </c:pt>
                <c:pt idx="471">
                  <c:v>274.81807635206189</c:v>
                </c:pt>
                <c:pt idx="472">
                  <c:v>278.91318889016077</c:v>
                </c:pt>
                <c:pt idx="473">
                  <c:v>275.78697762053412</c:v>
                </c:pt>
                <c:pt idx="474">
                  <c:v>275.48713192813341</c:v>
                </c:pt>
                <c:pt idx="475">
                  <c:v>280.05592653922884</c:v>
                </c:pt>
                <c:pt idx="476">
                  <c:v>279.33499363718579</c:v>
                </c:pt>
                <c:pt idx="477">
                  <c:v>280.91246753945882</c:v>
                </c:pt>
                <c:pt idx="478">
                  <c:v>272.28844287327661</c:v>
                </c:pt>
                <c:pt idx="479">
                  <c:v>278.05642941879205</c:v>
                </c:pt>
                <c:pt idx="480">
                  <c:v>283.95993231643718</c:v>
                </c:pt>
                <c:pt idx="481">
                  <c:v>285.70774614609377</c:v>
                </c:pt>
                <c:pt idx="482">
                  <c:v>283.68458394416405</c:v>
                </c:pt>
                <c:pt idx="483">
                  <c:v>286.74000978015738</c:v>
                </c:pt>
                <c:pt idx="484">
                  <c:v>280.50768263852444</c:v>
                </c:pt>
                <c:pt idx="485">
                  <c:v>282.14390547960329</c:v>
                </c:pt>
                <c:pt idx="486">
                  <c:v>273.11903327249763</c:v>
                </c:pt>
                <c:pt idx="487">
                  <c:v>278.50637025025071</c:v>
                </c:pt>
                <c:pt idx="488">
                  <c:v>275.22858690961357</c:v>
                </c:pt>
                <c:pt idx="489">
                  <c:v>276.03258636824398</c:v>
                </c:pt>
                <c:pt idx="490">
                  <c:v>273.70081289878692</c:v>
                </c:pt>
                <c:pt idx="491">
                  <c:v>267.28426152869781</c:v>
                </c:pt>
                <c:pt idx="492">
                  <c:v>286.87555173432611</c:v>
                </c:pt>
                <c:pt idx="493">
                  <c:v>289.60728492848023</c:v>
                </c:pt>
                <c:pt idx="494">
                  <c:v>286.3062155627357</c:v>
                </c:pt>
                <c:pt idx="495">
                  <c:v>347.43817126692102</c:v>
                </c:pt>
                <c:pt idx="496">
                  <c:v>361.32925187320802</c:v>
                </c:pt>
                <c:pt idx="497">
                  <c:v>0</c:v>
                </c:pt>
                <c:pt idx="498">
                  <c:v>0</c:v>
                </c:pt>
                <c:pt idx="499">
                  <c:v>268.26435476259553</c:v>
                </c:pt>
                <c:pt idx="500">
                  <c:v>266.76911022063291</c:v>
                </c:pt>
                <c:pt idx="501">
                  <c:v>273.02752397901315</c:v>
                </c:pt>
                <c:pt idx="502">
                  <c:v>273.6270688313133</c:v>
                </c:pt>
                <c:pt idx="503">
                  <c:v>269.39686230660777</c:v>
                </c:pt>
                <c:pt idx="504">
                  <c:v>274.02076326225085</c:v>
                </c:pt>
                <c:pt idx="505">
                  <c:v>264.7073585502136</c:v>
                </c:pt>
                <c:pt idx="506">
                  <c:v>286.39818751779831</c:v>
                </c:pt>
                <c:pt idx="507">
                  <c:v>272.18440325431425</c:v>
                </c:pt>
                <c:pt idx="508">
                  <c:v>275.69049109109142</c:v>
                </c:pt>
                <c:pt idx="509">
                  <c:v>265.2395911867269</c:v>
                </c:pt>
                <c:pt idx="510">
                  <c:v>265.75555866823424</c:v>
                </c:pt>
                <c:pt idx="511">
                  <c:v>270.77823601135628</c:v>
                </c:pt>
                <c:pt idx="512">
                  <c:v>274.96756164460351</c:v>
                </c:pt>
                <c:pt idx="513">
                  <c:v>271.35926098185985</c:v>
                </c:pt>
                <c:pt idx="514">
                  <c:v>272.16819199428016</c:v>
                </c:pt>
                <c:pt idx="515">
                  <c:v>270.0039825008264</c:v>
                </c:pt>
                <c:pt idx="516">
                  <c:v>270.40462357164847</c:v>
                </c:pt>
                <c:pt idx="517">
                  <c:v>269.57550592806467</c:v>
                </c:pt>
                <c:pt idx="518">
                  <c:v>274.06677257814044</c:v>
                </c:pt>
                <c:pt idx="519">
                  <c:v>270.09015304870275</c:v>
                </c:pt>
                <c:pt idx="520">
                  <c:v>271.1795439845182</c:v>
                </c:pt>
                <c:pt idx="521">
                  <c:v>267.04358190595576</c:v>
                </c:pt>
                <c:pt idx="522">
                  <c:v>270.32005726194939</c:v>
                </c:pt>
                <c:pt idx="523">
                  <c:v>271.18226341535967</c:v>
                </c:pt>
                <c:pt idx="524">
                  <c:v>274.35299096240124</c:v>
                </c:pt>
                <c:pt idx="525">
                  <c:v>274.48229197936985</c:v>
                </c:pt>
                <c:pt idx="526">
                  <c:v>275.11703596678717</c:v>
                </c:pt>
                <c:pt idx="527">
                  <c:v>279.22618822408629</c:v>
                </c:pt>
                <c:pt idx="528">
                  <c:v>273.21220973606137</c:v>
                </c:pt>
                <c:pt idx="529">
                  <c:v>277.11376180748732</c:v>
                </c:pt>
                <c:pt idx="530">
                  <c:v>274.96982006781184</c:v>
                </c:pt>
                <c:pt idx="531">
                  <c:v>274.61192650020701</c:v>
                </c:pt>
                <c:pt idx="532">
                  <c:v>279.72337984788203</c:v>
                </c:pt>
                <c:pt idx="533">
                  <c:v>291.02033309210185</c:v>
                </c:pt>
                <c:pt idx="534">
                  <c:v>278.28725247682314</c:v>
                </c:pt>
                <c:pt idx="535">
                  <c:v>272.43341889997794</c:v>
                </c:pt>
                <c:pt idx="536">
                  <c:v>273.00487907841648</c:v>
                </c:pt>
                <c:pt idx="537">
                  <c:v>280.45198075077474</c:v>
                </c:pt>
                <c:pt idx="538">
                  <c:v>279.09887059468792</c:v>
                </c:pt>
                <c:pt idx="539">
                  <c:v>281.03873146433364</c:v>
                </c:pt>
                <c:pt idx="540">
                  <c:v>280.32657896605815</c:v>
                </c:pt>
                <c:pt idx="541">
                  <c:v>281.09553247069255</c:v>
                </c:pt>
                <c:pt idx="542">
                  <c:v>293.0426221778564</c:v>
                </c:pt>
                <c:pt idx="543">
                  <c:v>273.18507275582692</c:v>
                </c:pt>
                <c:pt idx="544">
                  <c:v>284.77550745249641</c:v>
                </c:pt>
                <c:pt idx="545">
                  <c:v>271.01722539135426</c:v>
                </c:pt>
                <c:pt idx="546">
                  <c:v>270.14553993137713</c:v>
                </c:pt>
                <c:pt idx="547">
                  <c:v>277.99762543911322</c:v>
                </c:pt>
                <c:pt idx="548">
                  <c:v>272.24880630767325</c:v>
                </c:pt>
                <c:pt idx="549">
                  <c:v>276.29332901105624</c:v>
                </c:pt>
                <c:pt idx="550">
                  <c:v>274.31615127841815</c:v>
                </c:pt>
                <c:pt idx="551">
                  <c:v>265.14863729547744</c:v>
                </c:pt>
                <c:pt idx="552">
                  <c:v>271.81091455471301</c:v>
                </c:pt>
                <c:pt idx="553">
                  <c:v>273.85978260648312</c:v>
                </c:pt>
                <c:pt idx="554">
                  <c:v>269.92477652489458</c:v>
                </c:pt>
                <c:pt idx="555">
                  <c:v>276.6274602195665</c:v>
                </c:pt>
                <c:pt idx="556">
                  <c:v>275.78778161261459</c:v>
                </c:pt>
                <c:pt idx="557">
                  <c:v>273.71267461339369</c:v>
                </c:pt>
                <c:pt idx="558">
                  <c:v>269.86207655465648</c:v>
                </c:pt>
                <c:pt idx="559">
                  <c:v>269.50675851720439</c:v>
                </c:pt>
                <c:pt idx="560">
                  <c:v>273.61662161953768</c:v>
                </c:pt>
                <c:pt idx="561">
                  <c:v>273.85104964602579</c:v>
                </c:pt>
                <c:pt idx="562">
                  <c:v>276.05469316354856</c:v>
                </c:pt>
                <c:pt idx="563">
                  <c:v>271.5014778157223</c:v>
                </c:pt>
                <c:pt idx="564">
                  <c:v>278.14746353533258</c:v>
                </c:pt>
                <c:pt idx="565">
                  <c:v>280.09580277016119</c:v>
                </c:pt>
                <c:pt idx="566">
                  <c:v>261.81839824794918</c:v>
                </c:pt>
                <c:pt idx="567">
                  <c:v>275.03043409020438</c:v>
                </c:pt>
                <c:pt idx="568">
                  <c:v>283.77885422334577</c:v>
                </c:pt>
                <c:pt idx="569">
                  <c:v>281.11305960701998</c:v>
                </c:pt>
                <c:pt idx="570">
                  <c:v>285.33295245650186</c:v>
                </c:pt>
                <c:pt idx="571">
                  <c:v>279.91050342590995</c:v>
                </c:pt>
                <c:pt idx="572">
                  <c:v>282.00975319840086</c:v>
                </c:pt>
                <c:pt idx="573">
                  <c:v>279.63095760799263</c:v>
                </c:pt>
                <c:pt idx="574">
                  <c:v>278.68668793579616</c:v>
                </c:pt>
                <c:pt idx="575">
                  <c:v>268.84923975652373</c:v>
                </c:pt>
                <c:pt idx="576">
                  <c:v>268.54863071609623</c:v>
                </c:pt>
                <c:pt idx="577">
                  <c:v>266.23246573474864</c:v>
                </c:pt>
                <c:pt idx="578">
                  <c:v>268.35391916983485</c:v>
                </c:pt>
                <c:pt idx="579">
                  <c:v>273.23579248413046</c:v>
                </c:pt>
                <c:pt idx="580">
                  <c:v>274.13000166588381</c:v>
                </c:pt>
                <c:pt idx="581">
                  <c:v>277.63045647778404</c:v>
                </c:pt>
                <c:pt idx="582">
                  <c:v>275.77780903850544</c:v>
                </c:pt>
                <c:pt idx="583">
                  <c:v>268.56533055212572</c:v>
                </c:pt>
                <c:pt idx="584">
                  <c:v>272.7967351868823</c:v>
                </c:pt>
                <c:pt idx="585">
                  <c:v>278.64400977175524</c:v>
                </c:pt>
                <c:pt idx="586">
                  <c:v>276.92638101918362</c:v>
                </c:pt>
                <c:pt idx="587">
                  <c:v>275.49664480439856</c:v>
                </c:pt>
                <c:pt idx="588">
                  <c:v>278.8223187789813</c:v>
                </c:pt>
                <c:pt idx="589">
                  <c:v>274.24147031745974</c:v>
                </c:pt>
                <c:pt idx="590">
                  <c:v>279.90984778646919</c:v>
                </c:pt>
                <c:pt idx="591">
                  <c:v>279.39008341194619</c:v>
                </c:pt>
                <c:pt idx="592">
                  <c:v>278.07328045394445</c:v>
                </c:pt>
                <c:pt idx="593">
                  <c:v>268.64515412236358</c:v>
                </c:pt>
                <c:pt idx="594">
                  <c:v>266.95046585823513</c:v>
                </c:pt>
                <c:pt idx="595">
                  <c:v>270.57668640152406</c:v>
                </c:pt>
                <c:pt idx="596">
                  <c:v>269.82772410736493</c:v>
                </c:pt>
                <c:pt idx="597">
                  <c:v>271.60070300774134</c:v>
                </c:pt>
                <c:pt idx="598">
                  <c:v>278.31109911912063</c:v>
                </c:pt>
                <c:pt idx="599">
                  <c:v>280.96777055168513</c:v>
                </c:pt>
                <c:pt idx="600">
                  <c:v>282.87900873580759</c:v>
                </c:pt>
                <c:pt idx="601">
                  <c:v>289.82259118278319</c:v>
                </c:pt>
                <c:pt idx="602">
                  <c:v>273.18630908903242</c:v>
                </c:pt>
                <c:pt idx="603">
                  <c:v>270.68596255727334</c:v>
                </c:pt>
                <c:pt idx="604">
                  <c:v>268.27243029674139</c:v>
                </c:pt>
                <c:pt idx="605">
                  <c:v>270.71959267616114</c:v>
                </c:pt>
                <c:pt idx="606">
                  <c:v>272.41363843074089</c:v>
                </c:pt>
                <c:pt idx="607">
                  <c:v>291.33190442713908</c:v>
                </c:pt>
                <c:pt idx="608">
                  <c:v>276.03677346412792</c:v>
                </c:pt>
                <c:pt idx="609">
                  <c:v>277.18020439329723</c:v>
                </c:pt>
                <c:pt idx="610">
                  <c:v>279.67543916540819</c:v>
                </c:pt>
                <c:pt idx="611">
                  <c:v>279.03412907952247</c:v>
                </c:pt>
                <c:pt idx="612">
                  <c:v>266.42711615242467</c:v>
                </c:pt>
                <c:pt idx="613">
                  <c:v>277.63578600991696</c:v>
                </c:pt>
                <c:pt idx="614">
                  <c:v>273.77732942875616</c:v>
                </c:pt>
                <c:pt idx="615">
                  <c:v>279.73783389750031</c:v>
                </c:pt>
                <c:pt idx="616">
                  <c:v>281.47951346039201</c:v>
                </c:pt>
                <c:pt idx="617">
                  <c:v>285.15670950772335</c:v>
                </c:pt>
                <c:pt idx="618">
                  <c:v>274.87208887944837</c:v>
                </c:pt>
                <c:pt idx="619">
                  <c:v>277.25504676482728</c:v>
                </c:pt>
                <c:pt idx="620">
                  <c:v>272.61493441219284</c:v>
                </c:pt>
                <c:pt idx="621">
                  <c:v>281.91893243599998</c:v>
                </c:pt>
                <c:pt idx="622">
                  <c:v>272.92086804484336</c:v>
                </c:pt>
                <c:pt idx="623">
                  <c:v>288.97442407658434</c:v>
                </c:pt>
                <c:pt idx="624">
                  <c:v>280.29841699089741</c:v>
                </c:pt>
                <c:pt idx="625">
                  <c:v>298.70050110984596</c:v>
                </c:pt>
                <c:pt idx="626">
                  <c:v>301.52616886933424</c:v>
                </c:pt>
                <c:pt idx="627">
                  <c:v>301.64323984673888</c:v>
                </c:pt>
                <c:pt idx="628">
                  <c:v>304.46118658052637</c:v>
                </c:pt>
                <c:pt idx="629">
                  <c:v>289.36907649378156</c:v>
                </c:pt>
                <c:pt idx="630">
                  <c:v>281.35422074615383</c:v>
                </c:pt>
                <c:pt idx="631">
                  <c:v>284.000385394977</c:v>
                </c:pt>
                <c:pt idx="632">
                  <c:v>276.21321428560577</c:v>
                </c:pt>
                <c:pt idx="633">
                  <c:v>275.99012783525222</c:v>
                </c:pt>
                <c:pt idx="634">
                  <c:v>270.51277100339951</c:v>
                </c:pt>
                <c:pt idx="635">
                  <c:v>276.47923187652088</c:v>
                </c:pt>
                <c:pt idx="636">
                  <c:v>280.20642568906544</c:v>
                </c:pt>
                <c:pt idx="637">
                  <c:v>277.64194386812062</c:v>
                </c:pt>
                <c:pt idx="638">
                  <c:v>276.67513133573527</c:v>
                </c:pt>
                <c:pt idx="639">
                  <c:v>305.48006565550565</c:v>
                </c:pt>
                <c:pt idx="640">
                  <c:v>308.40368872634133</c:v>
                </c:pt>
                <c:pt idx="641">
                  <c:v>357.93546017531708</c:v>
                </c:pt>
                <c:pt idx="642">
                  <c:v>0</c:v>
                </c:pt>
                <c:pt idx="643">
                  <c:v>236.66710277200218</c:v>
                </c:pt>
                <c:pt idx="644">
                  <c:v>289.87543227035167</c:v>
                </c:pt>
                <c:pt idx="645">
                  <c:v>283.25334980894741</c:v>
                </c:pt>
                <c:pt idx="646">
                  <c:v>288.51514824329001</c:v>
                </c:pt>
                <c:pt idx="647">
                  <c:v>289.58929598577072</c:v>
                </c:pt>
                <c:pt idx="648">
                  <c:v>293.67047493212033</c:v>
                </c:pt>
                <c:pt idx="649">
                  <c:v>282.76494960845798</c:v>
                </c:pt>
                <c:pt idx="650">
                  <c:v>284.1481329655611</c:v>
                </c:pt>
                <c:pt idx="651">
                  <c:v>277.25568641638154</c:v>
                </c:pt>
                <c:pt idx="652">
                  <c:v>278.35057008711726</c:v>
                </c:pt>
                <c:pt idx="653">
                  <c:v>274.75629219657355</c:v>
                </c:pt>
                <c:pt idx="654">
                  <c:v>267.51490742845965</c:v>
                </c:pt>
                <c:pt idx="655">
                  <c:v>269.58331931537691</c:v>
                </c:pt>
                <c:pt idx="656">
                  <c:v>280.55802917732967</c:v>
                </c:pt>
                <c:pt idx="657">
                  <c:v>281.90514275533735</c:v>
                </c:pt>
                <c:pt idx="658">
                  <c:v>277.48408807552642</c:v>
                </c:pt>
                <c:pt idx="659">
                  <c:v>288.40063423402387</c:v>
                </c:pt>
                <c:pt idx="660">
                  <c:v>275.996445744722</c:v>
                </c:pt>
                <c:pt idx="661">
                  <c:v>285.37344829866981</c:v>
                </c:pt>
                <c:pt idx="662">
                  <c:v>270.5013036748195</c:v>
                </c:pt>
                <c:pt idx="663">
                  <c:v>272.7626993001777</c:v>
                </c:pt>
                <c:pt idx="664">
                  <c:v>267.16660482105294</c:v>
                </c:pt>
                <c:pt idx="665">
                  <c:v>270.77639573391059</c:v>
                </c:pt>
                <c:pt idx="666">
                  <c:v>279.55362463135123</c:v>
                </c:pt>
                <c:pt idx="667">
                  <c:v>280.14449409618999</c:v>
                </c:pt>
                <c:pt idx="668">
                  <c:v>280.44053046011243</c:v>
                </c:pt>
                <c:pt idx="669">
                  <c:v>293.30959371829715</c:v>
                </c:pt>
                <c:pt idx="670">
                  <c:v>267.64143301452043</c:v>
                </c:pt>
                <c:pt idx="671">
                  <c:v>280.57881215204213</c:v>
                </c:pt>
                <c:pt idx="672">
                  <c:v>275.63094029494766</c:v>
                </c:pt>
                <c:pt idx="673">
                  <c:v>273.66368409368465</c:v>
                </c:pt>
                <c:pt idx="674">
                  <c:v>278.75915260208262</c:v>
                </c:pt>
                <c:pt idx="675">
                  <c:v>275.3267138965216</c:v>
                </c:pt>
                <c:pt idx="676">
                  <c:v>275.84503244840937</c:v>
                </c:pt>
                <c:pt idx="677">
                  <c:v>278.43870425921875</c:v>
                </c:pt>
                <c:pt idx="678">
                  <c:v>273.11488586713415</c:v>
                </c:pt>
                <c:pt idx="679">
                  <c:v>285.68468927904053</c:v>
                </c:pt>
                <c:pt idx="680">
                  <c:v>277.18066460274315</c:v>
                </c:pt>
                <c:pt idx="681">
                  <c:v>282.92866550344024</c:v>
                </c:pt>
                <c:pt idx="682">
                  <c:v>285.74301846187336</c:v>
                </c:pt>
                <c:pt idx="683">
                  <c:v>267.19676455807007</c:v>
                </c:pt>
                <c:pt idx="684">
                  <c:v>295.89354032051153</c:v>
                </c:pt>
                <c:pt idx="685">
                  <c:v>268.10424621982156</c:v>
                </c:pt>
                <c:pt idx="686">
                  <c:v>276.07598466400509</c:v>
                </c:pt>
                <c:pt idx="687">
                  <c:v>275.22579658854522</c:v>
                </c:pt>
                <c:pt idx="688">
                  <c:v>272.23333783112491</c:v>
                </c:pt>
                <c:pt idx="689">
                  <c:v>273.71381026500853</c:v>
                </c:pt>
                <c:pt idx="690">
                  <c:v>273.22793743954833</c:v>
                </c:pt>
                <c:pt idx="691">
                  <c:v>268.98364067414752</c:v>
                </c:pt>
                <c:pt idx="692">
                  <c:v>276.7552713682187</c:v>
                </c:pt>
                <c:pt idx="693">
                  <c:v>275.66113251348554</c:v>
                </c:pt>
                <c:pt idx="694">
                  <c:v>269.76399654827446</c:v>
                </c:pt>
                <c:pt idx="695">
                  <c:v>274.84524090082868</c:v>
                </c:pt>
                <c:pt idx="696">
                  <c:v>273.46092657846282</c:v>
                </c:pt>
                <c:pt idx="697">
                  <c:v>274.8931955820824</c:v>
                </c:pt>
                <c:pt idx="698">
                  <c:v>271.67432420580724</c:v>
                </c:pt>
                <c:pt idx="699">
                  <c:v>268.130456056296</c:v>
                </c:pt>
                <c:pt idx="700">
                  <c:v>268.3593323299275</c:v>
                </c:pt>
                <c:pt idx="701">
                  <c:v>264.75225045624586</c:v>
                </c:pt>
                <c:pt idx="702">
                  <c:v>273.51557698536101</c:v>
                </c:pt>
                <c:pt idx="703">
                  <c:v>270.14883072673524</c:v>
                </c:pt>
                <c:pt idx="704">
                  <c:v>270.61763366114519</c:v>
                </c:pt>
                <c:pt idx="705">
                  <c:v>268.81850357304495</c:v>
                </c:pt>
                <c:pt idx="706">
                  <c:v>268.74929375824343</c:v>
                </c:pt>
                <c:pt idx="707">
                  <c:v>269.67219224628514</c:v>
                </c:pt>
                <c:pt idx="708">
                  <c:v>283.57004201365385</c:v>
                </c:pt>
                <c:pt idx="709">
                  <c:v>271.5630703190501</c:v>
                </c:pt>
                <c:pt idx="710">
                  <c:v>270.33143841459116</c:v>
                </c:pt>
                <c:pt idx="711">
                  <c:v>266.96247000820006</c:v>
                </c:pt>
                <c:pt idx="712">
                  <c:v>272.26037038189929</c:v>
                </c:pt>
                <c:pt idx="713">
                  <c:v>271.86130243536172</c:v>
                </c:pt>
                <c:pt idx="714">
                  <c:v>264.12446829985004</c:v>
                </c:pt>
                <c:pt idx="715">
                  <c:v>268.52672663467831</c:v>
                </c:pt>
                <c:pt idx="716">
                  <c:v>266.92930381803387</c:v>
                </c:pt>
                <c:pt idx="717">
                  <c:v>271.63887801075509</c:v>
                </c:pt>
                <c:pt idx="718">
                  <c:v>264.15436586910528</c:v>
                </c:pt>
                <c:pt idx="719">
                  <c:v>269.04026908432979</c:v>
                </c:pt>
                <c:pt idx="720">
                  <c:v>251.78170297752331</c:v>
                </c:pt>
                <c:pt idx="721">
                  <c:v>270.71379572269655</c:v>
                </c:pt>
                <c:pt idx="722">
                  <c:v>272.22262191296886</c:v>
                </c:pt>
                <c:pt idx="723">
                  <c:v>276.07803941912471</c:v>
                </c:pt>
                <c:pt idx="724">
                  <c:v>292.7979552729912</c:v>
                </c:pt>
                <c:pt idx="725">
                  <c:v>385.68512274786099</c:v>
                </c:pt>
                <c:pt idx="726">
                  <c:v>222.87328401299101</c:v>
                </c:pt>
                <c:pt idx="727">
                  <c:v>277.04376049955238</c:v>
                </c:pt>
                <c:pt idx="728">
                  <c:v>271.1954234309153</c:v>
                </c:pt>
                <c:pt idx="729">
                  <c:v>267.38101729569644</c:v>
                </c:pt>
                <c:pt idx="730">
                  <c:v>267.14917163057339</c:v>
                </c:pt>
                <c:pt idx="731">
                  <c:v>272.54258379691316</c:v>
                </c:pt>
                <c:pt idx="732">
                  <c:v>273.16005526039714</c:v>
                </c:pt>
                <c:pt idx="733">
                  <c:v>268.68470164656742</c:v>
                </c:pt>
                <c:pt idx="734">
                  <c:v>268.81522834823045</c:v>
                </c:pt>
                <c:pt idx="735">
                  <c:v>269.31227424491613</c:v>
                </c:pt>
                <c:pt idx="736">
                  <c:v>274.1959098144539</c:v>
                </c:pt>
                <c:pt idx="737">
                  <c:v>273.32755179392711</c:v>
                </c:pt>
                <c:pt idx="738">
                  <c:v>273.64059613981078</c:v>
                </c:pt>
                <c:pt idx="739">
                  <c:v>275.512762473061</c:v>
                </c:pt>
                <c:pt idx="740">
                  <c:v>272.2738954045933</c:v>
                </c:pt>
                <c:pt idx="741">
                  <c:v>270.88389182711637</c:v>
                </c:pt>
                <c:pt idx="742">
                  <c:v>280.39479934535223</c:v>
                </c:pt>
                <c:pt idx="743">
                  <c:v>269.5347836392292</c:v>
                </c:pt>
                <c:pt idx="744">
                  <c:v>267.28220484386964</c:v>
                </c:pt>
                <c:pt idx="745">
                  <c:v>265.89944147537028</c:v>
                </c:pt>
                <c:pt idx="746">
                  <c:v>266.25255006810676</c:v>
                </c:pt>
                <c:pt idx="747">
                  <c:v>268.05564473777429</c:v>
                </c:pt>
                <c:pt idx="748">
                  <c:v>266.59184856961804</c:v>
                </c:pt>
                <c:pt idx="749">
                  <c:v>269.53531229555585</c:v>
                </c:pt>
                <c:pt idx="750">
                  <c:v>267.2818380233939</c:v>
                </c:pt>
                <c:pt idx="751">
                  <c:v>263.71493392319837</c:v>
                </c:pt>
                <c:pt idx="752">
                  <c:v>256.65261780276421</c:v>
                </c:pt>
                <c:pt idx="753">
                  <c:v>270.93691897648557</c:v>
                </c:pt>
                <c:pt idx="754">
                  <c:v>266.06268401774616</c:v>
                </c:pt>
                <c:pt idx="755">
                  <c:v>265.52886065518612</c:v>
                </c:pt>
                <c:pt idx="756">
                  <c:v>268.49257925899349</c:v>
                </c:pt>
                <c:pt idx="757">
                  <c:v>264.48289104337118</c:v>
                </c:pt>
                <c:pt idx="758">
                  <c:v>271.91422987407566</c:v>
                </c:pt>
                <c:pt idx="759">
                  <c:v>272.0566644545969</c:v>
                </c:pt>
                <c:pt idx="760">
                  <c:v>269.75241025746402</c:v>
                </c:pt>
                <c:pt idx="761">
                  <c:v>275.02452600022627</c:v>
                </c:pt>
                <c:pt idx="762">
                  <c:v>274.55239009816921</c:v>
                </c:pt>
                <c:pt idx="763">
                  <c:v>268.43651211332474</c:v>
                </c:pt>
                <c:pt idx="764">
                  <c:v>270.00295446836401</c:v>
                </c:pt>
                <c:pt idx="765">
                  <c:v>274.93183626766859</c:v>
                </c:pt>
                <c:pt idx="766">
                  <c:v>266.64614640121988</c:v>
                </c:pt>
                <c:pt idx="767">
                  <c:v>268.99733462534982</c:v>
                </c:pt>
                <c:pt idx="768">
                  <c:v>268.74657576326877</c:v>
                </c:pt>
                <c:pt idx="769">
                  <c:v>268.81881402372937</c:v>
                </c:pt>
                <c:pt idx="770">
                  <c:v>271.65691820351742</c:v>
                </c:pt>
                <c:pt idx="771">
                  <c:v>270.34724806965835</c:v>
                </c:pt>
                <c:pt idx="772">
                  <c:v>264.76814218766822</c:v>
                </c:pt>
                <c:pt idx="773">
                  <c:v>267.67776680485179</c:v>
                </c:pt>
                <c:pt idx="774">
                  <c:v>266.95803545267165</c:v>
                </c:pt>
                <c:pt idx="775">
                  <c:v>268.26104687203315</c:v>
                </c:pt>
                <c:pt idx="776">
                  <c:v>265.18879907421899</c:v>
                </c:pt>
                <c:pt idx="777">
                  <c:v>266.61016056422852</c:v>
                </c:pt>
                <c:pt idx="778">
                  <c:v>265.57095120757356</c:v>
                </c:pt>
                <c:pt idx="779">
                  <c:v>261.59400642217406</c:v>
                </c:pt>
                <c:pt idx="780">
                  <c:v>263.66330969279579</c:v>
                </c:pt>
                <c:pt idx="781">
                  <c:v>264.79804277403036</c:v>
                </c:pt>
                <c:pt idx="782">
                  <c:v>265.86801762747643</c:v>
                </c:pt>
                <c:pt idx="783">
                  <c:v>266.54747680117725</c:v>
                </c:pt>
                <c:pt idx="784">
                  <c:v>272.15424026077017</c:v>
                </c:pt>
                <c:pt idx="785">
                  <c:v>274.83880399920724</c:v>
                </c:pt>
                <c:pt idx="786">
                  <c:v>270.33452862736556</c:v>
                </c:pt>
                <c:pt idx="787">
                  <c:v>270.87293063527397</c:v>
                </c:pt>
                <c:pt idx="788">
                  <c:v>277.78592262580935</c:v>
                </c:pt>
                <c:pt idx="789">
                  <c:v>267.3604729008656</c:v>
                </c:pt>
                <c:pt idx="790">
                  <c:v>269.94173587134298</c:v>
                </c:pt>
                <c:pt idx="791">
                  <c:v>257.79206726563245</c:v>
                </c:pt>
                <c:pt idx="792">
                  <c:v>262.69717078407143</c:v>
                </c:pt>
                <c:pt idx="793">
                  <c:v>268.51213626094204</c:v>
                </c:pt>
                <c:pt idx="794">
                  <c:v>267.01184914525015</c:v>
                </c:pt>
                <c:pt idx="795">
                  <c:v>265.38628840762215</c:v>
                </c:pt>
                <c:pt idx="796">
                  <c:v>269.41425601374215</c:v>
                </c:pt>
                <c:pt idx="797">
                  <c:v>272.49150674261591</c:v>
                </c:pt>
                <c:pt idx="798">
                  <c:v>269.83892088136383</c:v>
                </c:pt>
                <c:pt idx="799">
                  <c:v>269.89187353098487</c:v>
                </c:pt>
                <c:pt idx="800">
                  <c:v>273.06921630369254</c:v>
                </c:pt>
                <c:pt idx="801">
                  <c:v>268.92289799857963</c:v>
                </c:pt>
                <c:pt idx="802">
                  <c:v>274.91424267199727</c:v>
                </c:pt>
                <c:pt idx="803">
                  <c:v>277.30402270369177</c:v>
                </c:pt>
                <c:pt idx="804">
                  <c:v>268.13886537312271</c:v>
                </c:pt>
                <c:pt idx="805">
                  <c:v>280.55765247724128</c:v>
                </c:pt>
                <c:pt idx="806">
                  <c:v>278.02961408689953</c:v>
                </c:pt>
                <c:pt idx="807">
                  <c:v>269.18113541818593</c:v>
                </c:pt>
                <c:pt idx="808">
                  <c:v>274.71736816457781</c:v>
                </c:pt>
                <c:pt idx="809">
                  <c:v>277.1199608367682</c:v>
                </c:pt>
                <c:pt idx="810">
                  <c:v>274.76416712437288</c:v>
                </c:pt>
                <c:pt idx="811">
                  <c:v>267.66219632570596</c:v>
                </c:pt>
                <c:pt idx="812">
                  <c:v>275.23978573111685</c:v>
                </c:pt>
                <c:pt idx="813">
                  <c:v>271.98690113540681</c:v>
                </c:pt>
                <c:pt idx="814">
                  <c:v>270.08821947753279</c:v>
                </c:pt>
                <c:pt idx="815">
                  <c:v>266.43992607622317</c:v>
                </c:pt>
                <c:pt idx="816">
                  <c:v>267.66607427369456</c:v>
                </c:pt>
                <c:pt idx="817">
                  <c:v>270.11322085516849</c:v>
                </c:pt>
                <c:pt idx="818">
                  <c:v>272.64227768595129</c:v>
                </c:pt>
                <c:pt idx="819">
                  <c:v>275.26835282005095</c:v>
                </c:pt>
                <c:pt idx="820">
                  <c:v>275.32828129538302</c:v>
                </c:pt>
                <c:pt idx="821">
                  <c:v>275.05122929495872</c:v>
                </c:pt>
                <c:pt idx="822">
                  <c:v>273.41003735719403</c:v>
                </c:pt>
                <c:pt idx="823">
                  <c:v>281.90078462656072</c:v>
                </c:pt>
                <c:pt idx="824">
                  <c:v>276.47282550302816</c:v>
                </c:pt>
                <c:pt idx="825">
                  <c:v>290.65080644669092</c:v>
                </c:pt>
                <c:pt idx="826">
                  <c:v>279.74248941396911</c:v>
                </c:pt>
                <c:pt idx="827">
                  <c:v>282.4577374048223</c:v>
                </c:pt>
                <c:pt idx="828">
                  <c:v>284.53676863792282</c:v>
                </c:pt>
                <c:pt idx="829">
                  <c:v>287.63563899910616</c:v>
                </c:pt>
                <c:pt idx="830">
                  <c:v>285.67683259265391</c:v>
                </c:pt>
                <c:pt idx="831">
                  <c:v>287.77782436440691</c:v>
                </c:pt>
                <c:pt idx="832">
                  <c:v>278.24043413737104</c:v>
                </c:pt>
                <c:pt idx="833">
                  <c:v>282.20351521846999</c:v>
                </c:pt>
                <c:pt idx="834">
                  <c:v>284.59106800797952</c:v>
                </c:pt>
                <c:pt idx="835">
                  <c:v>270.17051694813665</c:v>
                </c:pt>
                <c:pt idx="836">
                  <c:v>274.48014912418932</c:v>
                </c:pt>
                <c:pt idx="837">
                  <c:v>275.00868143255991</c:v>
                </c:pt>
                <c:pt idx="838">
                  <c:v>272.86170355956858</c:v>
                </c:pt>
                <c:pt idx="839">
                  <c:v>275.80265834166244</c:v>
                </c:pt>
                <c:pt idx="840">
                  <c:v>277.89980268204124</c:v>
                </c:pt>
                <c:pt idx="841">
                  <c:v>277.28283110865777</c:v>
                </c:pt>
                <c:pt idx="842">
                  <c:v>277.52699890677195</c:v>
                </c:pt>
                <c:pt idx="843">
                  <c:v>278.83376609110519</c:v>
                </c:pt>
                <c:pt idx="844">
                  <c:v>281.50685087138254</c:v>
                </c:pt>
                <c:pt idx="845">
                  <c:v>274.00667569417089</c:v>
                </c:pt>
                <c:pt idx="846">
                  <c:v>292.13253166952416</c:v>
                </c:pt>
                <c:pt idx="847">
                  <c:v>278.1653118094946</c:v>
                </c:pt>
                <c:pt idx="848">
                  <c:v>273.20625422426792</c:v>
                </c:pt>
                <c:pt idx="849">
                  <c:v>280.68058705013289</c:v>
                </c:pt>
                <c:pt idx="850">
                  <c:v>274.31262480147279</c:v>
                </c:pt>
                <c:pt idx="851">
                  <c:v>272.14391826023586</c:v>
                </c:pt>
                <c:pt idx="852">
                  <c:v>284.04780926754574</c:v>
                </c:pt>
                <c:pt idx="853">
                  <c:v>274.09998813323841</c:v>
                </c:pt>
                <c:pt idx="854">
                  <c:v>279.74327849019869</c:v>
                </c:pt>
                <c:pt idx="855">
                  <c:v>275.47806312846592</c:v>
                </c:pt>
                <c:pt idx="856">
                  <c:v>277.9976402922041</c:v>
                </c:pt>
                <c:pt idx="857">
                  <c:v>280.96680716032768</c:v>
                </c:pt>
                <c:pt idx="858">
                  <c:v>279.56840809944174</c:v>
                </c:pt>
                <c:pt idx="859">
                  <c:v>279.14523780146419</c:v>
                </c:pt>
                <c:pt idx="860">
                  <c:v>284.45366825293138</c:v>
                </c:pt>
                <c:pt idx="861">
                  <c:v>297.72040360571077</c:v>
                </c:pt>
                <c:pt idx="862">
                  <c:v>228.71893280802078</c:v>
                </c:pt>
                <c:pt idx="863">
                  <c:v>275.71564304074718</c:v>
                </c:pt>
                <c:pt idx="864">
                  <c:v>306.63091377180479</c:v>
                </c:pt>
                <c:pt idx="865">
                  <c:v>302.33919523466773</c:v>
                </c:pt>
                <c:pt idx="866">
                  <c:v>270.33733025422055</c:v>
                </c:pt>
                <c:pt idx="867">
                  <c:v>281.12505473384817</c:v>
                </c:pt>
                <c:pt idx="868">
                  <c:v>287.60551160234718</c:v>
                </c:pt>
                <c:pt idx="869">
                  <c:v>285.22371997001528</c:v>
                </c:pt>
                <c:pt idx="870">
                  <c:v>276.50359036436691</c:v>
                </c:pt>
                <c:pt idx="871">
                  <c:v>281.53098994909556</c:v>
                </c:pt>
                <c:pt idx="872">
                  <c:v>273.4259907202196</c:v>
                </c:pt>
                <c:pt idx="873">
                  <c:v>275.6855271200244</c:v>
                </c:pt>
                <c:pt idx="874">
                  <c:v>275.08808140033295</c:v>
                </c:pt>
                <c:pt idx="875">
                  <c:v>277.67362957103876</c:v>
                </c:pt>
                <c:pt idx="876">
                  <c:v>274.71925954831579</c:v>
                </c:pt>
                <c:pt idx="877">
                  <c:v>275.13123865894249</c:v>
                </c:pt>
                <c:pt idx="878">
                  <c:v>274.40273697037844</c:v>
                </c:pt>
                <c:pt idx="879">
                  <c:v>275.29493247666255</c:v>
                </c:pt>
                <c:pt idx="880">
                  <c:v>275.70149165350415</c:v>
                </c:pt>
                <c:pt idx="881">
                  <c:v>275.28477969451296</c:v>
                </c:pt>
                <c:pt idx="882">
                  <c:v>280.07777841631605</c:v>
                </c:pt>
                <c:pt idx="883">
                  <c:v>275.1689181555447</c:v>
                </c:pt>
                <c:pt idx="884">
                  <c:v>281.21039590644614</c:v>
                </c:pt>
                <c:pt idx="885">
                  <c:v>278.29717136833949</c:v>
                </c:pt>
                <c:pt idx="886">
                  <c:v>281.46497579797426</c:v>
                </c:pt>
                <c:pt idx="887">
                  <c:v>276.87815692870709</c:v>
                </c:pt>
                <c:pt idx="888">
                  <c:v>276.36770392909</c:v>
                </c:pt>
                <c:pt idx="889">
                  <c:v>270.68566813238624</c:v>
                </c:pt>
                <c:pt idx="890">
                  <c:v>274.39418286345085</c:v>
                </c:pt>
                <c:pt idx="891">
                  <c:v>271.86132833819136</c:v>
                </c:pt>
                <c:pt idx="892">
                  <c:v>276.16234233715261</c:v>
                </c:pt>
                <c:pt idx="893">
                  <c:v>272.67336830402462</c:v>
                </c:pt>
                <c:pt idx="894">
                  <c:v>270.87674458943764</c:v>
                </c:pt>
                <c:pt idx="895">
                  <c:v>271.08373538604337</c:v>
                </c:pt>
                <c:pt idx="896">
                  <c:v>272.34144334846417</c:v>
                </c:pt>
                <c:pt idx="897">
                  <c:v>273.76595314261647</c:v>
                </c:pt>
                <c:pt idx="898">
                  <c:v>276.05091259759297</c:v>
                </c:pt>
                <c:pt idx="899">
                  <c:v>276.40761978686146</c:v>
                </c:pt>
                <c:pt idx="900">
                  <c:v>273.61536254043403</c:v>
                </c:pt>
                <c:pt idx="901">
                  <c:v>274.77729063382105</c:v>
                </c:pt>
                <c:pt idx="902">
                  <c:v>268.94443847786124</c:v>
                </c:pt>
                <c:pt idx="903">
                  <c:v>268.185717191545</c:v>
                </c:pt>
                <c:pt idx="904">
                  <c:v>272.7684103885141</c:v>
                </c:pt>
                <c:pt idx="905">
                  <c:v>276.31032434133556</c:v>
                </c:pt>
                <c:pt idx="906">
                  <c:v>272.41387404756063</c:v>
                </c:pt>
                <c:pt idx="907">
                  <c:v>275.92454422812443</c:v>
                </c:pt>
                <c:pt idx="908">
                  <c:v>272.23978353379357</c:v>
                </c:pt>
                <c:pt idx="909">
                  <c:v>272.60186180355299</c:v>
                </c:pt>
                <c:pt idx="910">
                  <c:v>273.65204616028916</c:v>
                </c:pt>
                <c:pt idx="911">
                  <c:v>275.71264610967762</c:v>
                </c:pt>
                <c:pt idx="912">
                  <c:v>273.83543860759289</c:v>
                </c:pt>
                <c:pt idx="913">
                  <c:v>271.31002247957099</c:v>
                </c:pt>
                <c:pt idx="914">
                  <c:v>275.17197737916001</c:v>
                </c:pt>
                <c:pt idx="915">
                  <c:v>272.46777397349547</c:v>
                </c:pt>
                <c:pt idx="916">
                  <c:v>276.47804466411822</c:v>
                </c:pt>
                <c:pt idx="917">
                  <c:v>275.42449363050184</c:v>
                </c:pt>
                <c:pt idx="918">
                  <c:v>278.2239301646714</c:v>
                </c:pt>
                <c:pt idx="919">
                  <c:v>281.87373138465182</c:v>
                </c:pt>
                <c:pt idx="920">
                  <c:v>279.26800484404475</c:v>
                </c:pt>
                <c:pt idx="921">
                  <c:v>273.62874832336604</c:v>
                </c:pt>
                <c:pt idx="922">
                  <c:v>281.66702248820184</c:v>
                </c:pt>
                <c:pt idx="923">
                  <c:v>286.38304613868149</c:v>
                </c:pt>
                <c:pt idx="924">
                  <c:v>278.82333270770039</c:v>
                </c:pt>
                <c:pt idx="925">
                  <c:v>273.59130063992257</c:v>
                </c:pt>
                <c:pt idx="926">
                  <c:v>270.07365854896011</c:v>
                </c:pt>
                <c:pt idx="927">
                  <c:v>269.4733615454345</c:v>
                </c:pt>
                <c:pt idx="928">
                  <c:v>271.85594569778425</c:v>
                </c:pt>
                <c:pt idx="929">
                  <c:v>268.66266972500728</c:v>
                </c:pt>
                <c:pt idx="930">
                  <c:v>272.49282539267836</c:v>
                </c:pt>
                <c:pt idx="931">
                  <c:v>279.30593960352951</c:v>
                </c:pt>
                <c:pt idx="932">
                  <c:v>277.56981406232876</c:v>
                </c:pt>
                <c:pt idx="933">
                  <c:v>273.85538000403471</c:v>
                </c:pt>
                <c:pt idx="934">
                  <c:v>274.0829037240735</c:v>
                </c:pt>
                <c:pt idx="935">
                  <c:v>273.00661105167887</c:v>
                </c:pt>
                <c:pt idx="936">
                  <c:v>269.7376262960039</c:v>
                </c:pt>
                <c:pt idx="937">
                  <c:v>275.70973736113353</c:v>
                </c:pt>
                <c:pt idx="938">
                  <c:v>277.24118408020638</c:v>
                </c:pt>
                <c:pt idx="939">
                  <c:v>268.73689381846441</c:v>
                </c:pt>
                <c:pt idx="940">
                  <c:v>272.5044771785723</c:v>
                </c:pt>
                <c:pt idx="941">
                  <c:v>273.00504402040099</c:v>
                </c:pt>
                <c:pt idx="942">
                  <c:v>271.48672703599141</c:v>
                </c:pt>
                <c:pt idx="943">
                  <c:v>271.96323580293324</c:v>
                </c:pt>
                <c:pt idx="944">
                  <c:v>268.9571335508374</c:v>
                </c:pt>
                <c:pt idx="945">
                  <c:v>275.94023912212981</c:v>
                </c:pt>
                <c:pt idx="946">
                  <c:v>276.47051210620691</c:v>
                </c:pt>
                <c:pt idx="947">
                  <c:v>278.42235083031596</c:v>
                </c:pt>
                <c:pt idx="948">
                  <c:v>277.26807597722097</c:v>
                </c:pt>
                <c:pt idx="949">
                  <c:v>279.05555396586647</c:v>
                </c:pt>
                <c:pt idx="950">
                  <c:v>277.78158837419085</c:v>
                </c:pt>
                <c:pt idx="951">
                  <c:v>276.419802153864</c:v>
                </c:pt>
                <c:pt idx="952">
                  <c:v>271.90256715388705</c:v>
                </c:pt>
                <c:pt idx="953">
                  <c:v>273.2993871069599</c:v>
                </c:pt>
                <c:pt idx="954">
                  <c:v>271.83677370623036</c:v>
                </c:pt>
                <c:pt idx="955">
                  <c:v>280.58338315024901</c:v>
                </c:pt>
                <c:pt idx="956">
                  <c:v>388.75059641408143</c:v>
                </c:pt>
                <c:pt idx="957">
                  <c:v>241.36540664134566</c:v>
                </c:pt>
                <c:pt idx="958">
                  <c:v>286.93205770452607</c:v>
                </c:pt>
                <c:pt idx="959">
                  <c:v>273.38443051234447</c:v>
                </c:pt>
                <c:pt idx="960">
                  <c:v>275.610852843609</c:v>
                </c:pt>
                <c:pt idx="961">
                  <c:v>273.83111826272489</c:v>
                </c:pt>
                <c:pt idx="962">
                  <c:v>269.76142856453191</c:v>
                </c:pt>
                <c:pt idx="963">
                  <c:v>276.47734638369718</c:v>
                </c:pt>
                <c:pt idx="964">
                  <c:v>274.78071316808018</c:v>
                </c:pt>
                <c:pt idx="965">
                  <c:v>272.52386610162671</c:v>
                </c:pt>
                <c:pt idx="966">
                  <c:v>270.46568287743764</c:v>
                </c:pt>
                <c:pt idx="967">
                  <c:v>270.09725544621153</c:v>
                </c:pt>
                <c:pt idx="968">
                  <c:v>272.78367173778724</c:v>
                </c:pt>
                <c:pt idx="969">
                  <c:v>273.11191743743234</c:v>
                </c:pt>
                <c:pt idx="970">
                  <c:v>267.74972255441412</c:v>
                </c:pt>
                <c:pt idx="971">
                  <c:v>273.59238753247598</c:v>
                </c:pt>
                <c:pt idx="972">
                  <c:v>269.36486880229938</c:v>
                </c:pt>
                <c:pt idx="973">
                  <c:v>270.40263682847421</c:v>
                </c:pt>
                <c:pt idx="974">
                  <c:v>277.69350790659962</c:v>
                </c:pt>
                <c:pt idx="975">
                  <c:v>272.07262409567841</c:v>
                </c:pt>
                <c:pt idx="976">
                  <c:v>273.34262098739134</c:v>
                </c:pt>
                <c:pt idx="977">
                  <c:v>270.14501849869851</c:v>
                </c:pt>
                <c:pt idx="978">
                  <c:v>275.12679448033327</c:v>
                </c:pt>
                <c:pt idx="979">
                  <c:v>272.21750276750231</c:v>
                </c:pt>
                <c:pt idx="980">
                  <c:v>276.1162898827107</c:v>
                </c:pt>
                <c:pt idx="981">
                  <c:v>275.32598019618183</c:v>
                </c:pt>
                <c:pt idx="982">
                  <c:v>275.54607374056741</c:v>
                </c:pt>
                <c:pt idx="983">
                  <c:v>276.82133840550125</c:v>
                </c:pt>
                <c:pt idx="984">
                  <c:v>278.71345564098351</c:v>
                </c:pt>
                <c:pt idx="985">
                  <c:v>281.92628789692594</c:v>
                </c:pt>
                <c:pt idx="986">
                  <c:v>284.42452149998803</c:v>
                </c:pt>
                <c:pt idx="987">
                  <c:v>282.56894734334867</c:v>
                </c:pt>
                <c:pt idx="988">
                  <c:v>273.43445429100404</c:v>
                </c:pt>
                <c:pt idx="989">
                  <c:v>277.88045427117299</c:v>
                </c:pt>
                <c:pt idx="990">
                  <c:v>280.33877373828511</c:v>
                </c:pt>
                <c:pt idx="991">
                  <c:v>277.54356476632654</c:v>
                </c:pt>
                <c:pt idx="992">
                  <c:v>275.12213669775565</c:v>
                </c:pt>
                <c:pt idx="993">
                  <c:v>273.52209554500996</c:v>
                </c:pt>
                <c:pt idx="994">
                  <c:v>275.73361620043488</c:v>
                </c:pt>
                <c:pt idx="995">
                  <c:v>273.92984607265328</c:v>
                </c:pt>
                <c:pt idx="996">
                  <c:v>276.12731723480738</c:v>
                </c:pt>
                <c:pt idx="997">
                  <c:v>282.30085886939537</c:v>
                </c:pt>
                <c:pt idx="998">
                  <c:v>247.229627968974</c:v>
                </c:pt>
                <c:pt idx="999">
                  <c:v>275.17315716096437</c:v>
                </c:pt>
                <c:pt idx="1000">
                  <c:v>275.53194314826828</c:v>
                </c:pt>
                <c:pt idx="1001">
                  <c:v>283.9760714008778</c:v>
                </c:pt>
                <c:pt idx="1002">
                  <c:v>275.76203568345977</c:v>
                </c:pt>
                <c:pt idx="1003">
                  <c:v>274.56032135614862</c:v>
                </c:pt>
                <c:pt idx="1004">
                  <c:v>280.31108568682396</c:v>
                </c:pt>
                <c:pt idx="1005">
                  <c:v>278.21640228083595</c:v>
                </c:pt>
                <c:pt idx="1006">
                  <c:v>282.15652122454708</c:v>
                </c:pt>
                <c:pt idx="1007">
                  <c:v>277.75452320042825</c:v>
                </c:pt>
                <c:pt idx="1008">
                  <c:v>284.50503605959307</c:v>
                </c:pt>
                <c:pt idx="1009">
                  <c:v>273.89222398244772</c:v>
                </c:pt>
                <c:pt idx="1010">
                  <c:v>279.08633356030191</c:v>
                </c:pt>
                <c:pt idx="1011">
                  <c:v>284.27180594812808</c:v>
                </c:pt>
                <c:pt idx="1012">
                  <c:v>283.36575932783853</c:v>
                </c:pt>
                <c:pt idx="1013">
                  <c:v>277.39636659023904</c:v>
                </c:pt>
                <c:pt idx="1014">
                  <c:v>267.57255000990313</c:v>
                </c:pt>
                <c:pt idx="1015">
                  <c:v>273.41347538731179</c:v>
                </c:pt>
                <c:pt idx="1016">
                  <c:v>275.23607424315912</c:v>
                </c:pt>
                <c:pt idx="1017">
                  <c:v>275.97189479569545</c:v>
                </c:pt>
                <c:pt idx="1018">
                  <c:v>273.62256686020305</c:v>
                </c:pt>
                <c:pt idx="1019">
                  <c:v>273.15454505856235</c:v>
                </c:pt>
                <c:pt idx="1020">
                  <c:v>276.81376166822042</c:v>
                </c:pt>
                <c:pt idx="1021">
                  <c:v>278.91225402523969</c:v>
                </c:pt>
                <c:pt idx="1022">
                  <c:v>277.79481460330965</c:v>
                </c:pt>
                <c:pt idx="1023">
                  <c:v>274.73796388920289</c:v>
                </c:pt>
                <c:pt idx="1024">
                  <c:v>272.9359687770617</c:v>
                </c:pt>
                <c:pt idx="1025">
                  <c:v>271.32312182669875</c:v>
                </c:pt>
                <c:pt idx="1026">
                  <c:v>284.10584139073205</c:v>
                </c:pt>
                <c:pt idx="1027">
                  <c:v>270.73471271195626</c:v>
                </c:pt>
                <c:pt idx="1028">
                  <c:v>290.74141155968982</c:v>
                </c:pt>
                <c:pt idx="1029">
                  <c:v>289.67403009297175</c:v>
                </c:pt>
                <c:pt idx="1030">
                  <c:v>299.41834111872174</c:v>
                </c:pt>
                <c:pt idx="1031">
                  <c:v>289.10824207670748</c:v>
                </c:pt>
                <c:pt idx="1032">
                  <c:v>284.14092719903078</c:v>
                </c:pt>
                <c:pt idx="1033">
                  <c:v>276.47145680037772</c:v>
                </c:pt>
                <c:pt idx="1034">
                  <c:v>270.80093538234212</c:v>
                </c:pt>
                <c:pt idx="1035">
                  <c:v>264.76962184661204</c:v>
                </c:pt>
                <c:pt idx="1036">
                  <c:v>286.02293146108877</c:v>
                </c:pt>
                <c:pt idx="1037">
                  <c:v>272.11479567840843</c:v>
                </c:pt>
                <c:pt idx="1038">
                  <c:v>274.17049267363598</c:v>
                </c:pt>
                <c:pt idx="1039">
                  <c:v>275.7280042574929</c:v>
                </c:pt>
                <c:pt idx="1040">
                  <c:v>279.56213294760937</c:v>
                </c:pt>
                <c:pt idx="1041">
                  <c:v>267.71807688309502</c:v>
                </c:pt>
                <c:pt idx="1042">
                  <c:v>278.76990243579326</c:v>
                </c:pt>
                <c:pt idx="1043">
                  <c:v>305.15456479521197</c:v>
                </c:pt>
                <c:pt idx="1044">
                  <c:v>280.43293439943193</c:v>
                </c:pt>
                <c:pt idx="1045">
                  <c:v>273.36650034530305</c:v>
                </c:pt>
                <c:pt idx="1046">
                  <c:v>273.06475416284104</c:v>
                </c:pt>
                <c:pt idx="1047">
                  <c:v>270.60882921010568</c:v>
                </c:pt>
                <c:pt idx="1048">
                  <c:v>274.64490155037458</c:v>
                </c:pt>
                <c:pt idx="1049">
                  <c:v>274.6326786362265</c:v>
                </c:pt>
                <c:pt idx="1050">
                  <c:v>277.7075308323025</c:v>
                </c:pt>
                <c:pt idx="1051">
                  <c:v>272.29948118440257</c:v>
                </c:pt>
                <c:pt idx="1052">
                  <c:v>272.11666125637589</c:v>
                </c:pt>
                <c:pt idx="1053">
                  <c:v>274.40112433874015</c:v>
                </c:pt>
                <c:pt idx="1054">
                  <c:v>282.95618267061366</c:v>
                </c:pt>
                <c:pt idx="1055">
                  <c:v>280.52798534499959</c:v>
                </c:pt>
                <c:pt idx="1056">
                  <c:v>276.19152732554608</c:v>
                </c:pt>
                <c:pt idx="1057">
                  <c:v>267.02492388469364</c:v>
                </c:pt>
                <c:pt idx="1058">
                  <c:v>276.51945361648768</c:v>
                </c:pt>
                <c:pt idx="1059">
                  <c:v>274.36958750519386</c:v>
                </c:pt>
                <c:pt idx="1060">
                  <c:v>261.0591888021163</c:v>
                </c:pt>
                <c:pt idx="1061">
                  <c:v>267.03892281325443</c:v>
                </c:pt>
                <c:pt idx="1062">
                  <c:v>267.94204857672003</c:v>
                </c:pt>
                <c:pt idx="1063">
                  <c:v>274.08981217297412</c:v>
                </c:pt>
                <c:pt idx="1064">
                  <c:v>274.10120479460295</c:v>
                </c:pt>
                <c:pt idx="1065">
                  <c:v>273.24514955779784</c:v>
                </c:pt>
                <c:pt idx="1066">
                  <c:v>274.056867550128</c:v>
                </c:pt>
                <c:pt idx="1067">
                  <c:v>272.04773076938034</c:v>
                </c:pt>
                <c:pt idx="1068">
                  <c:v>274.76215456016348</c:v>
                </c:pt>
                <c:pt idx="1069">
                  <c:v>275.45107610162836</c:v>
                </c:pt>
                <c:pt idx="1070">
                  <c:v>273.78202369570124</c:v>
                </c:pt>
                <c:pt idx="1071">
                  <c:v>272.61579513570859</c:v>
                </c:pt>
                <c:pt idx="1072">
                  <c:v>274.23647046829808</c:v>
                </c:pt>
                <c:pt idx="1073">
                  <c:v>271.66007015175069</c:v>
                </c:pt>
                <c:pt idx="1074">
                  <c:v>272.51481096316843</c:v>
                </c:pt>
                <c:pt idx="1075">
                  <c:v>265.82173626099654</c:v>
                </c:pt>
                <c:pt idx="1076">
                  <c:v>279.40419758058442</c:v>
                </c:pt>
                <c:pt idx="1077">
                  <c:v>272.46132943399493</c:v>
                </c:pt>
                <c:pt idx="1078">
                  <c:v>273.80018129295172</c:v>
                </c:pt>
                <c:pt idx="1079">
                  <c:v>267.1843723382658</c:v>
                </c:pt>
                <c:pt idx="1080">
                  <c:v>270.27768975658284</c:v>
                </c:pt>
                <c:pt idx="1081">
                  <c:v>275.9988897850526</c:v>
                </c:pt>
                <c:pt idx="1082">
                  <c:v>274.01694225814879</c:v>
                </c:pt>
                <c:pt idx="1083">
                  <c:v>275.08772298923327</c:v>
                </c:pt>
                <c:pt idx="1084">
                  <c:v>298.09698697465274</c:v>
                </c:pt>
                <c:pt idx="1085">
                  <c:v>283.02869772448275</c:v>
                </c:pt>
                <c:pt idx="1086">
                  <c:v>262.47661023615524</c:v>
                </c:pt>
                <c:pt idx="1087">
                  <c:v>273.26963422422591</c:v>
                </c:pt>
                <c:pt idx="1088">
                  <c:v>264.22266628716329</c:v>
                </c:pt>
                <c:pt idx="1089">
                  <c:v>264.84611379001615</c:v>
                </c:pt>
                <c:pt idx="1090">
                  <c:v>266.47512858644893</c:v>
                </c:pt>
                <c:pt idx="1091">
                  <c:v>267.31691765308381</c:v>
                </c:pt>
                <c:pt idx="1092">
                  <c:v>269.53999358713554</c:v>
                </c:pt>
                <c:pt idx="1093">
                  <c:v>267.02102653367172</c:v>
                </c:pt>
                <c:pt idx="1094">
                  <c:v>269.77798130657447</c:v>
                </c:pt>
                <c:pt idx="1095">
                  <c:v>273.64901323931872</c:v>
                </c:pt>
              </c:numCache>
            </c:numRef>
          </c:yVal>
          <c:smooth val="0"/>
          <c:extLst>
            <c:ext xmlns:c16="http://schemas.microsoft.com/office/drawing/2014/chart" uri="{C3380CC4-5D6E-409C-BE32-E72D297353CC}">
              <c16:uniqueId val="{00000000-31F0-4C8D-912D-E868C298A62E}"/>
            </c:ext>
          </c:extLst>
        </c:ser>
        <c:dLbls>
          <c:showLegendKey val="0"/>
          <c:showVal val="0"/>
          <c:showCatName val="0"/>
          <c:showSerName val="0"/>
          <c:showPercent val="0"/>
          <c:showBubbleSize val="0"/>
        </c:dLbls>
        <c:axId val="1187844255"/>
        <c:axId val="1187845087"/>
      </c:scatterChart>
      <c:valAx>
        <c:axId val="1187844255"/>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7845087"/>
        <c:crosses val="autoZero"/>
        <c:crossBetween val="midCat"/>
      </c:valAx>
      <c:valAx>
        <c:axId val="1187845087"/>
        <c:scaling>
          <c:orientation val="minMax"/>
          <c:max val="300"/>
          <c:min val="23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7844255"/>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 </a:t>
            </a:r>
            <a:r>
              <a:rPr lang="en-US" sz="1400" b="0" i="0" u="none" strike="noStrike" baseline="0" dirty="0" smtClean="0">
                <a:effectLst/>
              </a:rPr>
              <a:t>O</a:t>
            </a:r>
            <a:r>
              <a:rPr lang="en-US" sz="1400" b="0" i="0" u="none" strike="noStrike" baseline="-25000" dirty="0" smtClean="0">
                <a:effectLst/>
              </a:rPr>
              <a:t>2 </a:t>
            </a:r>
            <a:r>
              <a:rPr lang="en-US" dirty="0" smtClean="0"/>
              <a:t>(Nm3)</a:t>
            </a:r>
            <a:r>
              <a:rPr lang="en-US" baseline="0" dirty="0" smtClean="0"/>
              <a:t> </a:t>
            </a:r>
            <a:r>
              <a:rPr lang="en-US" baseline="0" dirty="0"/>
              <a:t>vs Hot Metal </a:t>
            </a:r>
            <a:r>
              <a:rPr lang="en-US" baseline="0" dirty="0" smtClean="0"/>
              <a:t>Temperature(</a:t>
            </a:r>
            <a:r>
              <a:rPr lang="en-US" sz="1400" b="0" i="0" u="none" strike="noStrike" baseline="0" dirty="0" smtClean="0">
                <a:effectLst/>
              </a:rPr>
              <a:t>°C</a:t>
            </a:r>
            <a:r>
              <a:rPr lang="en-US" baseline="0" dirty="0" smtClean="0"/>
              <a:t>)</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V$1:$AV$2</c:f>
              <c:strCache>
                <c:ptCount val="2"/>
                <c:pt idx="0">
                  <c:v>O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H$3:$H$1131</c:f>
              <c:numCache>
                <c:formatCode>0</c:formatCode>
                <c:ptCount val="1129"/>
                <c:pt idx="0">
                  <c:v>1516.4215815036478</c:v>
                </c:pt>
                <c:pt idx="1">
                  <c:v>1507.1332037470527</c:v>
                </c:pt>
                <c:pt idx="2">
                  <c:v>1514.3284402827601</c:v>
                </c:pt>
                <c:pt idx="3">
                  <c:v>1507.2575061253342</c:v>
                </c:pt>
                <c:pt idx="4">
                  <c:v>1513.5458327079896</c:v>
                </c:pt>
                <c:pt idx="5">
                  <c:v>1529.7269305117827</c:v>
                </c:pt>
                <c:pt idx="6">
                  <c:v>1528.2445904051751</c:v>
                </c:pt>
                <c:pt idx="7">
                  <c:v>1520.6929039096058</c:v>
                </c:pt>
                <c:pt idx="8">
                  <c:v>1528.1431135844284</c:v>
                </c:pt>
                <c:pt idx="9">
                  <c:v>1509.321271194292</c:v>
                </c:pt>
                <c:pt idx="10">
                  <c:v>1515.6842635803005</c:v>
                </c:pt>
                <c:pt idx="11">
                  <c:v>1522.4387990807022</c:v>
                </c:pt>
                <c:pt idx="12">
                  <c:v>1521.1149342865024</c:v>
                </c:pt>
                <c:pt idx="13">
                  <c:v>1529.5674324080478</c:v>
                </c:pt>
                <c:pt idx="14">
                  <c:v>1511.6978593994395</c:v>
                </c:pt>
                <c:pt idx="15">
                  <c:v>1518.1180454464009</c:v>
                </c:pt>
                <c:pt idx="16">
                  <c:v>1513.5277316704951</c:v>
                </c:pt>
                <c:pt idx="17">
                  <c:v>1513.8716528851794</c:v>
                </c:pt>
                <c:pt idx="18">
                  <c:v>1512.2218554355436</c:v>
                </c:pt>
                <c:pt idx="19">
                  <c:v>1508.4882949002101</c:v>
                </c:pt>
                <c:pt idx="20">
                  <c:v>1500.9779964175659</c:v>
                </c:pt>
                <c:pt idx="21">
                  <c:v>1491.5020993563983</c:v>
                </c:pt>
                <c:pt idx="22">
                  <c:v>1504.2992559486631</c:v>
                </c:pt>
                <c:pt idx="23">
                  <c:v>1503.8668338849184</c:v>
                </c:pt>
                <c:pt idx="24">
                  <c:v>1509.4592974729856</c:v>
                </c:pt>
                <c:pt idx="25">
                  <c:v>1507.7302694050459</c:v>
                </c:pt>
                <c:pt idx="26">
                  <c:v>1514.719590921015</c:v>
                </c:pt>
                <c:pt idx="27">
                  <c:v>1505.230204740272</c:v>
                </c:pt>
                <c:pt idx="28">
                  <c:v>1495.9236101414544</c:v>
                </c:pt>
                <c:pt idx="29">
                  <c:v>1515.0782318059398</c:v>
                </c:pt>
                <c:pt idx="30">
                  <c:v>1511.2229519095015</c:v>
                </c:pt>
                <c:pt idx="31">
                  <c:v>1503.3025057173613</c:v>
                </c:pt>
                <c:pt idx="32">
                  <c:v>1497.6519418304395</c:v>
                </c:pt>
                <c:pt idx="33">
                  <c:v>1509.089615207406</c:v>
                </c:pt>
                <c:pt idx="34">
                  <c:v>1521.8876127323992</c:v>
                </c:pt>
                <c:pt idx="35">
                  <c:v>1492.9834097110979</c:v>
                </c:pt>
                <c:pt idx="36">
                  <c:v>1512.1240425342328</c:v>
                </c:pt>
                <c:pt idx="37">
                  <c:v>1518.9046724840639</c:v>
                </c:pt>
                <c:pt idx="38">
                  <c:v>1509.4473309176178</c:v>
                </c:pt>
                <c:pt idx="39">
                  <c:v>1512.5012673494018</c:v>
                </c:pt>
                <c:pt idx="40">
                  <c:v>1514.5880796808976</c:v>
                </c:pt>
                <c:pt idx="41">
                  <c:v>1504.9035727993303</c:v>
                </c:pt>
                <c:pt idx="42">
                  <c:v>1516.9856217751906</c:v>
                </c:pt>
                <c:pt idx="43">
                  <c:v>1506.555561073784</c:v>
                </c:pt>
                <c:pt idx="44">
                  <c:v>1479.5182461984182</c:v>
                </c:pt>
                <c:pt idx="45">
                  <c:v>1472.0791678670396</c:v>
                </c:pt>
                <c:pt idx="46">
                  <c:v>1509.7889847494368</c:v>
                </c:pt>
                <c:pt idx="47">
                  <c:v>1510.2473585536718</c:v>
                </c:pt>
                <c:pt idx="48">
                  <c:v>1503.8744901185478</c:v>
                </c:pt>
                <c:pt idx="49">
                  <c:v>1504.4586913904623</c:v>
                </c:pt>
                <c:pt idx="50">
                  <c:v>1501.9503153567937</c:v>
                </c:pt>
                <c:pt idx="51">
                  <c:v>1509.017959399471</c:v>
                </c:pt>
                <c:pt idx="52">
                  <c:v>1504.0660640118231</c:v>
                </c:pt>
                <c:pt idx="53">
                  <c:v>1496.1242438083329</c:v>
                </c:pt>
                <c:pt idx="54">
                  <c:v>1509.7590445593921</c:v>
                </c:pt>
                <c:pt idx="55">
                  <c:v>1495.3967756881084</c:v>
                </c:pt>
                <c:pt idx="56">
                  <c:v>1509.873660210136</c:v>
                </c:pt>
                <c:pt idx="57">
                  <c:v>1503.9271805100295</c:v>
                </c:pt>
                <c:pt idx="58">
                  <c:v>1503.7615356563801</c:v>
                </c:pt>
                <c:pt idx="59">
                  <c:v>1520.1711091455136</c:v>
                </c:pt>
                <c:pt idx="60">
                  <c:v>1509.3810150012632</c:v>
                </c:pt>
                <c:pt idx="61">
                  <c:v>1506.1591007342947</c:v>
                </c:pt>
                <c:pt idx="62">
                  <c:v>1515.6690746234804</c:v>
                </c:pt>
                <c:pt idx="63">
                  <c:v>1514.8275550586745</c:v>
                </c:pt>
                <c:pt idx="64">
                  <c:v>1513.7087201800371</c:v>
                </c:pt>
                <c:pt idx="65">
                  <c:v>1511.841761285631</c:v>
                </c:pt>
                <c:pt idx="66">
                  <c:v>1499.2959648270009</c:v>
                </c:pt>
                <c:pt idx="67">
                  <c:v>1499.9367134973456</c:v>
                </c:pt>
                <c:pt idx="68">
                  <c:v>1493.5310361353393</c:v>
                </c:pt>
                <c:pt idx="69">
                  <c:v>1504.4437586671845</c:v>
                </c:pt>
                <c:pt idx="70">
                  <c:v>1511.6526480083776</c:v>
                </c:pt>
                <c:pt idx="71">
                  <c:v>1507.7374578330541</c:v>
                </c:pt>
                <c:pt idx="72">
                  <c:v>1505.4034612467199</c:v>
                </c:pt>
                <c:pt idx="73">
                  <c:v>1503.6884638323811</c:v>
                </c:pt>
                <c:pt idx="74">
                  <c:v>1508.8910802688238</c:v>
                </c:pt>
                <c:pt idx="75">
                  <c:v>1511.911222105361</c:v>
                </c:pt>
                <c:pt idx="76">
                  <c:v>1510.8214871844593</c:v>
                </c:pt>
                <c:pt idx="77">
                  <c:v>1495.4567115054092</c:v>
                </c:pt>
                <c:pt idx="78">
                  <c:v>1498.2000868304549</c:v>
                </c:pt>
                <c:pt idx="79">
                  <c:v>1508.1354795523084</c:v>
                </c:pt>
                <c:pt idx="80">
                  <c:v>1500.3928564381833</c:v>
                </c:pt>
                <c:pt idx="81">
                  <c:v>1503.8262197330735</c:v>
                </c:pt>
                <c:pt idx="82">
                  <c:v>1515.9918788090063</c:v>
                </c:pt>
                <c:pt idx="83">
                  <c:v>1509.9919091807717</c:v>
                </c:pt>
                <c:pt idx="84">
                  <c:v>1518.0834726965472</c:v>
                </c:pt>
                <c:pt idx="85">
                  <c:v>1499.9928433807495</c:v>
                </c:pt>
                <c:pt idx="86">
                  <c:v>1496.5586024910247</c:v>
                </c:pt>
                <c:pt idx="87">
                  <c:v>1491.7400060388268</c:v>
                </c:pt>
                <c:pt idx="88">
                  <c:v>1494.0250307277183</c:v>
                </c:pt>
                <c:pt idx="89">
                  <c:v>1481.3127898847245</c:v>
                </c:pt>
                <c:pt idx="90">
                  <c:v>1494.825002087349</c:v>
                </c:pt>
                <c:pt idx="91">
                  <c:v>1498.637819767478</c:v>
                </c:pt>
                <c:pt idx="92">
                  <c:v>1496.87146568297</c:v>
                </c:pt>
                <c:pt idx="93">
                  <c:v>1494.4025947790144</c:v>
                </c:pt>
                <c:pt idx="94">
                  <c:v>1495.4721605128461</c:v>
                </c:pt>
                <c:pt idx="95">
                  <c:v>1491.9566890047859</c:v>
                </c:pt>
                <c:pt idx="96">
                  <c:v>1494.665598797807</c:v>
                </c:pt>
                <c:pt idx="97">
                  <c:v>1500.438600238519</c:v>
                </c:pt>
                <c:pt idx="98">
                  <c:v>1484.8813885567902</c:v>
                </c:pt>
                <c:pt idx="99">
                  <c:v>1496.5654262548646</c:v>
                </c:pt>
                <c:pt idx="100">
                  <c:v>1497.2752844192855</c:v>
                </c:pt>
                <c:pt idx="101">
                  <c:v>1504.9267148830897</c:v>
                </c:pt>
                <c:pt idx="102">
                  <c:v>1498.0158290927959</c:v>
                </c:pt>
                <c:pt idx="103">
                  <c:v>1502.401022098843</c:v>
                </c:pt>
                <c:pt idx="104">
                  <c:v>1509.4779007249119</c:v>
                </c:pt>
                <c:pt idx="105">
                  <c:v>1501.6945077851458</c:v>
                </c:pt>
                <c:pt idx="106">
                  <c:v>1487.1961277871987</c:v>
                </c:pt>
                <c:pt idx="107">
                  <c:v>1477.9119158406193</c:v>
                </c:pt>
                <c:pt idx="108">
                  <c:v>1502.5897641822528</c:v>
                </c:pt>
                <c:pt idx="109">
                  <c:v>1499.3350772986123</c:v>
                </c:pt>
                <c:pt idx="110">
                  <c:v>1505.7555510615309</c:v>
                </c:pt>
                <c:pt idx="111">
                  <c:v>1503.8583622961537</c:v>
                </c:pt>
                <c:pt idx="112">
                  <c:v>1499.0735391529495</c:v>
                </c:pt>
                <c:pt idx="113">
                  <c:v>1497.1661332621184</c:v>
                </c:pt>
                <c:pt idx="114">
                  <c:v>1503.9517772228787</c:v>
                </c:pt>
                <c:pt idx="115">
                  <c:v>1504.4854148707143</c:v>
                </c:pt>
                <c:pt idx="116">
                  <c:v>1503.3106216315846</c:v>
                </c:pt>
                <c:pt idx="117">
                  <c:v>1508.0125919003101</c:v>
                </c:pt>
                <c:pt idx="118">
                  <c:v>1501.5603736201874</c:v>
                </c:pt>
                <c:pt idx="119">
                  <c:v>1506.9068469714489</c:v>
                </c:pt>
                <c:pt idx="120">
                  <c:v>1509.3873233699373</c:v>
                </c:pt>
                <c:pt idx="121">
                  <c:v>1500.4509665409312</c:v>
                </c:pt>
                <c:pt idx="122">
                  <c:v>1502.27266141839</c:v>
                </c:pt>
                <c:pt idx="123">
                  <c:v>1508.2625449525101</c:v>
                </c:pt>
                <c:pt idx="124">
                  <c:v>1508.3124239942699</c:v>
                </c:pt>
                <c:pt idx="125">
                  <c:v>1512.8875549853101</c:v>
                </c:pt>
                <c:pt idx="126">
                  <c:v>1503.3192955767499</c:v>
                </c:pt>
                <c:pt idx="127">
                  <c:v>1508.36564391554</c:v>
                </c:pt>
                <c:pt idx="128">
                  <c:v>1498.60302807584</c:v>
                </c:pt>
                <c:pt idx="129">
                  <c:v>1500.7204467727099</c:v>
                </c:pt>
                <c:pt idx="130">
                  <c:v>1499.9957814756599</c:v>
                </c:pt>
                <c:pt idx="131">
                  <c:v>1513.9959524814999</c:v>
                </c:pt>
                <c:pt idx="132">
                  <c:v>1508.3324289722</c:v>
                </c:pt>
                <c:pt idx="133">
                  <c:v>1496.3130861933801</c:v>
                </c:pt>
                <c:pt idx="134">
                  <c:v>1493.3720636836499</c:v>
                </c:pt>
                <c:pt idx="135">
                  <c:v>1497.3371575956501</c:v>
                </c:pt>
                <c:pt idx="136">
                  <c:v>1496.73044347108</c:v>
                </c:pt>
                <c:pt idx="137">
                  <c:v>1509.9561350694501</c:v>
                </c:pt>
                <c:pt idx="138">
                  <c:v>1518.38601764698</c:v>
                </c:pt>
                <c:pt idx="139">
                  <c:v>1512.6699136703201</c:v>
                </c:pt>
                <c:pt idx="140">
                  <c:v>1508.60768989945</c:v>
                </c:pt>
                <c:pt idx="141">
                  <c:v>1498.6521618399199</c:v>
                </c:pt>
                <c:pt idx="142">
                  <c:v>1494.28177920403</c:v>
                </c:pt>
                <c:pt idx="143">
                  <c:v>1479.4768604984699</c:v>
                </c:pt>
                <c:pt idx="144">
                  <c:v>1444.93582050551</c:v>
                </c:pt>
                <c:pt idx="145">
                  <c:v>1470.8198282098899</c:v>
                </c:pt>
                <c:pt idx="149">
                  <c:v>1470.8198282098899</c:v>
                </c:pt>
                <c:pt idx="150">
                  <c:v>1494.49982874481</c:v>
                </c:pt>
                <c:pt idx="151">
                  <c:v>1492.5993643895699</c:v>
                </c:pt>
                <c:pt idx="152">
                  <c:v>1487.4737370288799</c:v>
                </c:pt>
                <c:pt idx="153">
                  <c:v>1490.1577596736299</c:v>
                </c:pt>
                <c:pt idx="154">
                  <c:v>1491.0135906409901</c:v>
                </c:pt>
                <c:pt idx="155">
                  <c:v>1509.4287944247501</c:v>
                </c:pt>
                <c:pt idx="156">
                  <c:v>1502.1073114599201</c:v>
                </c:pt>
                <c:pt idx="157">
                  <c:v>1492.85638277315</c:v>
                </c:pt>
                <c:pt idx="158">
                  <c:v>1501.38868705298</c:v>
                </c:pt>
                <c:pt idx="159">
                  <c:v>1499.76375942803</c:v>
                </c:pt>
                <c:pt idx="160">
                  <c:v>1496.87642632344</c:v>
                </c:pt>
                <c:pt idx="161">
                  <c:v>1493.7105943122999</c:v>
                </c:pt>
                <c:pt idx="162">
                  <c:v>1485.89048859012</c:v>
                </c:pt>
                <c:pt idx="163">
                  <c:v>1492.2200824634399</c:v>
                </c:pt>
                <c:pt idx="164">
                  <c:v>1494.0132987914999</c:v>
                </c:pt>
                <c:pt idx="165">
                  <c:v>1494.9252155480799</c:v>
                </c:pt>
                <c:pt idx="166">
                  <c:v>1500.08794944022</c:v>
                </c:pt>
                <c:pt idx="167">
                  <c:v>1501.8398899786901</c:v>
                </c:pt>
                <c:pt idx="168">
                  <c:v>1502.9516705146</c:v>
                </c:pt>
                <c:pt idx="169">
                  <c:v>1511.50395013313</c:v>
                </c:pt>
                <c:pt idx="170">
                  <c:v>1504.8494906807</c:v>
                </c:pt>
                <c:pt idx="171">
                  <c:v>1512.7204096584301</c:v>
                </c:pt>
                <c:pt idx="172">
                  <c:v>1496.8276065408199</c:v>
                </c:pt>
                <c:pt idx="173">
                  <c:v>1498.6053553515101</c:v>
                </c:pt>
                <c:pt idx="174">
                  <c:v>1510.6142435954901</c:v>
                </c:pt>
                <c:pt idx="175">
                  <c:v>1510.67309777882</c:v>
                </c:pt>
                <c:pt idx="176">
                  <c:v>1506.32530215771</c:v>
                </c:pt>
                <c:pt idx="177">
                  <c:v>1485.39950958447</c:v>
                </c:pt>
                <c:pt idx="178">
                  <c:v>1485.29409078565</c:v>
                </c:pt>
                <c:pt idx="179">
                  <c:v>1500.92926141162</c:v>
                </c:pt>
                <c:pt idx="180">
                  <c:v>1497.79739686581</c:v>
                </c:pt>
                <c:pt idx="181">
                  <c:v>1495.7972788244099</c:v>
                </c:pt>
                <c:pt idx="182">
                  <c:v>1492.2021596203899</c:v>
                </c:pt>
                <c:pt idx="183">
                  <c:v>1512.6695412624599</c:v>
                </c:pt>
                <c:pt idx="184">
                  <c:v>1503.94358979413</c:v>
                </c:pt>
                <c:pt idx="185">
                  <c:v>1490.6108879670301</c:v>
                </c:pt>
                <c:pt idx="186">
                  <c:v>1495.43388024515</c:v>
                </c:pt>
                <c:pt idx="187">
                  <c:v>1491.1155982791799</c:v>
                </c:pt>
                <c:pt idx="188">
                  <c:v>1488.0188340432001</c:v>
                </c:pt>
                <c:pt idx="189">
                  <c:v>1497.32212261517</c:v>
                </c:pt>
                <c:pt idx="190">
                  <c:v>1506.95401575197</c:v>
                </c:pt>
                <c:pt idx="191">
                  <c:v>1497.1445996330599</c:v>
                </c:pt>
                <c:pt idx="192">
                  <c:v>1492.4383595740201</c:v>
                </c:pt>
                <c:pt idx="193">
                  <c:v>1495.7897207902899</c:v>
                </c:pt>
                <c:pt idx="194">
                  <c:v>1489.2336737011699</c:v>
                </c:pt>
                <c:pt idx="195">
                  <c:v>1475.4191940421599</c:v>
                </c:pt>
                <c:pt idx="196">
                  <c:v>1502.32925663736</c:v>
                </c:pt>
                <c:pt idx="197">
                  <c:v>1493.01946220988</c:v>
                </c:pt>
                <c:pt idx="198">
                  <c:v>1488.7436126228699</c:v>
                </c:pt>
                <c:pt idx="199">
                  <c:v>1497.3545463416399</c:v>
                </c:pt>
                <c:pt idx="200">
                  <c:v>1508.3580646769201</c:v>
                </c:pt>
                <c:pt idx="201">
                  <c:v>1485.97245537803</c:v>
                </c:pt>
                <c:pt idx="202">
                  <c:v>1495.4194703507001</c:v>
                </c:pt>
                <c:pt idx="203">
                  <c:v>1497.1571729377399</c:v>
                </c:pt>
                <c:pt idx="204">
                  <c:v>1484.7404574191601</c:v>
                </c:pt>
                <c:pt idx="205">
                  <c:v>1484.9919005850199</c:v>
                </c:pt>
                <c:pt idx="206">
                  <c:v>1483.03259457788</c:v>
                </c:pt>
                <c:pt idx="207">
                  <c:v>1480.55758203192</c:v>
                </c:pt>
                <c:pt idx="208">
                  <c:v>1483.70724717697</c:v>
                </c:pt>
                <c:pt idx="209">
                  <c:v>1497.37904615363</c:v>
                </c:pt>
                <c:pt idx="210">
                  <c:v>1481.9272316870799</c:v>
                </c:pt>
                <c:pt idx="211">
                  <c:v>1495.6014039572999</c:v>
                </c:pt>
                <c:pt idx="212">
                  <c:v>1498.5202845266299</c:v>
                </c:pt>
                <c:pt idx="213">
                  <c:v>1499.91182662608</c:v>
                </c:pt>
                <c:pt idx="214">
                  <c:v>1494.8205416723699</c:v>
                </c:pt>
                <c:pt idx="215">
                  <c:v>1491.56496801396</c:v>
                </c:pt>
                <c:pt idx="216">
                  <c:v>1502.22072168462</c:v>
                </c:pt>
                <c:pt idx="217">
                  <c:v>1510.2495035746999</c:v>
                </c:pt>
                <c:pt idx="218">
                  <c:v>1497.1404134511799</c:v>
                </c:pt>
                <c:pt idx="219">
                  <c:v>1486.0226191069501</c:v>
                </c:pt>
                <c:pt idx="220">
                  <c:v>1492.56837366799</c:v>
                </c:pt>
                <c:pt idx="221">
                  <c:v>1500.0863487041399</c:v>
                </c:pt>
                <c:pt idx="222">
                  <c:v>1500.7016932937199</c:v>
                </c:pt>
                <c:pt idx="223">
                  <c:v>1488.3642748793</c:v>
                </c:pt>
                <c:pt idx="224">
                  <c:v>1497.28683622978</c:v>
                </c:pt>
                <c:pt idx="225">
                  <c:v>1493.76847769347</c:v>
                </c:pt>
                <c:pt idx="226">
                  <c:v>1493.76847769347</c:v>
                </c:pt>
                <c:pt idx="227">
                  <c:v>1497.09967860097</c:v>
                </c:pt>
                <c:pt idx="228">
                  <c:v>1494.7249875042</c:v>
                </c:pt>
                <c:pt idx="229">
                  <c:v>1509.19308405723</c:v>
                </c:pt>
                <c:pt idx="230">
                  <c:v>1477.5282468902999</c:v>
                </c:pt>
                <c:pt idx="231">
                  <c:v>1484.66105579135</c:v>
                </c:pt>
                <c:pt idx="232">
                  <c:v>1492.99759893023</c:v>
                </c:pt>
                <c:pt idx="233">
                  <c:v>1491.72459388537</c:v>
                </c:pt>
                <c:pt idx="234">
                  <c:v>1508.1585270378901</c:v>
                </c:pt>
                <c:pt idx="235">
                  <c:v>1512.75617612983</c:v>
                </c:pt>
                <c:pt idx="236">
                  <c:v>1503.28509791396</c:v>
                </c:pt>
                <c:pt idx="237">
                  <c:v>1510.1039999135901</c:v>
                </c:pt>
                <c:pt idx="238">
                  <c:v>1506.7248168503299</c:v>
                </c:pt>
                <c:pt idx="239">
                  <c:v>1523.1557128639099</c:v>
                </c:pt>
                <c:pt idx="240">
                  <c:v>1523.6507920882</c:v>
                </c:pt>
                <c:pt idx="241">
                  <c:v>1520.14275862349</c:v>
                </c:pt>
                <c:pt idx="242">
                  <c:v>1514.3366953356001</c:v>
                </c:pt>
                <c:pt idx="243">
                  <c:v>1509.1530948475699</c:v>
                </c:pt>
                <c:pt idx="244">
                  <c:v>1500.6747039659899</c:v>
                </c:pt>
                <c:pt idx="245">
                  <c:v>1506.7242342873899</c:v>
                </c:pt>
                <c:pt idx="246">
                  <c:v>1509.0358920185099</c:v>
                </c:pt>
                <c:pt idx="247">
                  <c:v>1502.8481796074</c:v>
                </c:pt>
                <c:pt idx="248">
                  <c:v>1509.3485024341001</c:v>
                </c:pt>
                <c:pt idx="249">
                  <c:v>1521.1231086978</c:v>
                </c:pt>
                <c:pt idx="250">
                  <c:v>1517.77002625573</c:v>
                </c:pt>
                <c:pt idx="251">
                  <c:v>1523.1637789282299</c:v>
                </c:pt>
                <c:pt idx="252">
                  <c:v>1509.86493778473</c:v>
                </c:pt>
                <c:pt idx="253">
                  <c:v>1494.6838057551699</c:v>
                </c:pt>
                <c:pt idx="254">
                  <c:v>1490.67137955011</c:v>
                </c:pt>
                <c:pt idx="255">
                  <c:v>1497.32971831482</c:v>
                </c:pt>
                <c:pt idx="256">
                  <c:v>1488.4037447810899</c:v>
                </c:pt>
                <c:pt idx="257">
                  <c:v>1516.92149400675</c:v>
                </c:pt>
                <c:pt idx="258">
                  <c:v>1491.24349913589</c:v>
                </c:pt>
                <c:pt idx="259">
                  <c:v>1490.8393515688599</c:v>
                </c:pt>
                <c:pt idx="260">
                  <c:v>1511.0673288953201</c:v>
                </c:pt>
                <c:pt idx="261">
                  <c:v>1518.21882153566</c:v>
                </c:pt>
                <c:pt idx="262">
                  <c:v>1499.4106036799201</c:v>
                </c:pt>
                <c:pt idx="263">
                  <c:v>1504.31641211025</c:v>
                </c:pt>
                <c:pt idx="264">
                  <c:v>1509.8341485191099</c:v>
                </c:pt>
                <c:pt idx="265">
                  <c:v>1512.6916743202801</c:v>
                </c:pt>
                <c:pt idx="266">
                  <c:v>1506.4676729831699</c:v>
                </c:pt>
                <c:pt idx="267">
                  <c:v>1499.51556390417</c:v>
                </c:pt>
                <c:pt idx="268">
                  <c:v>1507.38432184407</c:v>
                </c:pt>
                <c:pt idx="269">
                  <c:v>1513.31710362484</c:v>
                </c:pt>
                <c:pt idx="270">
                  <c:v>1517.6435239095999</c:v>
                </c:pt>
                <c:pt idx="271">
                  <c:v>1495.80042261875</c:v>
                </c:pt>
                <c:pt idx="272">
                  <c:v>1494.0812611419999</c:v>
                </c:pt>
                <c:pt idx="273">
                  <c:v>1498.82557886617</c:v>
                </c:pt>
                <c:pt idx="274">
                  <c:v>1500.5784036744401</c:v>
                </c:pt>
                <c:pt idx="275">
                  <c:v>1503.0472449347899</c:v>
                </c:pt>
                <c:pt idx="276">
                  <c:v>1516.3492491847101</c:v>
                </c:pt>
                <c:pt idx="277">
                  <c:v>1514.7793740555501</c:v>
                </c:pt>
                <c:pt idx="278">
                  <c:v>1513.23800793127</c:v>
                </c:pt>
                <c:pt idx="279">
                  <c:v>1504.3074175459101</c:v>
                </c:pt>
                <c:pt idx="280">
                  <c:v>1496.6307060413999</c:v>
                </c:pt>
                <c:pt idx="281">
                  <c:v>1505.7054097169701</c:v>
                </c:pt>
                <c:pt idx="282">
                  <c:v>1503.7222958294401</c:v>
                </c:pt>
                <c:pt idx="283">
                  <c:v>1500.30677138187</c:v>
                </c:pt>
                <c:pt idx="284">
                  <c:v>1509.6981619309599</c:v>
                </c:pt>
                <c:pt idx="285">
                  <c:v>1515.4909136123899</c:v>
                </c:pt>
                <c:pt idx="286">
                  <c:v>1509.88443769577</c:v>
                </c:pt>
                <c:pt idx="287">
                  <c:v>1506.6603785979601</c:v>
                </c:pt>
                <c:pt idx="288">
                  <c:v>1503.04937613984</c:v>
                </c:pt>
                <c:pt idx="289">
                  <c:v>1513.83418351251</c:v>
                </c:pt>
                <c:pt idx="290">
                  <c:v>1511.1718085001</c:v>
                </c:pt>
                <c:pt idx="291">
                  <c:v>1529.4621577830801</c:v>
                </c:pt>
                <c:pt idx="292">
                  <c:v>1495.82658476402</c:v>
                </c:pt>
                <c:pt idx="293">
                  <c:v>1521.13980774325</c:v>
                </c:pt>
                <c:pt idx="294">
                  <c:v>1508.54205919574</c:v>
                </c:pt>
                <c:pt idx="295">
                  <c:v>1512.06991377126</c:v>
                </c:pt>
                <c:pt idx="296">
                  <c:v>1509.2443657003801</c:v>
                </c:pt>
                <c:pt idx="297">
                  <c:v>1505.2421485490099</c:v>
                </c:pt>
                <c:pt idx="298">
                  <c:v>1507.68877567866</c:v>
                </c:pt>
                <c:pt idx="299">
                  <c:v>1516.7496692116199</c:v>
                </c:pt>
                <c:pt idx="300">
                  <c:v>1514.8949428762</c:v>
                </c:pt>
                <c:pt idx="301">
                  <c:v>1507.89981839235</c:v>
                </c:pt>
                <c:pt idx="302">
                  <c:v>1510.5893522936999</c:v>
                </c:pt>
                <c:pt idx="303">
                  <c:v>1515.6176564894699</c:v>
                </c:pt>
                <c:pt idx="304">
                  <c:v>1509.56942774854</c:v>
                </c:pt>
                <c:pt idx="305">
                  <c:v>1501.09896443245</c:v>
                </c:pt>
                <c:pt idx="306">
                  <c:v>1508.32130793587</c:v>
                </c:pt>
                <c:pt idx="307">
                  <c:v>1510.8857810970601</c:v>
                </c:pt>
                <c:pt idx="308">
                  <c:v>1505.04302855474</c:v>
                </c:pt>
                <c:pt idx="309">
                  <c:v>1509.64072260496</c:v>
                </c:pt>
                <c:pt idx="310">
                  <c:v>1514.55618571322</c:v>
                </c:pt>
                <c:pt idx="311">
                  <c:v>1509.8816190167699</c:v>
                </c:pt>
                <c:pt idx="312">
                  <c:v>1511.4824999703701</c:v>
                </c:pt>
                <c:pt idx="313">
                  <c:v>1508.30744264901</c:v>
                </c:pt>
                <c:pt idx="314">
                  <c:v>1512.8304099363099</c:v>
                </c:pt>
                <c:pt idx="315">
                  <c:v>1502.56809620186</c:v>
                </c:pt>
                <c:pt idx="316">
                  <c:v>1512.4295393104201</c:v>
                </c:pt>
                <c:pt idx="317">
                  <c:v>1514.7176915254099</c:v>
                </c:pt>
                <c:pt idx="318">
                  <c:v>1519.03972763002</c:v>
                </c:pt>
                <c:pt idx="319">
                  <c:v>1508.03073871889</c:v>
                </c:pt>
                <c:pt idx="320">
                  <c:v>1514.95863745977</c:v>
                </c:pt>
                <c:pt idx="321">
                  <c:v>1511.01926542258</c:v>
                </c:pt>
                <c:pt idx="322">
                  <c:v>1514.8115434377</c:v>
                </c:pt>
                <c:pt idx="323">
                  <c:v>1510.2892939261201</c:v>
                </c:pt>
                <c:pt idx="324">
                  <c:v>1519.6112323253601</c:v>
                </c:pt>
                <c:pt idx="325">
                  <c:v>1512.9598409027401</c:v>
                </c:pt>
                <c:pt idx="326">
                  <c:v>1510.4025380752701</c:v>
                </c:pt>
                <c:pt idx="327">
                  <c:v>1516.3092435687599</c:v>
                </c:pt>
                <c:pt idx="328">
                  <c:v>1510.8216701532201</c:v>
                </c:pt>
                <c:pt idx="329">
                  <c:v>1522.15144931795</c:v>
                </c:pt>
                <c:pt idx="330">
                  <c:v>1501.77735012784</c:v>
                </c:pt>
                <c:pt idx="331">
                  <c:v>1500.27729748466</c:v>
                </c:pt>
                <c:pt idx="332">
                  <c:v>1517.39323193321</c:v>
                </c:pt>
                <c:pt idx="333">
                  <c:v>1513.02525347286</c:v>
                </c:pt>
                <c:pt idx="334">
                  <c:v>1497.7736171717299</c:v>
                </c:pt>
                <c:pt idx="335">
                  <c:v>1494.68422032082</c:v>
                </c:pt>
                <c:pt idx="336">
                  <c:v>1518.0801009695699</c:v>
                </c:pt>
                <c:pt idx="337">
                  <c:v>1510.41412288225</c:v>
                </c:pt>
                <c:pt idx="338">
                  <c:v>1507.16724925982</c:v>
                </c:pt>
                <c:pt idx="339">
                  <c:v>1506.6503293834</c:v>
                </c:pt>
                <c:pt idx="340">
                  <c:v>1515.1643185246</c:v>
                </c:pt>
                <c:pt idx="341">
                  <c:v>1516.21149247738</c:v>
                </c:pt>
                <c:pt idx="342">
                  <c:v>1513.0501297638</c:v>
                </c:pt>
                <c:pt idx="343">
                  <c:v>1505.1146307383599</c:v>
                </c:pt>
                <c:pt idx="344">
                  <c:v>1505.9992077475599</c:v>
                </c:pt>
                <c:pt idx="345">
                  <c:v>1525.5978827143001</c:v>
                </c:pt>
                <c:pt idx="346">
                  <c:v>1516.1055442261099</c:v>
                </c:pt>
                <c:pt idx="347">
                  <c:v>1522.4887100700701</c:v>
                </c:pt>
                <c:pt idx="348">
                  <c:v>1503.5603660766101</c:v>
                </c:pt>
                <c:pt idx="349">
                  <c:v>1514.7719157080301</c:v>
                </c:pt>
                <c:pt idx="350">
                  <c:v>1481.8407525525299</c:v>
                </c:pt>
                <c:pt idx="351">
                  <c:v>1504.3471127397099</c:v>
                </c:pt>
                <c:pt idx="352">
                  <c:v>1503.92436078936</c:v>
                </c:pt>
                <c:pt idx="353">
                  <c:v>1493.9996720397601</c:v>
                </c:pt>
                <c:pt idx="354">
                  <c:v>1503.0018323781601</c:v>
                </c:pt>
                <c:pt idx="355">
                  <c:v>1507.9601688422899</c:v>
                </c:pt>
                <c:pt idx="356">
                  <c:v>1486.00760168086</c:v>
                </c:pt>
                <c:pt idx="357">
                  <c:v>1517.0101008394499</c:v>
                </c:pt>
                <c:pt idx="358">
                  <c:v>1508.98577799346</c:v>
                </c:pt>
                <c:pt idx="359">
                  <c:v>1513.1544392818701</c:v>
                </c:pt>
                <c:pt idx="360">
                  <c:v>1501.5159766297299</c:v>
                </c:pt>
                <c:pt idx="361">
                  <c:v>1511.42765102004</c:v>
                </c:pt>
                <c:pt idx="362">
                  <c:v>1524.8011439914401</c:v>
                </c:pt>
                <c:pt idx="363">
                  <c:v>1499.9557946336099</c:v>
                </c:pt>
                <c:pt idx="364">
                  <c:v>1480.6589022360299</c:v>
                </c:pt>
                <c:pt idx="365">
                  <c:v>1526.1549985463901</c:v>
                </c:pt>
                <c:pt idx="366" formatCode="General">
                  <c:v>1517.5406701186801</c:v>
                </c:pt>
                <c:pt idx="367">
                  <c:v>1513.9099550726701</c:v>
                </c:pt>
                <c:pt idx="368">
                  <c:v>1512.2862669067299</c:v>
                </c:pt>
                <c:pt idx="369">
                  <c:v>1520.8089189243001</c:v>
                </c:pt>
                <c:pt idx="370">
                  <c:v>1498.0763359111299</c:v>
                </c:pt>
                <c:pt idx="371">
                  <c:v>1502.79621184961</c:v>
                </c:pt>
                <c:pt idx="372">
                  <c:v>1499.6851471276</c:v>
                </c:pt>
                <c:pt idx="373">
                  <c:v>1505.3036888762599</c:v>
                </c:pt>
                <c:pt idx="374">
                  <c:v>1510.4648442554001</c:v>
                </c:pt>
                <c:pt idx="375">
                  <c:v>1506.36206620229</c:v>
                </c:pt>
                <c:pt idx="376">
                  <c:v>1509.3139925159201</c:v>
                </c:pt>
                <c:pt idx="377">
                  <c:v>1516.3184462987999</c:v>
                </c:pt>
                <c:pt idx="378">
                  <c:v>1505.8899046567101</c:v>
                </c:pt>
                <c:pt idx="379">
                  <c:v>1506.3195339062299</c:v>
                </c:pt>
                <c:pt idx="380">
                  <c:v>1492.2091997856501</c:v>
                </c:pt>
                <c:pt idx="381">
                  <c:v>1498.52735479688</c:v>
                </c:pt>
                <c:pt idx="382">
                  <c:v>1511.78118873318</c:v>
                </c:pt>
                <c:pt idx="383">
                  <c:v>1513.6327375517001</c:v>
                </c:pt>
                <c:pt idx="384">
                  <c:v>1507.80677659312</c:v>
                </c:pt>
                <c:pt idx="385">
                  <c:v>1503.8956799607399</c:v>
                </c:pt>
                <c:pt idx="386">
                  <c:v>1507.8200361546001</c:v>
                </c:pt>
                <c:pt idx="387">
                  <c:v>1505.3481466227199</c:v>
                </c:pt>
                <c:pt idx="388">
                  <c:v>1507.6729563172401</c:v>
                </c:pt>
                <c:pt idx="389">
                  <c:v>1494.71791093805</c:v>
                </c:pt>
                <c:pt idx="390">
                  <c:v>1509.2634786722699</c:v>
                </c:pt>
                <c:pt idx="391">
                  <c:v>1504.7303266031699</c:v>
                </c:pt>
                <c:pt idx="392">
                  <c:v>1511.53802331819</c:v>
                </c:pt>
                <c:pt idx="393">
                  <c:v>1515.1806528413799</c:v>
                </c:pt>
                <c:pt idx="394">
                  <c:v>1509.4347843570699</c:v>
                </c:pt>
                <c:pt idx="395">
                  <c:v>1511.0418183870299</c:v>
                </c:pt>
                <c:pt idx="396">
                  <c:v>1519.04820269569</c:v>
                </c:pt>
                <c:pt idx="397">
                  <c:v>1514.12003930376</c:v>
                </c:pt>
                <c:pt idx="398">
                  <c:v>1502.04472020663</c:v>
                </c:pt>
                <c:pt idx="399">
                  <c:v>1497.6412194023901</c:v>
                </c:pt>
                <c:pt idx="400">
                  <c:v>1503.09378426168</c:v>
                </c:pt>
                <c:pt idx="401">
                  <c:v>1509.04694323124</c:v>
                </c:pt>
                <c:pt idx="402">
                  <c:v>1501.7954306809199</c:v>
                </c:pt>
                <c:pt idx="403">
                  <c:v>1508.5162742397099</c:v>
                </c:pt>
                <c:pt idx="404">
                  <c:v>1494.9962124891799</c:v>
                </c:pt>
                <c:pt idx="405">
                  <c:v>1510.44698700709</c:v>
                </c:pt>
                <c:pt idx="406">
                  <c:v>1508.4666452336401</c:v>
                </c:pt>
                <c:pt idx="407">
                  <c:v>1498.47340778894</c:v>
                </c:pt>
                <c:pt idx="408">
                  <c:v>1483.1570427183599</c:v>
                </c:pt>
                <c:pt idx="409">
                  <c:v>1501.73385156057</c:v>
                </c:pt>
                <c:pt idx="410">
                  <c:v>1504.6216814530501</c:v>
                </c:pt>
                <c:pt idx="411">
                  <c:v>1499.4824186698099</c:v>
                </c:pt>
                <c:pt idx="412">
                  <c:v>1503.6675354204499</c:v>
                </c:pt>
                <c:pt idx="413">
                  <c:v>1509.0629404722399</c:v>
                </c:pt>
                <c:pt idx="414">
                  <c:v>1486.18834561531</c:v>
                </c:pt>
                <c:pt idx="415">
                  <c:v>1505.63438581593</c:v>
                </c:pt>
                <c:pt idx="416">
                  <c:v>1511.53106123728</c:v>
                </c:pt>
                <c:pt idx="417">
                  <c:v>1517.08275971845</c:v>
                </c:pt>
                <c:pt idx="418">
                  <c:v>1512.3578172023999</c:v>
                </c:pt>
                <c:pt idx="419">
                  <c:v>1499.2015698269099</c:v>
                </c:pt>
                <c:pt idx="420">
                  <c:v>1509.6603486977201</c:v>
                </c:pt>
                <c:pt idx="421">
                  <c:v>1506.59364010577</c:v>
                </c:pt>
                <c:pt idx="422">
                  <c:v>1501.08210813816</c:v>
                </c:pt>
                <c:pt idx="423">
                  <c:v>1502.06569178615</c:v>
                </c:pt>
                <c:pt idx="424">
                  <c:v>1516.9780398651101</c:v>
                </c:pt>
                <c:pt idx="425">
                  <c:v>1503.83416155597</c:v>
                </c:pt>
                <c:pt idx="426">
                  <c:v>1499.5805831195701</c:v>
                </c:pt>
                <c:pt idx="427">
                  <c:v>1494.14529877776</c:v>
                </c:pt>
                <c:pt idx="428">
                  <c:v>1510.3762990053999</c:v>
                </c:pt>
                <c:pt idx="429">
                  <c:v>1507.2557990056901</c:v>
                </c:pt>
                <c:pt idx="430">
                  <c:v>1509.2327311598101</c:v>
                </c:pt>
                <c:pt idx="431">
                  <c:v>1504.7802965258099</c:v>
                </c:pt>
                <c:pt idx="432">
                  <c:v>1497.5599042828101</c:v>
                </c:pt>
                <c:pt idx="433">
                  <c:v>1502.30275187143</c:v>
                </c:pt>
                <c:pt idx="434">
                  <c:v>1499.1751537698001</c:v>
                </c:pt>
                <c:pt idx="435">
                  <c:v>1481.9030628688199</c:v>
                </c:pt>
                <c:pt idx="436">
                  <c:v>1503.7164218611399</c:v>
                </c:pt>
                <c:pt idx="437">
                  <c:v>1492.45365186657</c:v>
                </c:pt>
                <c:pt idx="438">
                  <c:v>1498.64033950936</c:v>
                </c:pt>
                <c:pt idx="439">
                  <c:v>1482.8886349105801</c:v>
                </c:pt>
                <c:pt idx="440">
                  <c:v>1510.6824344127101</c:v>
                </c:pt>
                <c:pt idx="441">
                  <c:v>1503.1429751542501</c:v>
                </c:pt>
                <c:pt idx="442">
                  <c:v>1506.51533623415</c:v>
                </c:pt>
                <c:pt idx="443">
                  <c:v>1490.09502062563</c:v>
                </c:pt>
                <c:pt idx="444">
                  <c:v>1492.88723430103</c:v>
                </c:pt>
                <c:pt idx="445">
                  <c:v>1483.0404519654601</c:v>
                </c:pt>
                <c:pt idx="446">
                  <c:v>1494.58071189925</c:v>
                </c:pt>
                <c:pt idx="447">
                  <c:v>1498.7589119265499</c:v>
                </c:pt>
                <c:pt idx="448">
                  <c:v>1504.50756964077</c:v>
                </c:pt>
                <c:pt idx="449">
                  <c:v>1503.2779237892901</c:v>
                </c:pt>
                <c:pt idx="450">
                  <c:v>1496.6303858501301</c:v>
                </c:pt>
                <c:pt idx="451">
                  <c:v>1498.1966384414</c:v>
                </c:pt>
                <c:pt idx="452">
                  <c:v>1499.14535474182</c:v>
                </c:pt>
                <c:pt idx="453">
                  <c:v>1495.1872127668601</c:v>
                </c:pt>
                <c:pt idx="454">
                  <c:v>1514.0249925467499</c:v>
                </c:pt>
                <c:pt idx="455">
                  <c:v>1490.09215733515</c:v>
                </c:pt>
                <c:pt idx="456">
                  <c:v>1507.8928025427001</c:v>
                </c:pt>
                <c:pt idx="457">
                  <c:v>1524.1512938758499</c:v>
                </c:pt>
                <c:pt idx="458">
                  <c:v>1497.4137917550299</c:v>
                </c:pt>
                <c:pt idx="459">
                  <c:v>1488.32699758837</c:v>
                </c:pt>
                <c:pt idx="460">
                  <c:v>1488.2011391937899</c:v>
                </c:pt>
                <c:pt idx="461">
                  <c:v>1502.08235432476</c:v>
                </c:pt>
                <c:pt idx="462">
                  <c:v>1489.0419760341099</c:v>
                </c:pt>
                <c:pt idx="463">
                  <c:v>1490.9617974068799</c:v>
                </c:pt>
                <c:pt idx="464">
                  <c:v>1497.08280756874</c:v>
                </c:pt>
                <c:pt idx="465">
                  <c:v>1511.8434240494901</c:v>
                </c:pt>
                <c:pt idx="466">
                  <c:v>1513.61465235945</c:v>
                </c:pt>
                <c:pt idx="467">
                  <c:v>1499.90975379616</c:v>
                </c:pt>
                <c:pt idx="468">
                  <c:v>1529.89677521679</c:v>
                </c:pt>
                <c:pt idx="469">
                  <c:v>1490.07139302005</c:v>
                </c:pt>
                <c:pt idx="470">
                  <c:v>1492.34944660733</c:v>
                </c:pt>
                <c:pt idx="471">
                  <c:v>1499.4171554192701</c:v>
                </c:pt>
                <c:pt idx="472">
                  <c:v>1487.3966094256</c:v>
                </c:pt>
                <c:pt idx="473">
                  <c:v>1482.8249372844</c:v>
                </c:pt>
                <c:pt idx="474">
                  <c:v>1489.76727102529</c:v>
                </c:pt>
                <c:pt idx="475">
                  <c:v>1501.0691793189901</c:v>
                </c:pt>
                <c:pt idx="476">
                  <c:v>1491.20274972948</c:v>
                </c:pt>
                <c:pt idx="477">
                  <c:v>1485.98685324907</c:v>
                </c:pt>
                <c:pt idx="478">
                  <c:v>1481.8898698328501</c:v>
                </c:pt>
                <c:pt idx="479">
                  <c:v>1485.1360922665899</c:v>
                </c:pt>
                <c:pt idx="480">
                  <c:v>1490.91145793388</c:v>
                </c:pt>
                <c:pt idx="481">
                  <c:v>1494.0734472822601</c:v>
                </c:pt>
                <c:pt idx="482">
                  <c:v>1499.8120651245099</c:v>
                </c:pt>
                <c:pt idx="483">
                  <c:v>1514.52581376802</c:v>
                </c:pt>
                <c:pt idx="484">
                  <c:v>1500.37083369579</c:v>
                </c:pt>
                <c:pt idx="485">
                  <c:v>1500.30779224256</c:v>
                </c:pt>
                <c:pt idx="486">
                  <c:v>1486.2886046408701</c:v>
                </c:pt>
                <c:pt idx="487">
                  <c:v>1502.83157000096</c:v>
                </c:pt>
                <c:pt idx="488">
                  <c:v>1486.52057707109</c:v>
                </c:pt>
                <c:pt idx="489">
                  <c:v>1494.3681682756001</c:v>
                </c:pt>
                <c:pt idx="490">
                  <c:v>1484.78678031547</c:v>
                </c:pt>
                <c:pt idx="491">
                  <c:v>1490.0696778189099</c:v>
                </c:pt>
                <c:pt idx="492">
                  <c:v>1493.60188259644</c:v>
                </c:pt>
                <c:pt idx="493">
                  <c:v>1485.1896534631601</c:v>
                </c:pt>
                <c:pt idx="494">
                  <c:v>1466.7398031814901</c:v>
                </c:pt>
                <c:pt idx="495">
                  <c:v>1456.1269804905401</c:v>
                </c:pt>
                <c:pt idx="496">
                  <c:v>1433.37744946099</c:v>
                </c:pt>
                <c:pt idx="499">
                  <c:v>1489.3394977758001</c:v>
                </c:pt>
                <c:pt idx="500">
                  <c:v>1487.2746074182901</c:v>
                </c:pt>
                <c:pt idx="501">
                  <c:v>1494.0184132775901</c:v>
                </c:pt>
                <c:pt idx="502">
                  <c:v>1494.61418457133</c:v>
                </c:pt>
                <c:pt idx="503">
                  <c:v>1488.3237135290201</c:v>
                </c:pt>
                <c:pt idx="504">
                  <c:v>1490.78451195817</c:v>
                </c:pt>
                <c:pt idx="505">
                  <c:v>1481.5672445359201</c:v>
                </c:pt>
                <c:pt idx="506">
                  <c:v>1484.4436711506501</c:v>
                </c:pt>
                <c:pt idx="507">
                  <c:v>1492.2464600436999</c:v>
                </c:pt>
                <c:pt idx="508">
                  <c:v>1482.8035128490001</c:v>
                </c:pt>
                <c:pt idx="509">
                  <c:v>1484.3503963681401</c:v>
                </c:pt>
                <c:pt idx="510">
                  <c:v>1489.3497046718401</c:v>
                </c:pt>
                <c:pt idx="511">
                  <c:v>1482.34343080348</c:v>
                </c:pt>
                <c:pt idx="512">
                  <c:v>1486.93842638762</c:v>
                </c:pt>
                <c:pt idx="513">
                  <c:v>1500.6387500962001</c:v>
                </c:pt>
                <c:pt idx="514">
                  <c:v>1493.84271900616</c:v>
                </c:pt>
                <c:pt idx="515">
                  <c:v>1474.6451206300701</c:v>
                </c:pt>
                <c:pt idx="516">
                  <c:v>1477.9691325164799</c:v>
                </c:pt>
                <c:pt idx="517">
                  <c:v>1477.1781866914</c:v>
                </c:pt>
                <c:pt idx="518">
                  <c:v>1503.7396461040601</c:v>
                </c:pt>
                <c:pt idx="519">
                  <c:v>1488.9301752378999</c:v>
                </c:pt>
                <c:pt idx="520">
                  <c:v>1494.5251791830301</c:v>
                </c:pt>
                <c:pt idx="521">
                  <c:v>1506.23497858465</c:v>
                </c:pt>
                <c:pt idx="522">
                  <c:v>1494.2592197030699</c:v>
                </c:pt>
                <c:pt idx="523">
                  <c:v>1495.9548421448401</c:v>
                </c:pt>
                <c:pt idx="524">
                  <c:v>1509.02694029043</c:v>
                </c:pt>
                <c:pt idx="525">
                  <c:v>1512.12847319196</c:v>
                </c:pt>
                <c:pt idx="526">
                  <c:v>1517.5790016539399</c:v>
                </c:pt>
                <c:pt idx="527">
                  <c:v>1490.0059740901199</c:v>
                </c:pt>
                <c:pt idx="528">
                  <c:v>1493.2749989599099</c:v>
                </c:pt>
                <c:pt idx="529">
                  <c:v>1505.61056148644</c:v>
                </c:pt>
                <c:pt idx="530">
                  <c:v>1508.8475437396</c:v>
                </c:pt>
                <c:pt idx="531">
                  <c:v>1506.9481266959499</c:v>
                </c:pt>
                <c:pt idx="532">
                  <c:v>1498.4085056051399</c:v>
                </c:pt>
                <c:pt idx="533">
                  <c:v>1492.98347281924</c:v>
                </c:pt>
                <c:pt idx="534">
                  <c:v>1490.2024690635201</c:v>
                </c:pt>
                <c:pt idx="535">
                  <c:v>1485.96472627917</c:v>
                </c:pt>
                <c:pt idx="536">
                  <c:v>1493.7486098623799</c:v>
                </c:pt>
                <c:pt idx="537">
                  <c:v>1494.1077807234501</c:v>
                </c:pt>
                <c:pt idx="538">
                  <c:v>1484.0301882899801</c:v>
                </c:pt>
                <c:pt idx="539">
                  <c:v>1484.3282998545801</c:v>
                </c:pt>
                <c:pt idx="540">
                  <c:v>1487.14966278723</c:v>
                </c:pt>
                <c:pt idx="541">
                  <c:v>1495.15935515196</c:v>
                </c:pt>
                <c:pt idx="542">
                  <c:v>1498.5027339712799</c:v>
                </c:pt>
                <c:pt idx="543">
                  <c:v>1491.7021207847499</c:v>
                </c:pt>
                <c:pt idx="544">
                  <c:v>1503.76508354308</c:v>
                </c:pt>
                <c:pt idx="545">
                  <c:v>1478.62257307153</c:v>
                </c:pt>
                <c:pt idx="546">
                  <c:v>1493.07000212107</c:v>
                </c:pt>
                <c:pt idx="547">
                  <c:v>1497.9312738759299</c:v>
                </c:pt>
                <c:pt idx="548">
                  <c:v>1499.9253162666801</c:v>
                </c:pt>
                <c:pt idx="549">
                  <c:v>1496.5466347711699</c:v>
                </c:pt>
                <c:pt idx="550">
                  <c:v>1501.9027215855799</c:v>
                </c:pt>
                <c:pt idx="551">
                  <c:v>1486.0475529918599</c:v>
                </c:pt>
                <c:pt idx="552">
                  <c:v>1495.6545088605701</c:v>
                </c:pt>
                <c:pt idx="553">
                  <c:v>1494.35702873584</c:v>
                </c:pt>
                <c:pt idx="554">
                  <c:v>1496.0040980200399</c:v>
                </c:pt>
                <c:pt idx="555">
                  <c:v>1488.76840207743</c:v>
                </c:pt>
                <c:pt idx="556">
                  <c:v>1505.83308950376</c:v>
                </c:pt>
                <c:pt idx="557">
                  <c:v>1502.4712994776201</c:v>
                </c:pt>
                <c:pt idx="558">
                  <c:v>1487.71071481165</c:v>
                </c:pt>
                <c:pt idx="559">
                  <c:v>1505.21869244664</c:v>
                </c:pt>
                <c:pt idx="560">
                  <c:v>1503.58615492901</c:v>
                </c:pt>
                <c:pt idx="561">
                  <c:v>1492.6805304438899</c:v>
                </c:pt>
                <c:pt idx="562">
                  <c:v>1490.3784971991799</c:v>
                </c:pt>
                <c:pt idx="563">
                  <c:v>1502.9547845028301</c:v>
                </c:pt>
                <c:pt idx="564">
                  <c:v>1503.3687708489099</c:v>
                </c:pt>
                <c:pt idx="565">
                  <c:v>1511.0861979876299</c:v>
                </c:pt>
                <c:pt idx="566">
                  <c:v>1475.65362097292</c:v>
                </c:pt>
                <c:pt idx="567">
                  <c:v>1517.1654590999999</c:v>
                </c:pt>
                <c:pt idx="568">
                  <c:v>1511.72232706518</c:v>
                </c:pt>
                <c:pt idx="569">
                  <c:v>1514.6425220242299</c:v>
                </c:pt>
                <c:pt idx="570">
                  <c:v>1515.2889630561201</c:v>
                </c:pt>
                <c:pt idx="571">
                  <c:v>1516.4872734048199</c:v>
                </c:pt>
                <c:pt idx="572">
                  <c:v>1509.9414943044501</c:v>
                </c:pt>
                <c:pt idx="573">
                  <c:v>1507.2358067617699</c:v>
                </c:pt>
                <c:pt idx="574">
                  <c:v>1512.1944451305301</c:v>
                </c:pt>
                <c:pt idx="575">
                  <c:v>1491.09696500158</c:v>
                </c:pt>
                <c:pt idx="576">
                  <c:v>1508.7219610305799</c:v>
                </c:pt>
                <c:pt idx="577">
                  <c:v>1510.99858875777</c:v>
                </c:pt>
                <c:pt idx="578">
                  <c:v>1508.8338180471501</c:v>
                </c:pt>
                <c:pt idx="579">
                  <c:v>1502.2866448391801</c:v>
                </c:pt>
                <c:pt idx="580">
                  <c:v>1512.5186713236001</c:v>
                </c:pt>
                <c:pt idx="581">
                  <c:v>1494.1165226685</c:v>
                </c:pt>
                <c:pt idx="582">
                  <c:v>1512.3128004897701</c:v>
                </c:pt>
                <c:pt idx="583">
                  <c:v>1503.1745170050499</c:v>
                </c:pt>
                <c:pt idx="584">
                  <c:v>1499.32212889263</c:v>
                </c:pt>
                <c:pt idx="585">
                  <c:v>1497.31825165239</c:v>
                </c:pt>
                <c:pt idx="586">
                  <c:v>1497.6665562365299</c:v>
                </c:pt>
                <c:pt idx="587">
                  <c:v>1499.7244296690301</c:v>
                </c:pt>
                <c:pt idx="588">
                  <c:v>1514.3227874745301</c:v>
                </c:pt>
                <c:pt idx="589">
                  <c:v>1495.88459119144</c:v>
                </c:pt>
                <c:pt idx="590">
                  <c:v>1513.9583681337199</c:v>
                </c:pt>
                <c:pt idx="591">
                  <c:v>1508.7691617465</c:v>
                </c:pt>
                <c:pt idx="592">
                  <c:v>1489.04762818736</c:v>
                </c:pt>
                <c:pt idx="593">
                  <c:v>1496.9860838581501</c:v>
                </c:pt>
                <c:pt idx="594">
                  <c:v>1514.59830569989</c:v>
                </c:pt>
                <c:pt idx="595">
                  <c:v>1494.21541868638</c:v>
                </c:pt>
                <c:pt idx="596">
                  <c:v>1500.06164918117</c:v>
                </c:pt>
                <c:pt idx="597">
                  <c:v>1504.9767722771201</c:v>
                </c:pt>
                <c:pt idx="598">
                  <c:v>1518.8077500558099</c:v>
                </c:pt>
                <c:pt idx="599">
                  <c:v>1502.1042032947701</c:v>
                </c:pt>
                <c:pt idx="600">
                  <c:v>1509.9116100496101</c:v>
                </c:pt>
                <c:pt idx="601">
                  <c:v>1499.3633669989499</c:v>
                </c:pt>
                <c:pt idx="602">
                  <c:v>1503.73721802002</c:v>
                </c:pt>
                <c:pt idx="603">
                  <c:v>1510.17934594337</c:v>
                </c:pt>
                <c:pt idx="604">
                  <c:v>1504.7339587325901</c:v>
                </c:pt>
                <c:pt idx="605">
                  <c:v>1511.1233723906901</c:v>
                </c:pt>
                <c:pt idx="606">
                  <c:v>1495.9977103418901</c:v>
                </c:pt>
                <c:pt idx="607">
                  <c:v>1519.2171235431799</c:v>
                </c:pt>
                <c:pt idx="608">
                  <c:v>1501.62744006403</c:v>
                </c:pt>
                <c:pt idx="609">
                  <c:v>1504.56111469195</c:v>
                </c:pt>
                <c:pt idx="610">
                  <c:v>1515.39643985212</c:v>
                </c:pt>
                <c:pt idx="611">
                  <c:v>1519.4954423367501</c:v>
                </c:pt>
                <c:pt idx="612">
                  <c:v>1505.75836419386</c:v>
                </c:pt>
                <c:pt idx="613">
                  <c:v>1509.97647097547</c:v>
                </c:pt>
                <c:pt idx="614">
                  <c:v>1512.0853462473599</c:v>
                </c:pt>
                <c:pt idx="615">
                  <c:v>1505.3004572167399</c:v>
                </c:pt>
                <c:pt idx="616">
                  <c:v>1509.29382342125</c:v>
                </c:pt>
                <c:pt idx="617">
                  <c:v>1499.7729705795</c:v>
                </c:pt>
                <c:pt idx="618">
                  <c:v>1501.20193459038</c:v>
                </c:pt>
                <c:pt idx="619">
                  <c:v>1507.36286909658</c:v>
                </c:pt>
                <c:pt idx="620">
                  <c:v>1508.06247710917</c:v>
                </c:pt>
                <c:pt idx="621">
                  <c:v>1514.15164455439</c:v>
                </c:pt>
                <c:pt idx="622">
                  <c:v>1508.16473382706</c:v>
                </c:pt>
                <c:pt idx="623">
                  <c:v>1520.2919132699899</c:v>
                </c:pt>
                <c:pt idx="624">
                  <c:v>1509.0998704552101</c:v>
                </c:pt>
                <c:pt idx="625">
                  <c:v>1516.0441936692901</c:v>
                </c:pt>
                <c:pt idx="626">
                  <c:v>1506.0872087662799</c:v>
                </c:pt>
                <c:pt idx="627">
                  <c:v>1520.9957072935599</c:v>
                </c:pt>
                <c:pt idx="628">
                  <c:v>1509.1735645715501</c:v>
                </c:pt>
                <c:pt idx="629">
                  <c:v>1515.8825062584499</c:v>
                </c:pt>
                <c:pt idx="630">
                  <c:v>1503.4817510984601</c:v>
                </c:pt>
                <c:pt idx="631">
                  <c:v>1500.91543373433</c:v>
                </c:pt>
                <c:pt idx="632">
                  <c:v>1498.8580467215299</c:v>
                </c:pt>
                <c:pt idx="633">
                  <c:v>1506.20141287345</c:v>
                </c:pt>
                <c:pt idx="634">
                  <c:v>1497.51110920972</c:v>
                </c:pt>
                <c:pt idx="635">
                  <c:v>1497.8113242322599</c:v>
                </c:pt>
                <c:pt idx="636">
                  <c:v>1512.5543028557499</c:v>
                </c:pt>
                <c:pt idx="637">
                  <c:v>1513.0120503291701</c:v>
                </c:pt>
                <c:pt idx="638">
                  <c:v>1509.5109952744399</c:v>
                </c:pt>
                <c:pt idx="639">
                  <c:v>1508.2232413209599</c:v>
                </c:pt>
                <c:pt idx="640">
                  <c:v>1500.6466232673499</c:v>
                </c:pt>
                <c:pt idx="641">
                  <c:v>1473.7633532416201</c:v>
                </c:pt>
                <c:pt idx="643">
                  <c:v>1527.39723765846</c:v>
                </c:pt>
                <c:pt idx="644">
                  <c:v>1520.5446515727499</c:v>
                </c:pt>
                <c:pt idx="645">
                  <c:v>1523.3007373497001</c:v>
                </c:pt>
                <c:pt idx="646">
                  <c:v>1512.7959192600399</c:v>
                </c:pt>
                <c:pt idx="647">
                  <c:v>1517.7392672098999</c:v>
                </c:pt>
                <c:pt idx="648">
                  <c:v>1507.18792054285</c:v>
                </c:pt>
                <c:pt idx="649">
                  <c:v>1495.47586895732</c:v>
                </c:pt>
                <c:pt idx="650">
                  <c:v>1491.99887361387</c:v>
                </c:pt>
                <c:pt idx="651">
                  <c:v>1499.07334826897</c:v>
                </c:pt>
                <c:pt idx="652">
                  <c:v>1498.48875627845</c:v>
                </c:pt>
                <c:pt idx="653">
                  <c:v>1498.7863212285899</c:v>
                </c:pt>
                <c:pt idx="654">
                  <c:v>1500.89800390347</c:v>
                </c:pt>
                <c:pt idx="655">
                  <c:v>1492.98507619561</c:v>
                </c:pt>
                <c:pt idx="656">
                  <c:v>1509.6831104196899</c:v>
                </c:pt>
                <c:pt idx="657">
                  <c:v>1492.7548110553</c:v>
                </c:pt>
                <c:pt idx="658">
                  <c:v>1503.11462488658</c:v>
                </c:pt>
                <c:pt idx="659">
                  <c:v>1505.0571676417101</c:v>
                </c:pt>
                <c:pt idx="660">
                  <c:v>1499.61445298072</c:v>
                </c:pt>
                <c:pt idx="661">
                  <c:v>1497.78743376384</c:v>
                </c:pt>
                <c:pt idx="662">
                  <c:v>1485.7835383843001</c:v>
                </c:pt>
                <c:pt idx="663">
                  <c:v>1500.53367243465</c:v>
                </c:pt>
                <c:pt idx="664">
                  <c:v>1481.09738332761</c:v>
                </c:pt>
                <c:pt idx="665">
                  <c:v>1493.9186983571699</c:v>
                </c:pt>
                <c:pt idx="666">
                  <c:v>1496.6560792533901</c:v>
                </c:pt>
                <c:pt idx="667">
                  <c:v>1488.42509711669</c:v>
                </c:pt>
                <c:pt idx="668">
                  <c:v>1500.7590702198199</c:v>
                </c:pt>
                <c:pt idx="669">
                  <c:v>1493.2996834084699</c:v>
                </c:pt>
                <c:pt idx="670">
                  <c:v>1500.3576330993501</c:v>
                </c:pt>
                <c:pt idx="671">
                  <c:v>1493.8387839460199</c:v>
                </c:pt>
                <c:pt idx="672">
                  <c:v>1498.3925626954001</c:v>
                </c:pt>
                <c:pt idx="673">
                  <c:v>1492.4709682160101</c:v>
                </c:pt>
                <c:pt idx="674">
                  <c:v>1487.24729037064</c:v>
                </c:pt>
                <c:pt idx="675">
                  <c:v>1494.6953485316701</c:v>
                </c:pt>
                <c:pt idx="676">
                  <c:v>1482.85132765764</c:v>
                </c:pt>
                <c:pt idx="677">
                  <c:v>1506.42554508489</c:v>
                </c:pt>
                <c:pt idx="678">
                  <c:v>1491.7499926502301</c:v>
                </c:pt>
                <c:pt idx="679">
                  <c:v>1484.7011702155601</c:v>
                </c:pt>
                <c:pt idx="680">
                  <c:v>1506.5459802105299</c:v>
                </c:pt>
                <c:pt idx="681">
                  <c:v>1505.0008307273399</c:v>
                </c:pt>
                <c:pt idx="682">
                  <c:v>1495.65648688539</c:v>
                </c:pt>
                <c:pt idx="683">
                  <c:v>1483.6557872866599</c:v>
                </c:pt>
                <c:pt idx="684">
                  <c:v>1500.0787955782</c:v>
                </c:pt>
                <c:pt idx="685">
                  <c:v>1479.9379265086</c:v>
                </c:pt>
                <c:pt idx="686">
                  <c:v>1497.13816542265</c:v>
                </c:pt>
                <c:pt idx="687">
                  <c:v>1492.4835965847601</c:v>
                </c:pt>
                <c:pt idx="688">
                  <c:v>1481.7971994669001</c:v>
                </c:pt>
                <c:pt idx="689">
                  <c:v>1487.96764830182</c:v>
                </c:pt>
                <c:pt idx="690">
                  <c:v>1487.75751901733</c:v>
                </c:pt>
                <c:pt idx="691">
                  <c:v>1501.9542225756099</c:v>
                </c:pt>
                <c:pt idx="692">
                  <c:v>1501.56580831206</c:v>
                </c:pt>
                <c:pt idx="693">
                  <c:v>1491.8989712207001</c:v>
                </c:pt>
                <c:pt idx="694">
                  <c:v>1497.7780307401699</c:v>
                </c:pt>
                <c:pt idx="695">
                  <c:v>1484.4254800157</c:v>
                </c:pt>
                <c:pt idx="696">
                  <c:v>1497.45444982089</c:v>
                </c:pt>
                <c:pt idx="697">
                  <c:v>1506.8412172160799</c:v>
                </c:pt>
                <c:pt idx="698">
                  <c:v>1489.2606238016101</c:v>
                </c:pt>
                <c:pt idx="699">
                  <c:v>1501.95577772563</c:v>
                </c:pt>
                <c:pt idx="700">
                  <c:v>1501.6887082451599</c:v>
                </c:pt>
                <c:pt idx="701">
                  <c:v>1499.3572730839801</c:v>
                </c:pt>
                <c:pt idx="702">
                  <c:v>1503.3521593441201</c:v>
                </c:pt>
                <c:pt idx="703">
                  <c:v>1487.22034259928</c:v>
                </c:pt>
                <c:pt idx="704">
                  <c:v>1497.2830770948101</c:v>
                </c:pt>
                <c:pt idx="705">
                  <c:v>1501.77122190567</c:v>
                </c:pt>
                <c:pt idx="706">
                  <c:v>1492.81271917709</c:v>
                </c:pt>
                <c:pt idx="707">
                  <c:v>1489.8954874091501</c:v>
                </c:pt>
                <c:pt idx="708">
                  <c:v>1492.72551144217</c:v>
                </c:pt>
                <c:pt idx="709">
                  <c:v>1488.55991625817</c:v>
                </c:pt>
                <c:pt idx="710">
                  <c:v>1496.9030682722801</c:v>
                </c:pt>
                <c:pt idx="711">
                  <c:v>1493.75011254776</c:v>
                </c:pt>
                <c:pt idx="712">
                  <c:v>1500.00922414909</c:v>
                </c:pt>
                <c:pt idx="713">
                  <c:v>1509.4777252787101</c:v>
                </c:pt>
                <c:pt idx="714">
                  <c:v>1495.0466661329301</c:v>
                </c:pt>
                <c:pt idx="715">
                  <c:v>1495.36647598936</c:v>
                </c:pt>
                <c:pt idx="716">
                  <c:v>1500.49583228908</c:v>
                </c:pt>
                <c:pt idx="717">
                  <c:v>1487.1328808822</c:v>
                </c:pt>
                <c:pt idx="718">
                  <c:v>1486.64661067465</c:v>
                </c:pt>
                <c:pt idx="719">
                  <c:v>1500.5388213904801</c:v>
                </c:pt>
                <c:pt idx="720">
                  <c:v>1495.62148592433</c:v>
                </c:pt>
                <c:pt idx="721">
                  <c:v>1514.4241246107299</c:v>
                </c:pt>
                <c:pt idx="722">
                  <c:v>1510.40216145615</c:v>
                </c:pt>
                <c:pt idx="723">
                  <c:v>1511.6033550136001</c:v>
                </c:pt>
                <c:pt idx="724">
                  <c:v>1493.7466225124899</c:v>
                </c:pt>
                <c:pt idx="725">
                  <c:v>1451.7063670986499</c:v>
                </c:pt>
                <c:pt idx="726">
                  <c:v>1549.4423563683999</c:v>
                </c:pt>
                <c:pt idx="727">
                  <c:v>1500.29828634657</c:v>
                </c:pt>
                <c:pt idx="728">
                  <c:v>1496.6319418711</c:v>
                </c:pt>
                <c:pt idx="729">
                  <c:v>1513.27541291734</c:v>
                </c:pt>
                <c:pt idx="730">
                  <c:v>1502.1788481395599</c:v>
                </c:pt>
                <c:pt idx="731">
                  <c:v>1509.5640016287555</c:v>
                </c:pt>
                <c:pt idx="732">
                  <c:v>1490.1187750607817</c:v>
                </c:pt>
                <c:pt idx="733">
                  <c:v>1501.4372629431839</c:v>
                </c:pt>
                <c:pt idx="734">
                  <c:v>1502.5865740417491</c:v>
                </c:pt>
                <c:pt idx="735">
                  <c:v>1493.6455819835621</c:v>
                </c:pt>
                <c:pt idx="736">
                  <c:v>1494.2942158951462</c:v>
                </c:pt>
                <c:pt idx="737">
                  <c:v>1489.8717119964326</c:v>
                </c:pt>
                <c:pt idx="738">
                  <c:v>1491.8292080461401</c:v>
                </c:pt>
                <c:pt idx="739">
                  <c:v>1501.664488393124</c:v>
                </c:pt>
                <c:pt idx="740">
                  <c:v>1499.8501228255066</c:v>
                </c:pt>
                <c:pt idx="741">
                  <c:v>1501.0559176172883</c:v>
                </c:pt>
                <c:pt idx="742">
                  <c:v>1483.698867423175</c:v>
                </c:pt>
                <c:pt idx="743">
                  <c:v>1500.2178816692058</c:v>
                </c:pt>
                <c:pt idx="744">
                  <c:v>1488.5791431189994</c:v>
                </c:pt>
                <c:pt idx="745">
                  <c:v>1482.5228600486175</c:v>
                </c:pt>
                <c:pt idx="746">
                  <c:v>1499.0262286919397</c:v>
                </c:pt>
                <c:pt idx="747">
                  <c:v>1499.1436626722636</c:v>
                </c:pt>
                <c:pt idx="748">
                  <c:v>1494.5943601544152</c:v>
                </c:pt>
                <c:pt idx="749">
                  <c:v>1501.4810814582277</c:v>
                </c:pt>
                <c:pt idx="750">
                  <c:v>1497.2847773794499</c:v>
                </c:pt>
                <c:pt idx="751">
                  <c:v>1512.5821124265469</c:v>
                </c:pt>
                <c:pt idx="752">
                  <c:v>1492.0793158409874</c:v>
                </c:pt>
                <c:pt idx="753">
                  <c:v>1497.3370089447119</c:v>
                </c:pt>
                <c:pt idx="754">
                  <c:v>1491.6049640628833</c:v>
                </c:pt>
                <c:pt idx="755">
                  <c:v>1493.3734399178038</c:v>
                </c:pt>
                <c:pt idx="756">
                  <c:v>1501.0291698374567</c:v>
                </c:pt>
                <c:pt idx="757">
                  <c:v>1502.5168431478526</c:v>
                </c:pt>
                <c:pt idx="758">
                  <c:v>1502.2740411446835</c:v>
                </c:pt>
                <c:pt idx="759">
                  <c:v>1502.7061621374935</c:v>
                </c:pt>
                <c:pt idx="760">
                  <c:v>1500.198862793329</c:v>
                </c:pt>
                <c:pt idx="761">
                  <c:v>1501.954557075785</c:v>
                </c:pt>
                <c:pt idx="762">
                  <c:v>1499.0303400323642</c:v>
                </c:pt>
                <c:pt idx="763">
                  <c:v>1488.3545879748233</c:v>
                </c:pt>
                <c:pt idx="764">
                  <c:v>1496.5295605293102</c:v>
                </c:pt>
                <c:pt idx="765">
                  <c:v>1497.5767430748758</c:v>
                </c:pt>
                <c:pt idx="766">
                  <c:v>1505.4299708310709</c:v>
                </c:pt>
                <c:pt idx="767">
                  <c:v>1500.1478199348719</c:v>
                </c:pt>
                <c:pt idx="768">
                  <c:v>1504.4430916292922</c:v>
                </c:pt>
                <c:pt idx="769">
                  <c:v>1510.4948693502106</c:v>
                </c:pt>
                <c:pt idx="770">
                  <c:v>1498.3618378091658</c:v>
                </c:pt>
                <c:pt idx="771">
                  <c:v>1498.0598972286925</c:v>
                </c:pt>
                <c:pt idx="772">
                  <c:v>1499.4120978677306</c:v>
                </c:pt>
                <c:pt idx="773">
                  <c:v>1492.456880388293</c:v>
                </c:pt>
                <c:pt idx="774">
                  <c:v>1497.1698511645552</c:v>
                </c:pt>
                <c:pt idx="775">
                  <c:v>1503.7660784546945</c:v>
                </c:pt>
                <c:pt idx="776">
                  <c:v>1495.4604483983544</c:v>
                </c:pt>
                <c:pt idx="777">
                  <c:v>1496.2022156001781</c:v>
                </c:pt>
                <c:pt idx="778">
                  <c:v>1510.0863821621756</c:v>
                </c:pt>
                <c:pt idx="779">
                  <c:v>1504.2814659774756</c:v>
                </c:pt>
                <c:pt idx="780">
                  <c:v>1503.1466320523182</c:v>
                </c:pt>
                <c:pt idx="781">
                  <c:v>1511.5776207294107</c:v>
                </c:pt>
                <c:pt idx="782">
                  <c:v>1508.4181588583956</c:v>
                </c:pt>
                <c:pt idx="783">
                  <c:v>1501.0600336211287</c:v>
                </c:pt>
                <c:pt idx="784">
                  <c:v>1495.1163755247485</c:v>
                </c:pt>
                <c:pt idx="785">
                  <c:v>1506.7117854788617</c:v>
                </c:pt>
                <c:pt idx="786">
                  <c:v>1501.2062596819053</c:v>
                </c:pt>
                <c:pt idx="787">
                  <c:v>1512.3132541952475</c:v>
                </c:pt>
                <c:pt idx="788">
                  <c:v>1496.065298480542</c:v>
                </c:pt>
                <c:pt idx="789">
                  <c:v>1486.9730845370666</c:v>
                </c:pt>
                <c:pt idx="790">
                  <c:v>1497.847348697258</c:v>
                </c:pt>
                <c:pt idx="791">
                  <c:v>1494.7505483787659</c:v>
                </c:pt>
                <c:pt idx="792">
                  <c:v>1488.3597958022006</c:v>
                </c:pt>
                <c:pt idx="793">
                  <c:v>1493.4412130975154</c:v>
                </c:pt>
                <c:pt idx="794">
                  <c:v>1514.5131633148867</c:v>
                </c:pt>
                <c:pt idx="795">
                  <c:v>1481.7633970526874</c:v>
                </c:pt>
                <c:pt idx="796">
                  <c:v>1486.0633994085663</c:v>
                </c:pt>
                <c:pt idx="797">
                  <c:v>1494.5491201261891</c:v>
                </c:pt>
                <c:pt idx="798">
                  <c:v>1491.5922975720109</c:v>
                </c:pt>
                <c:pt idx="799">
                  <c:v>1499.0915159984138</c:v>
                </c:pt>
                <c:pt idx="800">
                  <c:v>1502.3006562879968</c:v>
                </c:pt>
                <c:pt idx="801">
                  <c:v>1510.3330199461134</c:v>
                </c:pt>
                <c:pt idx="802">
                  <c:v>1499.8957145441452</c:v>
                </c:pt>
                <c:pt idx="803">
                  <c:v>1490.511994971554</c:v>
                </c:pt>
                <c:pt idx="804">
                  <c:v>1491.7204281769748</c:v>
                </c:pt>
                <c:pt idx="805">
                  <c:v>1494.3668530653904</c:v>
                </c:pt>
                <c:pt idx="806">
                  <c:v>1494.242271886566</c:v>
                </c:pt>
                <c:pt idx="807">
                  <c:v>1496.126063543041</c:v>
                </c:pt>
                <c:pt idx="808">
                  <c:v>1499.2701053334081</c:v>
                </c:pt>
                <c:pt idx="809">
                  <c:v>1494.3551764368235</c:v>
                </c:pt>
                <c:pt idx="810">
                  <c:v>1500.8771552165706</c:v>
                </c:pt>
                <c:pt idx="811">
                  <c:v>1494.7971735724834</c:v>
                </c:pt>
                <c:pt idx="812">
                  <c:v>1499.2945388512851</c:v>
                </c:pt>
                <c:pt idx="813">
                  <c:v>1507.9817278455598</c:v>
                </c:pt>
                <c:pt idx="814">
                  <c:v>1488.7974746939315</c:v>
                </c:pt>
                <c:pt idx="815">
                  <c:v>1496.8190742834493</c:v>
                </c:pt>
                <c:pt idx="816">
                  <c:v>1501.3707678832588</c:v>
                </c:pt>
                <c:pt idx="817">
                  <c:v>1483.6448197567636</c:v>
                </c:pt>
                <c:pt idx="818">
                  <c:v>1512.257305056107</c:v>
                </c:pt>
                <c:pt idx="819">
                  <c:v>1498.5410650379054</c:v>
                </c:pt>
                <c:pt idx="820">
                  <c:v>1491.9984294897881</c:v>
                </c:pt>
                <c:pt idx="821">
                  <c:v>1492.1482054268868</c:v>
                </c:pt>
                <c:pt idx="822">
                  <c:v>1504.2186938026659</c:v>
                </c:pt>
                <c:pt idx="823">
                  <c:v>1497.6397018146126</c:v>
                </c:pt>
                <c:pt idx="824">
                  <c:v>1501.1942017695653</c:v>
                </c:pt>
                <c:pt idx="825">
                  <c:v>1510.524046064063</c:v>
                </c:pt>
                <c:pt idx="826">
                  <c:v>1503.4795113569735</c:v>
                </c:pt>
                <c:pt idx="827">
                  <c:v>1500.8822867580648</c:v>
                </c:pt>
                <c:pt idx="828">
                  <c:v>1502.0612409850207</c:v>
                </c:pt>
                <c:pt idx="829">
                  <c:v>1508.6219100216781</c:v>
                </c:pt>
                <c:pt idx="830">
                  <c:v>1516.4013465158521</c:v>
                </c:pt>
                <c:pt idx="831">
                  <c:v>1504.5125509638503</c:v>
                </c:pt>
                <c:pt idx="832">
                  <c:v>1504.3205025191423</c:v>
                </c:pt>
                <c:pt idx="833">
                  <c:v>1506.5022823445952</c:v>
                </c:pt>
                <c:pt idx="834">
                  <c:v>1488.9295237498777</c:v>
                </c:pt>
                <c:pt idx="835">
                  <c:v>1498.1943021795614</c:v>
                </c:pt>
                <c:pt idx="836">
                  <c:v>1505.4420929523376</c:v>
                </c:pt>
                <c:pt idx="837">
                  <c:v>1502.8708026393297</c:v>
                </c:pt>
                <c:pt idx="838">
                  <c:v>1504.8703488947876</c:v>
                </c:pt>
                <c:pt idx="839">
                  <c:v>1503.3628654593053</c:v>
                </c:pt>
                <c:pt idx="840">
                  <c:v>1506.8113535919331</c:v>
                </c:pt>
                <c:pt idx="841">
                  <c:v>1497.1754980383582</c:v>
                </c:pt>
                <c:pt idx="842">
                  <c:v>1502.8641925917411</c:v>
                </c:pt>
                <c:pt idx="843">
                  <c:v>1506.4233542787313</c:v>
                </c:pt>
                <c:pt idx="844">
                  <c:v>1491.1473764598456</c:v>
                </c:pt>
                <c:pt idx="845">
                  <c:v>1506.4043543484452</c:v>
                </c:pt>
                <c:pt idx="846">
                  <c:v>1511.4615391467432</c:v>
                </c:pt>
                <c:pt idx="847">
                  <c:v>1504.7218897288237</c:v>
                </c:pt>
                <c:pt idx="848">
                  <c:v>1496.9089363789685</c:v>
                </c:pt>
                <c:pt idx="849">
                  <c:v>1499.465895376014</c:v>
                </c:pt>
                <c:pt idx="850">
                  <c:v>1502.8901232016317</c:v>
                </c:pt>
                <c:pt idx="851">
                  <c:v>1503.4486186657562</c:v>
                </c:pt>
                <c:pt idx="852">
                  <c:v>1509.105668275721</c:v>
                </c:pt>
                <c:pt idx="853">
                  <c:v>1499.7151595795151</c:v>
                </c:pt>
                <c:pt idx="854">
                  <c:v>1494.9589757937053</c:v>
                </c:pt>
                <c:pt idx="855">
                  <c:v>1508.7613979936714</c:v>
                </c:pt>
                <c:pt idx="856">
                  <c:v>1517.7877679404376</c:v>
                </c:pt>
                <c:pt idx="857">
                  <c:v>1505.3781005594383</c:v>
                </c:pt>
                <c:pt idx="858">
                  <c:v>1495.6660368256387</c:v>
                </c:pt>
                <c:pt idx="859">
                  <c:v>1504.9204476864948</c:v>
                </c:pt>
                <c:pt idx="860">
                  <c:v>1489.6361576449426</c:v>
                </c:pt>
                <c:pt idx="861">
                  <c:v>1457.7823183496264</c:v>
                </c:pt>
                <c:pt idx="862">
                  <c:v>1505.1024765220229</c:v>
                </c:pt>
                <c:pt idx="863">
                  <c:v>1502.1352793870419</c:v>
                </c:pt>
                <c:pt idx="864">
                  <c:v>1490.9422992367729</c:v>
                </c:pt>
                <c:pt idx="865">
                  <c:v>1483.6307612823416</c:v>
                </c:pt>
                <c:pt idx="866">
                  <c:v>1505.8161668529385</c:v>
                </c:pt>
                <c:pt idx="867">
                  <c:v>1500.2947959424139</c:v>
                </c:pt>
                <c:pt idx="868">
                  <c:v>1503.8878227255091</c:v>
                </c:pt>
                <c:pt idx="869">
                  <c:v>1490.5825842744121</c:v>
                </c:pt>
                <c:pt idx="870">
                  <c:v>1489.8799095166696</c:v>
                </c:pt>
                <c:pt idx="871">
                  <c:v>1500.6297426599949</c:v>
                </c:pt>
                <c:pt idx="872">
                  <c:v>1501.0817040203137</c:v>
                </c:pt>
                <c:pt idx="873">
                  <c:v>1494.81271134245</c:v>
                </c:pt>
                <c:pt idx="874">
                  <c:v>1487.5773166680131</c:v>
                </c:pt>
                <c:pt idx="875">
                  <c:v>1500.4925026428075</c:v>
                </c:pt>
                <c:pt idx="876">
                  <c:v>1494.8596595657812</c:v>
                </c:pt>
                <c:pt idx="877">
                  <c:v>1506.6117942291842</c:v>
                </c:pt>
                <c:pt idx="878">
                  <c:v>1485.4390543443724</c:v>
                </c:pt>
                <c:pt idx="879">
                  <c:v>1511.5517141892935</c:v>
                </c:pt>
                <c:pt idx="880">
                  <c:v>1485.3727776849298</c:v>
                </c:pt>
                <c:pt idx="881">
                  <c:v>1496.5947352410765</c:v>
                </c:pt>
                <c:pt idx="882">
                  <c:v>1506.4159858370867</c:v>
                </c:pt>
                <c:pt idx="883">
                  <c:v>1488.7998542454543</c:v>
                </c:pt>
                <c:pt idx="884">
                  <c:v>1487.2307142747504</c:v>
                </c:pt>
                <c:pt idx="885">
                  <c:v>1488.9029324522594</c:v>
                </c:pt>
                <c:pt idx="886">
                  <c:v>1485.7123873056871</c:v>
                </c:pt>
                <c:pt idx="887">
                  <c:v>1500.5614357935267</c:v>
                </c:pt>
                <c:pt idx="888">
                  <c:v>1504.6146949671945</c:v>
                </c:pt>
                <c:pt idx="889">
                  <c:v>1492.7144316638389</c:v>
                </c:pt>
                <c:pt idx="890">
                  <c:v>1491.8036590438583</c:v>
                </c:pt>
                <c:pt idx="891">
                  <c:v>1503.5373886903587</c:v>
                </c:pt>
                <c:pt idx="892">
                  <c:v>1498.7407022155051</c:v>
                </c:pt>
                <c:pt idx="893">
                  <c:v>1500.0113324019528</c:v>
                </c:pt>
                <c:pt idx="894">
                  <c:v>1486.5443285832303</c:v>
                </c:pt>
                <c:pt idx="895">
                  <c:v>1480.5550414253739</c:v>
                </c:pt>
                <c:pt idx="896">
                  <c:v>1495.466825468616</c:v>
                </c:pt>
                <c:pt idx="897">
                  <c:v>1501.6499994936507</c:v>
                </c:pt>
                <c:pt idx="898">
                  <c:v>1496.8071009752223</c:v>
                </c:pt>
                <c:pt idx="899">
                  <c:v>1495.3002512641426</c:v>
                </c:pt>
                <c:pt idx="900">
                  <c:v>1502.6052702281393</c:v>
                </c:pt>
                <c:pt idx="901">
                  <c:v>1497.2604106159845</c:v>
                </c:pt>
                <c:pt idx="902">
                  <c:v>1494.6346231437933</c:v>
                </c:pt>
                <c:pt idx="903">
                  <c:v>1497.9639208138351</c:v>
                </c:pt>
                <c:pt idx="904">
                  <c:v>1490.9337766337896</c:v>
                </c:pt>
                <c:pt idx="905">
                  <c:v>1507.707169252589</c:v>
                </c:pt>
                <c:pt idx="906">
                  <c:v>1506.1064296993086</c:v>
                </c:pt>
                <c:pt idx="907">
                  <c:v>1495.7669268447235</c:v>
                </c:pt>
                <c:pt idx="908">
                  <c:v>1492.4379482294296</c:v>
                </c:pt>
                <c:pt idx="909">
                  <c:v>1487.104511593767</c:v>
                </c:pt>
                <c:pt idx="910">
                  <c:v>1501.970030158828</c:v>
                </c:pt>
                <c:pt idx="911">
                  <c:v>1507.6074709949271</c:v>
                </c:pt>
                <c:pt idx="912">
                  <c:v>1485.6874081963201</c:v>
                </c:pt>
                <c:pt idx="913">
                  <c:v>1496.6923020100178</c:v>
                </c:pt>
                <c:pt idx="914">
                  <c:v>1495.1391703527581</c:v>
                </c:pt>
                <c:pt idx="915">
                  <c:v>1492.1897270863324</c:v>
                </c:pt>
                <c:pt idx="916">
                  <c:v>1515.2466856131698</c:v>
                </c:pt>
                <c:pt idx="917">
                  <c:v>1500.1209747236333</c:v>
                </c:pt>
                <c:pt idx="918">
                  <c:v>1494.1066775793486</c:v>
                </c:pt>
                <c:pt idx="919">
                  <c:v>1499.4301027873864</c:v>
                </c:pt>
                <c:pt idx="920">
                  <c:v>1500.2717905575162</c:v>
                </c:pt>
                <c:pt idx="921">
                  <c:v>1494.4774740586438</c:v>
                </c:pt>
                <c:pt idx="922">
                  <c:v>1502.1799467325882</c:v>
                </c:pt>
                <c:pt idx="923">
                  <c:v>1498.6344882613166</c:v>
                </c:pt>
                <c:pt idx="924">
                  <c:v>1502.0720625291035</c:v>
                </c:pt>
                <c:pt idx="925">
                  <c:v>1496.4535155265294</c:v>
                </c:pt>
                <c:pt idx="926">
                  <c:v>1505.2822084159181</c:v>
                </c:pt>
                <c:pt idx="927">
                  <c:v>1491.4035698475391</c:v>
                </c:pt>
                <c:pt idx="928">
                  <c:v>1493.7551879527423</c:v>
                </c:pt>
                <c:pt idx="929">
                  <c:v>1503.6044663863111</c:v>
                </c:pt>
                <c:pt idx="930">
                  <c:v>1498.73101047563</c:v>
                </c:pt>
                <c:pt idx="931">
                  <c:v>1489.1246039658631</c:v>
                </c:pt>
                <c:pt idx="932">
                  <c:v>1489.7034789367174</c:v>
                </c:pt>
                <c:pt idx="933">
                  <c:v>1488.3763229393439</c:v>
                </c:pt>
                <c:pt idx="934">
                  <c:v>1498.7847353175496</c:v>
                </c:pt>
                <c:pt idx="935">
                  <c:v>1497.5369732979029</c:v>
                </c:pt>
                <c:pt idx="936">
                  <c:v>1498.5078098275592</c:v>
                </c:pt>
                <c:pt idx="937">
                  <c:v>1503.7901185713779</c:v>
                </c:pt>
                <c:pt idx="938">
                  <c:v>1493.3225879269194</c:v>
                </c:pt>
                <c:pt idx="939">
                  <c:v>1480.2271124786344</c:v>
                </c:pt>
                <c:pt idx="940">
                  <c:v>1501.3723138289236</c:v>
                </c:pt>
                <c:pt idx="941">
                  <c:v>1496.1587513803672</c:v>
                </c:pt>
                <c:pt idx="942">
                  <c:v>1485.415931218668</c:v>
                </c:pt>
                <c:pt idx="943">
                  <c:v>1486.9418958028143</c:v>
                </c:pt>
                <c:pt idx="944">
                  <c:v>1495.5362670665595</c:v>
                </c:pt>
                <c:pt idx="945">
                  <c:v>1499.9909972723528</c:v>
                </c:pt>
                <c:pt idx="946">
                  <c:v>1494.3108070774922</c:v>
                </c:pt>
                <c:pt idx="947">
                  <c:v>1500.5752327403595</c:v>
                </c:pt>
                <c:pt idx="948">
                  <c:v>1499.4336992093729</c:v>
                </c:pt>
                <c:pt idx="949">
                  <c:v>1503.3758987528402</c:v>
                </c:pt>
                <c:pt idx="950">
                  <c:v>1506.2457411359544</c:v>
                </c:pt>
                <c:pt idx="951">
                  <c:v>1493.6655366515929</c:v>
                </c:pt>
                <c:pt idx="952">
                  <c:v>1496.0956412041476</c:v>
                </c:pt>
                <c:pt idx="953">
                  <c:v>1503.4117872973536</c:v>
                </c:pt>
                <c:pt idx="954">
                  <c:v>1515.0298591482644</c:v>
                </c:pt>
                <c:pt idx="955">
                  <c:v>1500.3084582335107</c:v>
                </c:pt>
                <c:pt idx="956">
                  <c:v>1419.0706048789409</c:v>
                </c:pt>
                <c:pt idx="957">
                  <c:v>1534.5969162420477</c:v>
                </c:pt>
                <c:pt idx="958">
                  <c:v>1515.5216947242104</c:v>
                </c:pt>
                <c:pt idx="959">
                  <c:v>1517.9588657633594</c:v>
                </c:pt>
                <c:pt idx="960">
                  <c:v>1506.4998473529758</c:v>
                </c:pt>
                <c:pt idx="961">
                  <c:v>1496.4579010794571</c:v>
                </c:pt>
                <c:pt idx="962">
                  <c:v>1506.2621589072062</c:v>
                </c:pt>
                <c:pt idx="963">
                  <c:v>1514.3458877497396</c:v>
                </c:pt>
                <c:pt idx="964">
                  <c:v>1488.0476433065053</c:v>
                </c:pt>
                <c:pt idx="965">
                  <c:v>1496.0480025241666</c:v>
                </c:pt>
                <c:pt idx="966">
                  <c:v>1493.6859757134878</c:v>
                </c:pt>
                <c:pt idx="967">
                  <c:v>1498.3972641748926</c:v>
                </c:pt>
                <c:pt idx="968">
                  <c:v>1506.8489766341952</c:v>
                </c:pt>
                <c:pt idx="969">
                  <c:v>1496.6128713404619</c:v>
                </c:pt>
                <c:pt idx="970">
                  <c:v>1506.9850205744044</c:v>
                </c:pt>
                <c:pt idx="971">
                  <c:v>1512.7823494018767</c:v>
                </c:pt>
                <c:pt idx="972">
                  <c:v>1490.1395869843718</c:v>
                </c:pt>
                <c:pt idx="973">
                  <c:v>1497.9833920039086</c:v>
                </c:pt>
                <c:pt idx="974">
                  <c:v>1507.3985837588018</c:v>
                </c:pt>
                <c:pt idx="975">
                  <c:v>1503.3882755848856</c:v>
                </c:pt>
                <c:pt idx="976">
                  <c:v>1510.1346906881195</c:v>
                </c:pt>
                <c:pt idx="977">
                  <c:v>1506.8752857099216</c:v>
                </c:pt>
                <c:pt idx="978">
                  <c:v>1510.026331723742</c:v>
                </c:pt>
                <c:pt idx="979">
                  <c:v>1502.7362727417312</c:v>
                </c:pt>
                <c:pt idx="980">
                  <c:v>1502.9340593086763</c:v>
                </c:pt>
                <c:pt idx="981">
                  <c:v>1508.1349324545736</c:v>
                </c:pt>
                <c:pt idx="982">
                  <c:v>1508.4045547522348</c:v>
                </c:pt>
                <c:pt idx="983">
                  <c:v>1516.8184520799673</c:v>
                </c:pt>
                <c:pt idx="984">
                  <c:v>1497.7340893714111</c:v>
                </c:pt>
                <c:pt idx="985">
                  <c:v>1512.0541810458121</c:v>
                </c:pt>
                <c:pt idx="986">
                  <c:v>1505.6868764809569</c:v>
                </c:pt>
                <c:pt idx="987">
                  <c:v>1498.4200721294571</c:v>
                </c:pt>
                <c:pt idx="988">
                  <c:v>1489.6497396112552</c:v>
                </c:pt>
                <c:pt idx="989">
                  <c:v>1494.0810840459817</c:v>
                </c:pt>
                <c:pt idx="990">
                  <c:v>1502.6735153646612</c:v>
                </c:pt>
                <c:pt idx="991">
                  <c:v>1501.2070343229482</c:v>
                </c:pt>
                <c:pt idx="992">
                  <c:v>1503.5121090993637</c:v>
                </c:pt>
                <c:pt idx="993">
                  <c:v>1505.9535490796707</c:v>
                </c:pt>
                <c:pt idx="994">
                  <c:v>1503.8392071835272</c:v>
                </c:pt>
                <c:pt idx="995">
                  <c:v>1499.8903421681857</c:v>
                </c:pt>
                <c:pt idx="996">
                  <c:v>1495.8677195124344</c:v>
                </c:pt>
                <c:pt idx="997">
                  <c:v>1488.1552970984762</c:v>
                </c:pt>
                <c:pt idx="998">
                  <c:v>1492.6101714210615</c:v>
                </c:pt>
                <c:pt idx="999">
                  <c:v>1497.2475224726638</c:v>
                </c:pt>
                <c:pt idx="1000">
                  <c:v>1491.9510410861933</c:v>
                </c:pt>
                <c:pt idx="1001">
                  <c:v>1484.3142337042652</c:v>
                </c:pt>
                <c:pt idx="1002">
                  <c:v>1494.7753354215649</c:v>
                </c:pt>
                <c:pt idx="1003">
                  <c:v>1493.3284980103699</c:v>
                </c:pt>
                <c:pt idx="1004">
                  <c:v>1489.6214432774664</c:v>
                </c:pt>
                <c:pt idx="1005">
                  <c:v>1483.9427215103269</c:v>
                </c:pt>
                <c:pt idx="1006">
                  <c:v>1503.5960439570003</c:v>
                </c:pt>
                <c:pt idx="1007">
                  <c:v>1513.1430257654722</c:v>
                </c:pt>
                <c:pt idx="1008">
                  <c:v>1505.0406353444978</c:v>
                </c:pt>
                <c:pt idx="1009">
                  <c:v>1481.2454991227585</c:v>
                </c:pt>
                <c:pt idx="1010">
                  <c:v>1489.3596934367417</c:v>
                </c:pt>
                <c:pt idx="1011">
                  <c:v>1493.9052930869891</c:v>
                </c:pt>
                <c:pt idx="1012">
                  <c:v>1485.9391900867124</c:v>
                </c:pt>
                <c:pt idx="1013">
                  <c:v>1490.733212944052</c:v>
                </c:pt>
                <c:pt idx="1014">
                  <c:v>1477.8448160529545</c:v>
                </c:pt>
                <c:pt idx="1015">
                  <c:v>1514.3749317191362</c:v>
                </c:pt>
                <c:pt idx="1016">
                  <c:v>1504.4504941672105</c:v>
                </c:pt>
                <c:pt idx="1017">
                  <c:v>1501.2324021706252</c:v>
                </c:pt>
                <c:pt idx="1018">
                  <c:v>1490.9722079618152</c:v>
                </c:pt>
                <c:pt idx="1019">
                  <c:v>1492.1734895174509</c:v>
                </c:pt>
                <c:pt idx="1020">
                  <c:v>1489.7561087368872</c:v>
                </c:pt>
                <c:pt idx="1021">
                  <c:v>1488.5292141659661</c:v>
                </c:pt>
                <c:pt idx="1022">
                  <c:v>1498.4291705576265</c:v>
                </c:pt>
                <c:pt idx="1023">
                  <c:v>1480.6870401180433</c:v>
                </c:pt>
                <c:pt idx="1024">
                  <c:v>1494.0280292608575</c:v>
                </c:pt>
                <c:pt idx="1025">
                  <c:v>1503.3937228486227</c:v>
                </c:pt>
                <c:pt idx="1026">
                  <c:v>1481.6354120502504</c:v>
                </c:pt>
                <c:pt idx="1027">
                  <c:v>1480.5963433565805</c:v>
                </c:pt>
                <c:pt idx="1028">
                  <c:v>1499.0371425780816</c:v>
                </c:pt>
                <c:pt idx="1029">
                  <c:v>1500.1332418648174</c:v>
                </c:pt>
                <c:pt idx="1030">
                  <c:v>1451.6448937799296</c:v>
                </c:pt>
                <c:pt idx="1031">
                  <c:v>1498.0173320538352</c:v>
                </c:pt>
                <c:pt idx="1032">
                  <c:v>1487.0565728220718</c:v>
                </c:pt>
                <c:pt idx="1033">
                  <c:v>1484.7058284611776</c:v>
                </c:pt>
                <c:pt idx="1034">
                  <c:v>1491.2300480583615</c:v>
                </c:pt>
                <c:pt idx="1035">
                  <c:v>1496.5153319920296</c:v>
                </c:pt>
                <c:pt idx="1036">
                  <c:v>1497.3129293791844</c:v>
                </c:pt>
                <c:pt idx="1037">
                  <c:v>1499.1896909534032</c:v>
                </c:pt>
                <c:pt idx="1038">
                  <c:v>1498.4910073928324</c:v>
                </c:pt>
                <c:pt idx="1039">
                  <c:v>1505.3068734059332</c:v>
                </c:pt>
                <c:pt idx="1040">
                  <c:v>1522.150344982892</c:v>
                </c:pt>
                <c:pt idx="1041">
                  <c:v>1508.5755028515227</c:v>
                </c:pt>
                <c:pt idx="1042">
                  <c:v>1494.1467574098388</c:v>
                </c:pt>
                <c:pt idx="1043">
                  <c:v>1484.9481203250821</c:v>
                </c:pt>
                <c:pt idx="1044">
                  <c:v>1490.4755890699435</c:v>
                </c:pt>
                <c:pt idx="1045">
                  <c:v>1481.6424051925453</c:v>
                </c:pt>
                <c:pt idx="1046">
                  <c:v>1498.2304838403995</c:v>
                </c:pt>
                <c:pt idx="1047">
                  <c:v>1483.6928460315621</c:v>
                </c:pt>
                <c:pt idx="1048">
                  <c:v>1483.753909048688</c:v>
                </c:pt>
                <c:pt idx="1049">
                  <c:v>1476.614307624644</c:v>
                </c:pt>
                <c:pt idx="1050">
                  <c:v>1485.2813124323643</c:v>
                </c:pt>
                <c:pt idx="1051">
                  <c:v>1494.4411043184898</c:v>
                </c:pt>
                <c:pt idx="1052">
                  <c:v>1493.7858372390151</c:v>
                </c:pt>
                <c:pt idx="1053">
                  <c:v>1502.1177346783081</c:v>
                </c:pt>
                <c:pt idx="1054">
                  <c:v>1483.8416623673902</c:v>
                </c:pt>
                <c:pt idx="1055">
                  <c:v>1482.294898890116</c:v>
                </c:pt>
                <c:pt idx="1056">
                  <c:v>1471.0457734170652</c:v>
                </c:pt>
                <c:pt idx="1057">
                  <c:v>1495.6114557566195</c:v>
                </c:pt>
                <c:pt idx="1058">
                  <c:v>1480.9037804952138</c:v>
                </c:pt>
                <c:pt idx="1059">
                  <c:v>1480.4244113647389</c:v>
                </c:pt>
                <c:pt idx="1060">
                  <c:v>1487.0473362691505</c:v>
                </c:pt>
                <c:pt idx="1061">
                  <c:v>1480.8395812283634</c:v>
                </c:pt>
                <c:pt idx="1062">
                  <c:v>1491.3815538639999</c:v>
                </c:pt>
                <c:pt idx="1063">
                  <c:v>1496.2908017907296</c:v>
                </c:pt>
                <c:pt idx="1064">
                  <c:v>1501.4926004537551</c:v>
                </c:pt>
                <c:pt idx="1065">
                  <c:v>1480.9544115204792</c:v>
                </c:pt>
                <c:pt idx="1066">
                  <c:v>1482.8835616882288</c:v>
                </c:pt>
                <c:pt idx="1067">
                  <c:v>1499.4715431393754</c:v>
                </c:pt>
                <c:pt idx="1068">
                  <c:v>1500.3117310757796</c:v>
                </c:pt>
                <c:pt idx="1069">
                  <c:v>1489.130531405754</c:v>
                </c:pt>
                <c:pt idx="1070">
                  <c:v>1486.9741220915039</c:v>
                </c:pt>
                <c:pt idx="1071">
                  <c:v>1483.6535733482399</c:v>
                </c:pt>
                <c:pt idx="1072">
                  <c:v>1509.8346537360196</c:v>
                </c:pt>
                <c:pt idx="1073">
                  <c:v>1502.4889088018501</c:v>
                </c:pt>
                <c:pt idx="1074">
                  <c:v>1492.8456822486696</c:v>
                </c:pt>
                <c:pt idx="1075">
                  <c:v>1492.4379451181399</c:v>
                </c:pt>
                <c:pt idx="1076">
                  <c:v>1497.6262222084899</c:v>
                </c:pt>
                <c:pt idx="1077">
                  <c:v>1482.036614409365</c:v>
                </c:pt>
                <c:pt idx="1078">
                  <c:v>1493.5538220085707</c:v>
                </c:pt>
                <c:pt idx="1079">
                  <c:v>1491.0590452209567</c:v>
                </c:pt>
                <c:pt idx="1080">
                  <c:v>1499.3142722774842</c:v>
                </c:pt>
                <c:pt idx="1081">
                  <c:v>1499.5693879993846</c:v>
                </c:pt>
                <c:pt idx="1082">
                  <c:v>1492.9557913254453</c:v>
                </c:pt>
                <c:pt idx="1083">
                  <c:v>1494.6807343644202</c:v>
                </c:pt>
                <c:pt idx="1084">
                  <c:v>1499.6292844439047</c:v>
                </c:pt>
                <c:pt idx="1085">
                  <c:v>1517.2324174710827</c:v>
                </c:pt>
                <c:pt idx="1086">
                  <c:v>1499.8766231793063</c:v>
                </c:pt>
                <c:pt idx="1087">
                  <c:v>1495.6972185656978</c:v>
                </c:pt>
                <c:pt idx="1088">
                  <c:v>1489.3810225152918</c:v>
                </c:pt>
                <c:pt idx="1089">
                  <c:v>1496.7667276435857</c:v>
                </c:pt>
                <c:pt idx="1090">
                  <c:v>1498.4852981173449</c:v>
                </c:pt>
                <c:pt idx="1091">
                  <c:v>1491.8512342377985</c:v>
                </c:pt>
                <c:pt idx="1092">
                  <c:v>1498.8913048812879</c:v>
                </c:pt>
                <c:pt idx="1093">
                  <c:v>1484.3915105832075</c:v>
                </c:pt>
                <c:pt idx="1094">
                  <c:v>1498.1055934062233</c:v>
                </c:pt>
                <c:pt idx="1095">
                  <c:v>1497.7084383624351</c:v>
                </c:pt>
              </c:numCache>
            </c:numRef>
          </c:xVal>
          <c:yVal>
            <c:numRef>
              <c:f>'[Final Graph 2.xlsx]Parameters ranges for ANN step1'!$AV$3:$AV$1131</c:f>
              <c:numCache>
                <c:formatCode>0.0000</c:formatCode>
                <c:ptCount val="1129"/>
                <c:pt idx="0">
                  <c:v>281.73102424158401</c:v>
                </c:pt>
                <c:pt idx="1">
                  <c:v>280.54230235056002</c:v>
                </c:pt>
                <c:pt idx="2">
                  <c:v>271.80282553606332</c:v>
                </c:pt>
                <c:pt idx="3">
                  <c:v>271.97165623925764</c:v>
                </c:pt>
                <c:pt idx="4">
                  <c:v>278.31748766708085</c:v>
                </c:pt>
                <c:pt idx="5">
                  <c:v>281.05401655230048</c:v>
                </c:pt>
                <c:pt idx="6">
                  <c:v>286.32188989480414</c:v>
                </c:pt>
                <c:pt idx="7">
                  <c:v>275.05510194271108</c:v>
                </c:pt>
                <c:pt idx="8">
                  <c:v>277.84054787215018</c:v>
                </c:pt>
                <c:pt idx="9">
                  <c:v>279.95565441548115</c:v>
                </c:pt>
                <c:pt idx="10">
                  <c:v>273.75306164166511</c:v>
                </c:pt>
                <c:pt idx="11">
                  <c:v>274.8880975912989</c:v>
                </c:pt>
                <c:pt idx="12">
                  <c:v>278.61392552557538</c:v>
                </c:pt>
                <c:pt idx="13">
                  <c:v>293.36180221659777</c:v>
                </c:pt>
                <c:pt idx="14">
                  <c:v>281.97889520648744</c:v>
                </c:pt>
                <c:pt idx="15">
                  <c:v>274.91528488747304</c:v>
                </c:pt>
                <c:pt idx="16">
                  <c:v>271.83207947105723</c:v>
                </c:pt>
                <c:pt idx="17">
                  <c:v>274.82510348656012</c:v>
                </c:pt>
                <c:pt idx="18">
                  <c:v>284.96399554825643</c:v>
                </c:pt>
                <c:pt idx="19">
                  <c:v>273.25444858913534</c:v>
                </c:pt>
                <c:pt idx="20">
                  <c:v>277.29966597133853</c:v>
                </c:pt>
                <c:pt idx="21">
                  <c:v>273.14768861711593</c:v>
                </c:pt>
                <c:pt idx="22">
                  <c:v>278.3499056871625</c:v>
                </c:pt>
                <c:pt idx="23">
                  <c:v>281.22537557652925</c:v>
                </c:pt>
                <c:pt idx="24">
                  <c:v>278.2303478693492</c:v>
                </c:pt>
                <c:pt idx="25">
                  <c:v>275.32689315975847</c:v>
                </c:pt>
                <c:pt idx="26">
                  <c:v>288.95282793490605</c:v>
                </c:pt>
                <c:pt idx="27">
                  <c:v>280.57906144003334</c:v>
                </c:pt>
                <c:pt idx="28">
                  <c:v>279.36027086428237</c:v>
                </c:pt>
                <c:pt idx="29">
                  <c:v>281.17479393959593</c:v>
                </c:pt>
                <c:pt idx="30">
                  <c:v>284.62139288037611</c:v>
                </c:pt>
                <c:pt idx="31">
                  <c:v>273.64610481865509</c:v>
                </c:pt>
                <c:pt idx="32">
                  <c:v>282.22840530473729</c:v>
                </c:pt>
                <c:pt idx="33">
                  <c:v>280.17666488887471</c:v>
                </c:pt>
                <c:pt idx="34">
                  <c:v>284.41129479856215</c:v>
                </c:pt>
                <c:pt idx="35">
                  <c:v>273.24130026615114</c:v>
                </c:pt>
                <c:pt idx="36">
                  <c:v>271.61030593980684</c:v>
                </c:pt>
                <c:pt idx="37">
                  <c:v>285.16408198647412</c:v>
                </c:pt>
                <c:pt idx="38">
                  <c:v>276.14102297745546</c:v>
                </c:pt>
                <c:pt idx="39">
                  <c:v>282.34877274508347</c:v>
                </c:pt>
                <c:pt idx="40">
                  <c:v>279.23553304455868</c:v>
                </c:pt>
                <c:pt idx="41">
                  <c:v>277.82853886991848</c:v>
                </c:pt>
                <c:pt idx="42">
                  <c:v>279.48514545053069</c:v>
                </c:pt>
                <c:pt idx="43">
                  <c:v>292.9320122053482</c:v>
                </c:pt>
                <c:pt idx="44">
                  <c:v>274.62201769886985</c:v>
                </c:pt>
                <c:pt idx="45">
                  <c:v>334.51197849652249</c:v>
                </c:pt>
                <c:pt idx="46">
                  <c:v>235.5877423128984</c:v>
                </c:pt>
                <c:pt idx="47">
                  <c:v>281.00402560667521</c:v>
                </c:pt>
                <c:pt idx="48">
                  <c:v>282.25213628194854</c:v>
                </c:pt>
                <c:pt idx="49">
                  <c:v>278.03699057654592</c:v>
                </c:pt>
                <c:pt idx="50">
                  <c:v>275.12614023304843</c:v>
                </c:pt>
                <c:pt idx="51">
                  <c:v>279.21051362325193</c:v>
                </c:pt>
                <c:pt idx="52">
                  <c:v>275.45282559372379</c:v>
                </c:pt>
                <c:pt idx="53">
                  <c:v>276.21089791037241</c:v>
                </c:pt>
                <c:pt idx="54">
                  <c:v>275.26206438568192</c:v>
                </c:pt>
                <c:pt idx="55">
                  <c:v>273.58122866380268</c:v>
                </c:pt>
                <c:pt idx="56">
                  <c:v>273.14089689646949</c:v>
                </c:pt>
                <c:pt idx="57">
                  <c:v>287.79528632396352</c:v>
                </c:pt>
                <c:pt idx="58">
                  <c:v>284.85931051242255</c:v>
                </c:pt>
                <c:pt idx="59">
                  <c:v>279.27667716419739</c:v>
                </c:pt>
                <c:pt idx="60">
                  <c:v>263.29082445487154</c:v>
                </c:pt>
                <c:pt idx="61">
                  <c:v>276.87525792674114</c:v>
                </c:pt>
                <c:pt idx="62">
                  <c:v>278.06704463690096</c:v>
                </c:pt>
                <c:pt idx="63">
                  <c:v>277.28150595089824</c:v>
                </c:pt>
                <c:pt idx="64">
                  <c:v>270.65275313644554</c:v>
                </c:pt>
                <c:pt idx="65">
                  <c:v>277.29047001508127</c:v>
                </c:pt>
                <c:pt idx="66">
                  <c:v>276.98796784350475</c:v>
                </c:pt>
                <c:pt idx="67">
                  <c:v>280.77989136421138</c:v>
                </c:pt>
                <c:pt idx="68">
                  <c:v>276.99300425266358</c:v>
                </c:pt>
                <c:pt idx="69">
                  <c:v>247.7833412359671</c:v>
                </c:pt>
                <c:pt idx="70">
                  <c:v>282.58536459609149</c:v>
                </c:pt>
                <c:pt idx="71">
                  <c:v>284.80508176429794</c:v>
                </c:pt>
                <c:pt idx="72">
                  <c:v>281.95781863024695</c:v>
                </c:pt>
                <c:pt idx="73">
                  <c:v>272.49716307186725</c:v>
                </c:pt>
                <c:pt idx="74">
                  <c:v>275.56195653349766</c:v>
                </c:pt>
                <c:pt idx="75">
                  <c:v>270.77879238789421</c:v>
                </c:pt>
                <c:pt idx="76">
                  <c:v>276.60483480750236</c:v>
                </c:pt>
                <c:pt idx="77">
                  <c:v>270.0438489821737</c:v>
                </c:pt>
                <c:pt idx="78">
                  <c:v>273.35009137348231</c:v>
                </c:pt>
                <c:pt idx="79">
                  <c:v>274.81469754927798</c:v>
                </c:pt>
                <c:pt idx="80">
                  <c:v>275.96241815792428</c:v>
                </c:pt>
                <c:pt idx="81">
                  <c:v>278.94910973502317</c:v>
                </c:pt>
                <c:pt idx="82">
                  <c:v>273.56473045852385</c:v>
                </c:pt>
                <c:pt idx="83">
                  <c:v>275.61858590919064</c:v>
                </c:pt>
                <c:pt idx="84">
                  <c:v>278.00188244783078</c:v>
                </c:pt>
                <c:pt idx="85">
                  <c:v>280.50174809364034</c:v>
                </c:pt>
                <c:pt idx="86">
                  <c:v>279.49116499295997</c:v>
                </c:pt>
                <c:pt idx="87">
                  <c:v>273.74554395831115</c:v>
                </c:pt>
                <c:pt idx="88">
                  <c:v>273.67818243399984</c:v>
                </c:pt>
                <c:pt idx="89">
                  <c:v>278.31139377558407</c:v>
                </c:pt>
                <c:pt idx="90">
                  <c:v>276.46456393819938</c:v>
                </c:pt>
                <c:pt idx="91">
                  <c:v>278.16175493388846</c:v>
                </c:pt>
                <c:pt idx="92">
                  <c:v>279.07764225026699</c:v>
                </c:pt>
                <c:pt idx="93">
                  <c:v>273.35245532202157</c:v>
                </c:pt>
                <c:pt idx="94">
                  <c:v>282.8510336176264</c:v>
                </c:pt>
                <c:pt idx="95">
                  <c:v>281.47404661194014</c:v>
                </c:pt>
                <c:pt idx="96">
                  <c:v>278.2245792703502</c:v>
                </c:pt>
                <c:pt idx="97">
                  <c:v>279.01459907581636</c:v>
                </c:pt>
                <c:pt idx="98">
                  <c:v>274.05462565832056</c:v>
                </c:pt>
                <c:pt idx="99">
                  <c:v>277.65912054529667</c:v>
                </c:pt>
                <c:pt idx="100">
                  <c:v>275.27296800045099</c:v>
                </c:pt>
                <c:pt idx="101">
                  <c:v>280.52749416141728</c:v>
                </c:pt>
                <c:pt idx="102">
                  <c:v>279.85270022084228</c:v>
                </c:pt>
                <c:pt idx="103">
                  <c:v>280.38807080663571</c:v>
                </c:pt>
                <c:pt idx="104">
                  <c:v>287.63717809794798</c:v>
                </c:pt>
                <c:pt idx="105">
                  <c:v>293.13003411451325</c:v>
                </c:pt>
                <c:pt idx="106">
                  <c:v>287.80243527473237</c:v>
                </c:pt>
                <c:pt idx="107">
                  <c:v>284.02324238820859</c:v>
                </c:pt>
                <c:pt idx="108">
                  <c:v>283.63416158872997</c:v>
                </c:pt>
                <c:pt idx="109">
                  <c:v>283.80364897158506</c:v>
                </c:pt>
                <c:pt idx="110">
                  <c:v>281.66376537957399</c:v>
                </c:pt>
                <c:pt idx="111">
                  <c:v>280.41588293139171</c:v>
                </c:pt>
                <c:pt idx="112">
                  <c:v>281.83778747099029</c:v>
                </c:pt>
                <c:pt idx="113">
                  <c:v>281.03289153620096</c:v>
                </c:pt>
                <c:pt idx="114">
                  <c:v>284.35417059837914</c:v>
                </c:pt>
                <c:pt idx="115">
                  <c:v>281.3536700778717</c:v>
                </c:pt>
                <c:pt idx="116">
                  <c:v>277.61045667443739</c:v>
                </c:pt>
                <c:pt idx="117">
                  <c:v>280.25955869413224</c:v>
                </c:pt>
                <c:pt idx="118">
                  <c:v>271.29078783200612</c:v>
                </c:pt>
                <c:pt idx="119">
                  <c:v>284.80811296939896</c:v>
                </c:pt>
                <c:pt idx="120">
                  <c:v>275.99764842001639</c:v>
                </c:pt>
                <c:pt idx="121">
                  <c:v>287.26726215411486</c:v>
                </c:pt>
                <c:pt idx="122">
                  <c:v>287.41530565429082</c:v>
                </c:pt>
                <c:pt idx="123">
                  <c:v>286.09966328775772</c:v>
                </c:pt>
                <c:pt idx="124">
                  <c:v>282.39440745373076</c:v>
                </c:pt>
                <c:pt idx="125">
                  <c:v>286.92084283823931</c:v>
                </c:pt>
                <c:pt idx="126">
                  <c:v>284.44894269012264</c:v>
                </c:pt>
                <c:pt idx="127">
                  <c:v>281.74166899381373</c:v>
                </c:pt>
                <c:pt idx="128">
                  <c:v>281.0443953819605</c:v>
                </c:pt>
                <c:pt idx="129">
                  <c:v>282.71511037736832</c:v>
                </c:pt>
                <c:pt idx="130">
                  <c:v>283.80091700565436</c:v>
                </c:pt>
                <c:pt idx="131">
                  <c:v>287.4474359391819</c:v>
                </c:pt>
                <c:pt idx="132">
                  <c:v>287.86692017371877</c:v>
                </c:pt>
                <c:pt idx="133">
                  <c:v>278.53646321130589</c:v>
                </c:pt>
                <c:pt idx="134">
                  <c:v>284.21338409541465</c:v>
                </c:pt>
                <c:pt idx="135">
                  <c:v>288.11190985635085</c:v>
                </c:pt>
                <c:pt idx="136">
                  <c:v>275.8618681882142</c:v>
                </c:pt>
                <c:pt idx="137">
                  <c:v>279.17287422468701</c:v>
                </c:pt>
                <c:pt idx="138">
                  <c:v>279.56876477681794</c:v>
                </c:pt>
                <c:pt idx="139">
                  <c:v>275.34246121802278</c:v>
                </c:pt>
                <c:pt idx="140">
                  <c:v>283.25022799181306</c:v>
                </c:pt>
                <c:pt idx="141">
                  <c:v>290.91199354854587</c:v>
                </c:pt>
                <c:pt idx="142">
                  <c:v>292.26217250565651</c:v>
                </c:pt>
                <c:pt idx="143">
                  <c:v>295.23661269844786</c:v>
                </c:pt>
                <c:pt idx="144">
                  <c:v>425.58117531805783</c:v>
                </c:pt>
                <c:pt idx="145">
                  <c:v>1971.7383412306644</c:v>
                </c:pt>
                <c:pt idx="146">
                  <c:v>0</c:v>
                </c:pt>
                <c:pt idx="147">
                  <c:v>0</c:v>
                </c:pt>
                <c:pt idx="148">
                  <c:v>0</c:v>
                </c:pt>
                <c:pt idx="149">
                  <c:v>320.63874961778856</c:v>
                </c:pt>
                <c:pt idx="150">
                  <c:v>277.51011605019562</c:v>
                </c:pt>
                <c:pt idx="151">
                  <c:v>280.68506845325476</c:v>
                </c:pt>
                <c:pt idx="152">
                  <c:v>277.01542761090661</c:v>
                </c:pt>
                <c:pt idx="153">
                  <c:v>274.32427744831034</c:v>
                </c:pt>
                <c:pt idx="154">
                  <c:v>274.32562272082896</c:v>
                </c:pt>
                <c:pt idx="155">
                  <c:v>278.23401610154804</c:v>
                </c:pt>
                <c:pt idx="156">
                  <c:v>278.72407715771044</c:v>
                </c:pt>
                <c:pt idx="157">
                  <c:v>277.07167964276096</c:v>
                </c:pt>
                <c:pt idx="158">
                  <c:v>283.15114080526416</c:v>
                </c:pt>
                <c:pt idx="159">
                  <c:v>281.2465940738158</c:v>
                </c:pt>
                <c:pt idx="160">
                  <c:v>284.28403591014307</c:v>
                </c:pt>
                <c:pt idx="161">
                  <c:v>287.416694613461</c:v>
                </c:pt>
                <c:pt idx="162">
                  <c:v>286.92973291542228</c:v>
                </c:pt>
                <c:pt idx="163">
                  <c:v>276.75950241773546</c:v>
                </c:pt>
                <c:pt idx="164">
                  <c:v>273.70570868440473</c:v>
                </c:pt>
                <c:pt idx="165">
                  <c:v>274.74291440493676</c:v>
                </c:pt>
                <c:pt idx="166">
                  <c:v>281.6206259138412</c:v>
                </c:pt>
                <c:pt idx="167">
                  <c:v>280.96043993450769</c:v>
                </c:pt>
                <c:pt idx="168">
                  <c:v>282.16429602750395</c:v>
                </c:pt>
                <c:pt idx="169">
                  <c:v>277.40329019532328</c:v>
                </c:pt>
                <c:pt idx="170">
                  <c:v>284.54927753176207</c:v>
                </c:pt>
                <c:pt idx="171">
                  <c:v>292.87711611225609</c:v>
                </c:pt>
                <c:pt idx="172">
                  <c:v>284.67561857988414</c:v>
                </c:pt>
                <c:pt idx="173">
                  <c:v>287.90630371309055</c:v>
                </c:pt>
                <c:pt idx="174">
                  <c:v>289.73559639944483</c:v>
                </c:pt>
                <c:pt idx="175">
                  <c:v>286.26928404865532</c:v>
                </c:pt>
                <c:pt idx="176">
                  <c:v>293.93598426724054</c:v>
                </c:pt>
                <c:pt idx="177">
                  <c:v>288.57010989218816</c:v>
                </c:pt>
                <c:pt idx="178">
                  <c:v>281.25442327543351</c:v>
                </c:pt>
                <c:pt idx="179">
                  <c:v>288.85248175579136</c:v>
                </c:pt>
                <c:pt idx="180">
                  <c:v>287.53568614680148</c:v>
                </c:pt>
                <c:pt idx="181">
                  <c:v>279.69833640718832</c:v>
                </c:pt>
                <c:pt idx="182">
                  <c:v>287.14881618540301</c:v>
                </c:pt>
                <c:pt idx="183">
                  <c:v>283.60377313841911</c:v>
                </c:pt>
                <c:pt idx="184">
                  <c:v>286.54269971618908</c:v>
                </c:pt>
                <c:pt idx="185">
                  <c:v>285.1147583927094</c:v>
                </c:pt>
                <c:pt idx="186">
                  <c:v>285.03579391044434</c:v>
                </c:pt>
                <c:pt idx="187">
                  <c:v>284.39453088939501</c:v>
                </c:pt>
                <c:pt idx="188">
                  <c:v>286.03704460491815</c:v>
                </c:pt>
                <c:pt idx="189">
                  <c:v>284.20653683115256</c:v>
                </c:pt>
                <c:pt idx="190">
                  <c:v>284.59382854580815</c:v>
                </c:pt>
                <c:pt idx="191">
                  <c:v>286.75674677900236</c:v>
                </c:pt>
                <c:pt idx="192">
                  <c:v>285.71310521690395</c:v>
                </c:pt>
                <c:pt idx="193">
                  <c:v>285.43771657811442</c:v>
                </c:pt>
                <c:pt idx="194">
                  <c:v>286.94778629819291</c:v>
                </c:pt>
                <c:pt idx="195">
                  <c:v>285.47383721913025</c:v>
                </c:pt>
                <c:pt idx="196">
                  <c:v>286.84626558399248</c:v>
                </c:pt>
                <c:pt idx="197">
                  <c:v>284.07340734052309</c:v>
                </c:pt>
                <c:pt idx="198">
                  <c:v>282.87543326321781</c:v>
                </c:pt>
                <c:pt idx="199">
                  <c:v>283.01984897502041</c:v>
                </c:pt>
                <c:pt idx="200">
                  <c:v>287.15256221823211</c:v>
                </c:pt>
                <c:pt idx="201">
                  <c:v>283.27126393716139</c:v>
                </c:pt>
                <c:pt idx="202">
                  <c:v>285.19159311762212</c:v>
                </c:pt>
                <c:pt idx="203">
                  <c:v>285.42718845636341</c:v>
                </c:pt>
                <c:pt idx="204">
                  <c:v>282.63256935860261</c:v>
                </c:pt>
                <c:pt idx="205">
                  <c:v>282.47753154274983</c:v>
                </c:pt>
                <c:pt idx="206">
                  <c:v>290.71386728182938</c:v>
                </c:pt>
                <c:pt idx="207">
                  <c:v>282.99462920982444</c:v>
                </c:pt>
                <c:pt idx="208">
                  <c:v>278.67305791662966</c:v>
                </c:pt>
                <c:pt idx="209">
                  <c:v>286.63312612634115</c:v>
                </c:pt>
                <c:pt idx="210">
                  <c:v>277.30791631479815</c:v>
                </c:pt>
                <c:pt idx="211">
                  <c:v>281.24375880403568</c:v>
                </c:pt>
                <c:pt idx="212">
                  <c:v>279.20515925285667</c:v>
                </c:pt>
                <c:pt idx="213">
                  <c:v>285.32918731701261</c:v>
                </c:pt>
                <c:pt idx="214">
                  <c:v>296.15340284645663</c:v>
                </c:pt>
                <c:pt idx="215">
                  <c:v>285.08713038874282</c:v>
                </c:pt>
                <c:pt idx="216">
                  <c:v>279.51000185510873</c:v>
                </c:pt>
                <c:pt idx="217">
                  <c:v>284.11402845608063</c:v>
                </c:pt>
                <c:pt idx="218">
                  <c:v>278.71838047712185</c:v>
                </c:pt>
                <c:pt idx="219">
                  <c:v>278.33309667283163</c:v>
                </c:pt>
                <c:pt idx="220">
                  <c:v>274.23171463611129</c:v>
                </c:pt>
                <c:pt idx="221">
                  <c:v>280.17270264352362</c:v>
                </c:pt>
                <c:pt idx="222">
                  <c:v>277.61444421728277</c:v>
                </c:pt>
                <c:pt idx="223">
                  <c:v>280.62448328323273</c:v>
                </c:pt>
                <c:pt idx="224">
                  <c:v>274.10124768124138</c:v>
                </c:pt>
                <c:pt idx="225">
                  <c:v>257.99780101349563</c:v>
                </c:pt>
                <c:pt idx="226">
                  <c:v>272.91477670939787</c:v>
                </c:pt>
                <c:pt idx="227">
                  <c:v>271.32045734863675</c:v>
                </c:pt>
                <c:pt idx="228">
                  <c:v>277.31025093215737</c:v>
                </c:pt>
                <c:pt idx="229">
                  <c:v>272.05048253370228</c:v>
                </c:pt>
                <c:pt idx="230">
                  <c:v>280.46053619063264</c:v>
                </c:pt>
                <c:pt idx="231">
                  <c:v>277.6402578259756</c:v>
                </c:pt>
                <c:pt idx="232">
                  <c:v>278.71243397575938</c:v>
                </c:pt>
                <c:pt idx="233">
                  <c:v>280.22903569194034</c:v>
                </c:pt>
                <c:pt idx="234">
                  <c:v>279.73096443371276</c:v>
                </c:pt>
                <c:pt idx="235">
                  <c:v>286.09450762412791</c:v>
                </c:pt>
                <c:pt idx="236">
                  <c:v>283.49987431296711</c:v>
                </c:pt>
                <c:pt idx="237">
                  <c:v>281.53354863771096</c:v>
                </c:pt>
                <c:pt idx="238">
                  <c:v>279.63461047980923</c:v>
                </c:pt>
                <c:pt idx="239">
                  <c:v>282.40042299664719</c:v>
                </c:pt>
                <c:pt idx="240">
                  <c:v>298.40320491652926</c:v>
                </c:pt>
                <c:pt idx="241">
                  <c:v>299.72807940029668</c:v>
                </c:pt>
                <c:pt idx="242">
                  <c:v>299.27271533102157</c:v>
                </c:pt>
                <c:pt idx="243">
                  <c:v>287.48172674954776</c:v>
                </c:pt>
                <c:pt idx="244">
                  <c:v>289.1249355605072</c:v>
                </c:pt>
                <c:pt idx="245">
                  <c:v>276.88025628308321</c:v>
                </c:pt>
                <c:pt idx="246">
                  <c:v>300.54842337576213</c:v>
                </c:pt>
                <c:pt idx="247">
                  <c:v>306.20921416657416</c:v>
                </c:pt>
                <c:pt idx="248">
                  <c:v>283.8738930349341</c:v>
                </c:pt>
                <c:pt idx="249">
                  <c:v>277.40720564963158</c:v>
                </c:pt>
                <c:pt idx="250">
                  <c:v>299.64341768594443</c:v>
                </c:pt>
                <c:pt idx="251">
                  <c:v>309.96382055032245</c:v>
                </c:pt>
                <c:pt idx="252">
                  <c:v>291.16669580683856</c:v>
                </c:pt>
                <c:pt idx="253">
                  <c:v>298.29276532772622</c:v>
                </c:pt>
                <c:pt idx="254">
                  <c:v>291.1904070553968</c:v>
                </c:pt>
                <c:pt idx="255">
                  <c:v>301.17956921096106</c:v>
                </c:pt>
                <c:pt idx="256">
                  <c:v>280.20111540354412</c:v>
                </c:pt>
                <c:pt idx="257">
                  <c:v>282.33665268113862</c:v>
                </c:pt>
                <c:pt idx="258">
                  <c:v>288.44386235234379</c:v>
                </c:pt>
                <c:pt idx="259">
                  <c:v>314.3667891298627</c:v>
                </c:pt>
                <c:pt idx="260">
                  <c:v>239.10012285199537</c:v>
                </c:pt>
                <c:pt idx="261">
                  <c:v>279.96809956854429</c:v>
                </c:pt>
                <c:pt idx="262">
                  <c:v>286.35917555065555</c:v>
                </c:pt>
                <c:pt idx="263">
                  <c:v>278.3768800541302</c:v>
                </c:pt>
                <c:pt idx="264">
                  <c:v>284.15957174884863</c:v>
                </c:pt>
                <c:pt idx="265">
                  <c:v>284.14959920150659</c:v>
                </c:pt>
                <c:pt idx="266">
                  <c:v>291.76442475111457</c:v>
                </c:pt>
                <c:pt idx="267">
                  <c:v>257.32233903263534</c:v>
                </c:pt>
                <c:pt idx="268">
                  <c:v>278.93944500939483</c:v>
                </c:pt>
                <c:pt idx="269">
                  <c:v>286.80059241226047</c:v>
                </c:pt>
                <c:pt idx="270">
                  <c:v>288.71421527608015</c:v>
                </c:pt>
                <c:pt idx="271">
                  <c:v>283.65776444976154</c:v>
                </c:pt>
                <c:pt idx="272">
                  <c:v>277.42774653246727</c:v>
                </c:pt>
                <c:pt idx="273">
                  <c:v>279.94893411135411</c:v>
                </c:pt>
                <c:pt idx="274">
                  <c:v>285.57475587628551</c:v>
                </c:pt>
                <c:pt idx="275">
                  <c:v>289.04181091723945</c:v>
                </c:pt>
                <c:pt idx="276">
                  <c:v>285.92328826982578</c:v>
                </c:pt>
                <c:pt idx="277">
                  <c:v>288.39161844232592</c:v>
                </c:pt>
                <c:pt idx="278">
                  <c:v>299.87078989632289</c:v>
                </c:pt>
                <c:pt idx="279">
                  <c:v>284.89351057538386</c:v>
                </c:pt>
                <c:pt idx="280">
                  <c:v>275.58552388850148</c:v>
                </c:pt>
                <c:pt idx="281">
                  <c:v>280.94331223099073</c:v>
                </c:pt>
                <c:pt idx="282">
                  <c:v>277.98735091860863</c:v>
                </c:pt>
                <c:pt idx="283">
                  <c:v>277.3244340402133</c:v>
                </c:pt>
                <c:pt idx="284">
                  <c:v>276.71560608160678</c:v>
                </c:pt>
                <c:pt idx="285">
                  <c:v>279.64226413281028</c:v>
                </c:pt>
                <c:pt idx="286">
                  <c:v>278.64224833429296</c:v>
                </c:pt>
                <c:pt idx="287">
                  <c:v>281.85346735218957</c:v>
                </c:pt>
                <c:pt idx="288">
                  <c:v>285.73003022062312</c:v>
                </c:pt>
                <c:pt idx="289">
                  <c:v>285.30556529133298</c:v>
                </c:pt>
                <c:pt idx="290">
                  <c:v>285.32676213115008</c:v>
                </c:pt>
                <c:pt idx="291">
                  <c:v>301.81075980561445</c:v>
                </c:pt>
                <c:pt idx="292">
                  <c:v>287.46511480345225</c:v>
                </c:pt>
                <c:pt idx="293">
                  <c:v>290.20460051079749</c:v>
                </c:pt>
                <c:pt idx="294">
                  <c:v>287.32640652743873</c:v>
                </c:pt>
                <c:pt idx="295">
                  <c:v>290.0350603790065</c:v>
                </c:pt>
                <c:pt idx="296">
                  <c:v>283.37537648956754</c:v>
                </c:pt>
                <c:pt idx="297">
                  <c:v>279.97315011863827</c:v>
                </c:pt>
                <c:pt idx="298">
                  <c:v>283.27159813736807</c:v>
                </c:pt>
                <c:pt idx="299">
                  <c:v>282.06091800673869</c:v>
                </c:pt>
                <c:pt idx="300">
                  <c:v>286.88399432149686</c:v>
                </c:pt>
                <c:pt idx="301">
                  <c:v>284.52775506061334</c:v>
                </c:pt>
                <c:pt idx="302">
                  <c:v>284.81197398755819</c:v>
                </c:pt>
                <c:pt idx="303">
                  <c:v>280.42431120064896</c:v>
                </c:pt>
                <c:pt idx="304">
                  <c:v>283.0358097498106</c:v>
                </c:pt>
                <c:pt idx="305">
                  <c:v>274.91439550475172</c:v>
                </c:pt>
                <c:pt idx="306">
                  <c:v>282.38949805698985</c:v>
                </c:pt>
                <c:pt idx="307">
                  <c:v>281.29804236453879</c:v>
                </c:pt>
                <c:pt idx="308">
                  <c:v>274.95821324215126</c:v>
                </c:pt>
                <c:pt idx="309">
                  <c:v>284.94001409146551</c:v>
                </c:pt>
                <c:pt idx="310">
                  <c:v>281.78472064690152</c:v>
                </c:pt>
                <c:pt idx="311">
                  <c:v>280.28624448485232</c:v>
                </c:pt>
                <c:pt idx="312">
                  <c:v>286.84360501695414</c:v>
                </c:pt>
                <c:pt idx="313">
                  <c:v>280.80249736371979</c:v>
                </c:pt>
                <c:pt idx="314">
                  <c:v>283.5116756740008</c:v>
                </c:pt>
                <c:pt idx="315">
                  <c:v>282.97086426949761</c:v>
                </c:pt>
                <c:pt idx="316">
                  <c:v>288.59047386556483</c:v>
                </c:pt>
                <c:pt idx="317">
                  <c:v>284.0849572436814</c:v>
                </c:pt>
                <c:pt idx="318">
                  <c:v>280.14527791037483</c:v>
                </c:pt>
                <c:pt idx="319">
                  <c:v>279.91458628262455</c:v>
                </c:pt>
                <c:pt idx="320">
                  <c:v>285.12897966783066</c:v>
                </c:pt>
                <c:pt idx="321">
                  <c:v>284.30139701689041</c:v>
                </c:pt>
                <c:pt idx="322">
                  <c:v>280.31307450119914</c:v>
                </c:pt>
                <c:pt idx="323">
                  <c:v>284.40357533099109</c:v>
                </c:pt>
                <c:pt idx="324">
                  <c:v>281.14782135494318</c:v>
                </c:pt>
                <c:pt idx="325">
                  <c:v>278.12567567299493</c:v>
                </c:pt>
                <c:pt idx="326">
                  <c:v>275.98971557999027</c:v>
                </c:pt>
                <c:pt idx="327">
                  <c:v>276.7197836099607</c:v>
                </c:pt>
                <c:pt idx="328">
                  <c:v>276.1252085500206</c:v>
                </c:pt>
                <c:pt idx="329">
                  <c:v>280.74805947638242</c:v>
                </c:pt>
                <c:pt idx="330">
                  <c:v>277.96482867533859</c:v>
                </c:pt>
                <c:pt idx="331">
                  <c:v>283.32021751491391</c:v>
                </c:pt>
                <c:pt idx="332">
                  <c:v>280.24516477490181</c:v>
                </c:pt>
                <c:pt idx="333">
                  <c:v>279.51095796047116</c:v>
                </c:pt>
                <c:pt idx="334">
                  <c:v>290.31091834436995</c:v>
                </c:pt>
                <c:pt idx="335">
                  <c:v>265.29353888134006</c:v>
                </c:pt>
                <c:pt idx="336">
                  <c:v>285.03361783071944</c:v>
                </c:pt>
                <c:pt idx="337">
                  <c:v>280.51987515885162</c:v>
                </c:pt>
                <c:pt idx="338">
                  <c:v>279.6732559346741</c:v>
                </c:pt>
                <c:pt idx="339">
                  <c:v>276.54074558214188</c:v>
                </c:pt>
                <c:pt idx="340">
                  <c:v>276.00874433432625</c:v>
                </c:pt>
                <c:pt idx="341">
                  <c:v>273.58129283026722</c:v>
                </c:pt>
                <c:pt idx="342">
                  <c:v>274.78766853286425</c:v>
                </c:pt>
                <c:pt idx="343">
                  <c:v>277.49507275759606</c:v>
                </c:pt>
                <c:pt idx="344">
                  <c:v>277.93588204861692</c:v>
                </c:pt>
                <c:pt idx="345">
                  <c:v>280.90311136609898</c:v>
                </c:pt>
                <c:pt idx="346">
                  <c:v>278.79675866845832</c:v>
                </c:pt>
                <c:pt idx="347">
                  <c:v>276.19300221526464</c:v>
                </c:pt>
                <c:pt idx="348">
                  <c:v>275.74673667060085</c:v>
                </c:pt>
                <c:pt idx="349">
                  <c:v>276.74615558592234</c:v>
                </c:pt>
                <c:pt idx="350">
                  <c:v>276.30297377080183</c:v>
                </c:pt>
                <c:pt idx="351">
                  <c:v>273.9431386643023</c:v>
                </c:pt>
                <c:pt idx="352">
                  <c:v>279.0019973039083</c:v>
                </c:pt>
                <c:pt idx="353">
                  <c:v>275.43193187368001</c:v>
                </c:pt>
                <c:pt idx="354">
                  <c:v>279.47477241103252</c:v>
                </c:pt>
                <c:pt idx="355">
                  <c:v>279.3361041669649</c:v>
                </c:pt>
                <c:pt idx="356">
                  <c:v>280.12921500577113</c:v>
                </c:pt>
                <c:pt idx="357">
                  <c:v>259.77833233074739</c:v>
                </c:pt>
                <c:pt idx="358">
                  <c:v>274.85570225121683</c:v>
                </c:pt>
                <c:pt idx="359">
                  <c:v>278.04464881959075</c:v>
                </c:pt>
                <c:pt idx="360">
                  <c:v>275.85959205952702</c:v>
                </c:pt>
                <c:pt idx="361">
                  <c:v>276.7031178302567</c:v>
                </c:pt>
                <c:pt idx="362">
                  <c:v>278.36371689467012</c:v>
                </c:pt>
                <c:pt idx="363">
                  <c:v>286.05042296620957</c:v>
                </c:pt>
                <c:pt idx="364">
                  <c:v>315.13034177154111</c:v>
                </c:pt>
                <c:pt idx="365">
                  <c:v>250.92583730263595</c:v>
                </c:pt>
                <c:pt idx="366">
                  <c:v>275.47635041685533</c:v>
                </c:pt>
                <c:pt idx="367">
                  <c:v>273.99218307244655</c:v>
                </c:pt>
                <c:pt idx="368">
                  <c:v>267.69332676241152</c:v>
                </c:pt>
                <c:pt idx="369">
                  <c:v>271.06557960610996</c:v>
                </c:pt>
                <c:pt idx="370">
                  <c:v>266.62761040700786</c:v>
                </c:pt>
                <c:pt idx="371">
                  <c:v>270.59638285342953</c:v>
                </c:pt>
                <c:pt idx="372">
                  <c:v>269.51122729810743</c:v>
                </c:pt>
                <c:pt idx="373">
                  <c:v>272.94890947548186</c:v>
                </c:pt>
                <c:pt idx="374">
                  <c:v>275.01836367036981</c:v>
                </c:pt>
                <c:pt idx="375">
                  <c:v>283.49448439521018</c:v>
                </c:pt>
                <c:pt idx="376">
                  <c:v>277.14474620881697</c:v>
                </c:pt>
                <c:pt idx="377">
                  <c:v>277.21098066973286</c:v>
                </c:pt>
                <c:pt idx="378">
                  <c:v>275.56624092488073</c:v>
                </c:pt>
                <c:pt idx="379">
                  <c:v>275.99830592262435</c:v>
                </c:pt>
                <c:pt idx="380">
                  <c:v>268.8216492824638</c:v>
                </c:pt>
                <c:pt idx="381">
                  <c:v>269.67701547121055</c:v>
                </c:pt>
                <c:pt idx="382">
                  <c:v>273.94160881679841</c:v>
                </c:pt>
                <c:pt idx="383">
                  <c:v>277.55218730532954</c:v>
                </c:pt>
                <c:pt idx="384">
                  <c:v>276.6243508801997</c:v>
                </c:pt>
                <c:pt idx="385">
                  <c:v>272.55518287578684</c:v>
                </c:pt>
                <c:pt idx="386">
                  <c:v>271.03358696115674</c:v>
                </c:pt>
                <c:pt idx="387">
                  <c:v>274.51391981612835</c:v>
                </c:pt>
                <c:pt idx="388">
                  <c:v>275.76607605728339</c:v>
                </c:pt>
                <c:pt idx="389">
                  <c:v>270.86992000142902</c:v>
                </c:pt>
                <c:pt idx="390">
                  <c:v>272.65237697917098</c:v>
                </c:pt>
                <c:pt idx="391">
                  <c:v>266.39052100980769</c:v>
                </c:pt>
                <c:pt idx="392">
                  <c:v>271.86219056599327</c:v>
                </c:pt>
                <c:pt idx="393">
                  <c:v>270.642182128218</c:v>
                </c:pt>
                <c:pt idx="394">
                  <c:v>272.17695274591927</c:v>
                </c:pt>
                <c:pt idx="395">
                  <c:v>274.56679440983839</c:v>
                </c:pt>
                <c:pt idx="396">
                  <c:v>278.15068127681445</c:v>
                </c:pt>
                <c:pt idx="397">
                  <c:v>273.06520012560952</c:v>
                </c:pt>
                <c:pt idx="398">
                  <c:v>277.82023508792076</c:v>
                </c:pt>
                <c:pt idx="399">
                  <c:v>275.22275796063207</c:v>
                </c:pt>
                <c:pt idx="400">
                  <c:v>278.37957047825057</c:v>
                </c:pt>
                <c:pt idx="401">
                  <c:v>275.3804985780879</c:v>
                </c:pt>
                <c:pt idx="402">
                  <c:v>281.35031739738724</c:v>
                </c:pt>
                <c:pt idx="403">
                  <c:v>281.78041240328264</c:v>
                </c:pt>
                <c:pt idx="404">
                  <c:v>281.63267436435069</c:v>
                </c:pt>
                <c:pt idx="405">
                  <c:v>281.80145351472765</c:v>
                </c:pt>
                <c:pt idx="406">
                  <c:v>277.22956251317271</c:v>
                </c:pt>
                <c:pt idx="407">
                  <c:v>275.05894191356128</c:v>
                </c:pt>
                <c:pt idx="408">
                  <c:v>281.19644319987935</c:v>
                </c:pt>
                <c:pt idx="409">
                  <c:v>276.02883071135022</c:v>
                </c:pt>
                <c:pt idx="410">
                  <c:v>274.60988619652051</c:v>
                </c:pt>
                <c:pt idx="411">
                  <c:v>272.79536384939354</c:v>
                </c:pt>
                <c:pt idx="412">
                  <c:v>279.82326743039107</c:v>
                </c:pt>
                <c:pt idx="413">
                  <c:v>277.01265574120475</c:v>
                </c:pt>
                <c:pt idx="414">
                  <c:v>274.64317659731046</c:v>
                </c:pt>
                <c:pt idx="415">
                  <c:v>280.65581128747101</c:v>
                </c:pt>
                <c:pt idx="416">
                  <c:v>283.90429190227132</c:v>
                </c:pt>
                <c:pt idx="417">
                  <c:v>280.25080395337204</c:v>
                </c:pt>
                <c:pt idx="418">
                  <c:v>274.3094873909389</c:v>
                </c:pt>
                <c:pt idx="419">
                  <c:v>280.62937426119436</c:v>
                </c:pt>
                <c:pt idx="420">
                  <c:v>280.97639686887157</c:v>
                </c:pt>
                <c:pt idx="421">
                  <c:v>277.26354704507537</c:v>
                </c:pt>
                <c:pt idx="422">
                  <c:v>280.86860495677797</c:v>
                </c:pt>
                <c:pt idx="423">
                  <c:v>276.48528241569443</c:v>
                </c:pt>
                <c:pt idx="424">
                  <c:v>278.94168354786314</c:v>
                </c:pt>
                <c:pt idx="425">
                  <c:v>283.0968730460786</c:v>
                </c:pt>
                <c:pt idx="426">
                  <c:v>278.75448742193635</c:v>
                </c:pt>
                <c:pt idx="427">
                  <c:v>274.20840104597494</c:v>
                </c:pt>
                <c:pt idx="428">
                  <c:v>274.91565444996604</c:v>
                </c:pt>
                <c:pt idx="429">
                  <c:v>280.66491548898398</c:v>
                </c:pt>
                <c:pt idx="430">
                  <c:v>278.17281218772791</c:v>
                </c:pt>
                <c:pt idx="431">
                  <c:v>277.08415610794202</c:v>
                </c:pt>
                <c:pt idx="432">
                  <c:v>274.01279847979799</c:v>
                </c:pt>
                <c:pt idx="433">
                  <c:v>277.98181841662665</c:v>
                </c:pt>
                <c:pt idx="434">
                  <c:v>278.88864804230161</c:v>
                </c:pt>
                <c:pt idx="435">
                  <c:v>275.91339235793976</c:v>
                </c:pt>
                <c:pt idx="436">
                  <c:v>278.97368165513876</c:v>
                </c:pt>
                <c:pt idx="437">
                  <c:v>277.93268492921266</c:v>
                </c:pt>
                <c:pt idx="438">
                  <c:v>282.144854080762</c:v>
                </c:pt>
                <c:pt idx="439">
                  <c:v>279.24372718183827</c:v>
                </c:pt>
                <c:pt idx="440">
                  <c:v>278.11605456632117</c:v>
                </c:pt>
                <c:pt idx="441">
                  <c:v>285.71221499557225</c:v>
                </c:pt>
                <c:pt idx="442">
                  <c:v>276.26912696385068</c:v>
                </c:pt>
                <c:pt idx="443">
                  <c:v>276.5824482495176</c:v>
                </c:pt>
                <c:pt idx="444">
                  <c:v>276.69018572876871</c:v>
                </c:pt>
                <c:pt idx="445">
                  <c:v>270.85523462679419</c:v>
                </c:pt>
                <c:pt idx="446">
                  <c:v>275.58362109336815</c:v>
                </c:pt>
                <c:pt idx="447">
                  <c:v>276.15627685999459</c:v>
                </c:pt>
                <c:pt idx="448">
                  <c:v>280.58540910755823</c:v>
                </c:pt>
                <c:pt idx="449">
                  <c:v>284.13290074548286</c:v>
                </c:pt>
                <c:pt idx="450">
                  <c:v>275.16954857489873</c:v>
                </c:pt>
                <c:pt idx="451">
                  <c:v>276.18777108291465</c:v>
                </c:pt>
                <c:pt idx="452">
                  <c:v>273.97381175903331</c:v>
                </c:pt>
                <c:pt idx="453">
                  <c:v>279.69724047542854</c:v>
                </c:pt>
                <c:pt idx="454">
                  <c:v>278.03026363425408</c:v>
                </c:pt>
                <c:pt idx="455">
                  <c:v>271.89666189127047</c:v>
                </c:pt>
                <c:pt idx="456">
                  <c:v>277.59442260485434</c:v>
                </c:pt>
                <c:pt idx="457">
                  <c:v>285.94550331715016</c:v>
                </c:pt>
                <c:pt idx="458">
                  <c:v>275.64354086318406</c:v>
                </c:pt>
                <c:pt idx="459">
                  <c:v>278.58534476804164</c:v>
                </c:pt>
                <c:pt idx="460">
                  <c:v>273.16609759862683</c:v>
                </c:pt>
                <c:pt idx="461">
                  <c:v>276.08486203623306</c:v>
                </c:pt>
                <c:pt idx="462">
                  <c:v>271.99968405285256</c:v>
                </c:pt>
                <c:pt idx="463">
                  <c:v>266.00764587793162</c:v>
                </c:pt>
                <c:pt idx="464">
                  <c:v>270.78896474569592</c:v>
                </c:pt>
                <c:pt idx="465">
                  <c:v>270.25659898099138</c:v>
                </c:pt>
                <c:pt idx="466">
                  <c:v>276.16985693545462</c:v>
                </c:pt>
                <c:pt idx="467">
                  <c:v>295.74818540513979</c:v>
                </c:pt>
                <c:pt idx="468">
                  <c:v>309.04866577666144</c:v>
                </c:pt>
                <c:pt idx="469">
                  <c:v>277.71418371782693</c:v>
                </c:pt>
                <c:pt idx="470">
                  <c:v>277.27079501813841</c:v>
                </c:pt>
                <c:pt idx="471">
                  <c:v>274.81807635206189</c:v>
                </c:pt>
                <c:pt idx="472">
                  <c:v>278.91318889016077</c:v>
                </c:pt>
                <c:pt idx="473">
                  <c:v>275.78697762053412</c:v>
                </c:pt>
                <c:pt idx="474">
                  <c:v>275.48713192813341</c:v>
                </c:pt>
                <c:pt idx="475">
                  <c:v>280.05592653922884</c:v>
                </c:pt>
                <c:pt idx="476">
                  <c:v>279.33499363718579</c:v>
                </c:pt>
                <c:pt idx="477">
                  <c:v>280.91246753945882</c:v>
                </c:pt>
                <c:pt idx="478">
                  <c:v>272.28844287327661</c:v>
                </c:pt>
                <c:pt idx="479">
                  <c:v>278.05642941879205</c:v>
                </c:pt>
                <c:pt idx="480">
                  <c:v>283.95993231643718</c:v>
                </c:pt>
                <c:pt idx="481">
                  <c:v>285.70774614609377</c:v>
                </c:pt>
                <c:pt idx="482">
                  <c:v>283.68458394416405</c:v>
                </c:pt>
                <c:pt idx="483">
                  <c:v>286.74000978015738</c:v>
                </c:pt>
                <c:pt idx="484">
                  <c:v>280.50768263852444</c:v>
                </c:pt>
                <c:pt idx="485">
                  <c:v>282.14390547960329</c:v>
                </c:pt>
                <c:pt idx="486">
                  <c:v>273.11903327249763</c:v>
                </c:pt>
                <c:pt idx="487">
                  <c:v>278.50637025025071</c:v>
                </c:pt>
                <c:pt idx="488">
                  <c:v>275.22858690961357</c:v>
                </c:pt>
                <c:pt idx="489">
                  <c:v>276.03258636824398</c:v>
                </c:pt>
                <c:pt idx="490">
                  <c:v>273.70081289878692</c:v>
                </c:pt>
                <c:pt idx="491">
                  <c:v>267.28426152869781</c:v>
                </c:pt>
                <c:pt idx="492">
                  <c:v>286.87555173432611</c:v>
                </c:pt>
                <c:pt idx="493">
                  <c:v>289.60728492848023</c:v>
                </c:pt>
                <c:pt idx="494">
                  <c:v>286.3062155627357</c:v>
                </c:pt>
                <c:pt idx="495">
                  <c:v>347.43817126692102</c:v>
                </c:pt>
                <c:pt idx="496">
                  <c:v>361.32925187320802</c:v>
                </c:pt>
                <c:pt idx="497">
                  <c:v>0</c:v>
                </c:pt>
                <c:pt idx="498">
                  <c:v>0</c:v>
                </c:pt>
                <c:pt idx="499">
                  <c:v>268.26435476259553</c:v>
                </c:pt>
                <c:pt idx="500">
                  <c:v>266.76911022063291</c:v>
                </c:pt>
                <c:pt idx="501">
                  <c:v>273.02752397901315</c:v>
                </c:pt>
                <c:pt idx="502">
                  <c:v>273.6270688313133</c:v>
                </c:pt>
                <c:pt idx="503">
                  <c:v>269.39686230660777</c:v>
                </c:pt>
                <c:pt idx="504">
                  <c:v>274.02076326225085</c:v>
                </c:pt>
                <c:pt idx="505">
                  <c:v>264.7073585502136</c:v>
                </c:pt>
                <c:pt idx="506">
                  <c:v>286.39818751779831</c:v>
                </c:pt>
                <c:pt idx="507">
                  <c:v>272.18440325431425</c:v>
                </c:pt>
                <c:pt idx="508">
                  <c:v>275.69049109109142</c:v>
                </c:pt>
                <c:pt idx="509">
                  <c:v>265.2395911867269</c:v>
                </c:pt>
                <c:pt idx="510">
                  <c:v>265.75555866823424</c:v>
                </c:pt>
                <c:pt idx="511">
                  <c:v>270.77823601135628</c:v>
                </c:pt>
                <c:pt idx="512">
                  <c:v>274.96756164460351</c:v>
                </c:pt>
                <c:pt idx="513">
                  <c:v>271.35926098185985</c:v>
                </c:pt>
                <c:pt idx="514">
                  <c:v>272.16819199428016</c:v>
                </c:pt>
                <c:pt idx="515">
                  <c:v>270.0039825008264</c:v>
                </c:pt>
                <c:pt idx="516">
                  <c:v>270.40462357164847</c:v>
                </c:pt>
                <c:pt idx="517">
                  <c:v>269.57550592806467</c:v>
                </c:pt>
                <c:pt idx="518">
                  <c:v>274.06677257814044</c:v>
                </c:pt>
                <c:pt idx="519">
                  <c:v>270.09015304870275</c:v>
                </c:pt>
                <c:pt idx="520">
                  <c:v>271.1795439845182</c:v>
                </c:pt>
                <c:pt idx="521">
                  <c:v>267.04358190595576</c:v>
                </c:pt>
                <c:pt idx="522">
                  <c:v>270.32005726194939</c:v>
                </c:pt>
                <c:pt idx="523">
                  <c:v>271.18226341535967</c:v>
                </c:pt>
                <c:pt idx="524">
                  <c:v>274.35299096240124</c:v>
                </c:pt>
                <c:pt idx="525">
                  <c:v>274.48229197936985</c:v>
                </c:pt>
                <c:pt idx="526">
                  <c:v>275.11703596678717</c:v>
                </c:pt>
                <c:pt idx="527">
                  <c:v>279.22618822408629</c:v>
                </c:pt>
                <c:pt idx="528">
                  <c:v>273.21220973606137</c:v>
                </c:pt>
                <c:pt idx="529">
                  <c:v>277.11376180748732</c:v>
                </c:pt>
                <c:pt idx="530">
                  <c:v>274.96982006781184</c:v>
                </c:pt>
                <c:pt idx="531">
                  <c:v>274.61192650020701</c:v>
                </c:pt>
                <c:pt idx="532">
                  <c:v>279.72337984788203</c:v>
                </c:pt>
                <c:pt idx="533">
                  <c:v>291.02033309210185</c:v>
                </c:pt>
                <c:pt idx="534">
                  <c:v>278.28725247682314</c:v>
                </c:pt>
                <c:pt idx="535">
                  <c:v>272.43341889997794</c:v>
                </c:pt>
                <c:pt idx="536">
                  <c:v>273.00487907841648</c:v>
                </c:pt>
                <c:pt idx="537">
                  <c:v>280.45198075077474</c:v>
                </c:pt>
                <c:pt idx="538">
                  <c:v>279.09887059468792</c:v>
                </c:pt>
                <c:pt idx="539">
                  <c:v>281.03873146433364</c:v>
                </c:pt>
                <c:pt idx="540">
                  <c:v>280.32657896605815</c:v>
                </c:pt>
                <c:pt idx="541">
                  <c:v>281.09553247069255</c:v>
                </c:pt>
                <c:pt idx="542">
                  <c:v>293.0426221778564</c:v>
                </c:pt>
                <c:pt idx="543">
                  <c:v>273.18507275582692</c:v>
                </c:pt>
                <c:pt idx="544">
                  <c:v>284.77550745249641</c:v>
                </c:pt>
                <c:pt idx="545">
                  <c:v>271.01722539135426</c:v>
                </c:pt>
                <c:pt idx="546">
                  <c:v>270.14553993137713</c:v>
                </c:pt>
                <c:pt idx="547">
                  <c:v>277.99762543911322</c:v>
                </c:pt>
                <c:pt idx="548">
                  <c:v>272.24880630767325</c:v>
                </c:pt>
                <c:pt idx="549">
                  <c:v>276.29332901105624</c:v>
                </c:pt>
                <c:pt idx="550">
                  <c:v>274.31615127841815</c:v>
                </c:pt>
                <c:pt idx="551">
                  <c:v>265.14863729547744</c:v>
                </c:pt>
                <c:pt idx="552">
                  <c:v>271.81091455471301</c:v>
                </c:pt>
                <c:pt idx="553">
                  <c:v>273.85978260648312</c:v>
                </c:pt>
                <c:pt idx="554">
                  <c:v>269.92477652489458</c:v>
                </c:pt>
                <c:pt idx="555">
                  <c:v>276.6274602195665</c:v>
                </c:pt>
                <c:pt idx="556">
                  <c:v>275.78778161261459</c:v>
                </c:pt>
                <c:pt idx="557">
                  <c:v>273.71267461339369</c:v>
                </c:pt>
                <c:pt idx="558">
                  <c:v>269.86207655465648</c:v>
                </c:pt>
                <c:pt idx="559">
                  <c:v>269.50675851720439</c:v>
                </c:pt>
                <c:pt idx="560">
                  <c:v>273.61662161953768</c:v>
                </c:pt>
                <c:pt idx="561">
                  <c:v>273.85104964602579</c:v>
                </c:pt>
                <c:pt idx="562">
                  <c:v>276.05469316354856</c:v>
                </c:pt>
                <c:pt idx="563">
                  <c:v>271.5014778157223</c:v>
                </c:pt>
                <c:pt idx="564">
                  <c:v>278.14746353533258</c:v>
                </c:pt>
                <c:pt idx="565">
                  <c:v>280.09580277016119</c:v>
                </c:pt>
                <c:pt idx="566">
                  <c:v>261.81839824794918</c:v>
                </c:pt>
                <c:pt idx="567">
                  <c:v>275.03043409020438</c:v>
                </c:pt>
                <c:pt idx="568">
                  <c:v>283.77885422334577</c:v>
                </c:pt>
                <c:pt idx="569">
                  <c:v>281.11305960701998</c:v>
                </c:pt>
                <c:pt idx="570">
                  <c:v>285.33295245650186</c:v>
                </c:pt>
                <c:pt idx="571">
                  <c:v>279.91050342590995</c:v>
                </c:pt>
                <c:pt idx="572">
                  <c:v>282.00975319840086</c:v>
                </c:pt>
                <c:pt idx="573">
                  <c:v>279.63095760799263</c:v>
                </c:pt>
                <c:pt idx="574">
                  <c:v>278.68668793579616</c:v>
                </c:pt>
                <c:pt idx="575">
                  <c:v>268.84923975652373</c:v>
                </c:pt>
                <c:pt idx="576">
                  <c:v>268.54863071609623</c:v>
                </c:pt>
                <c:pt idx="577">
                  <c:v>266.23246573474864</c:v>
                </c:pt>
                <c:pt idx="578">
                  <c:v>268.35391916983485</c:v>
                </c:pt>
                <c:pt idx="579">
                  <c:v>273.23579248413046</c:v>
                </c:pt>
                <c:pt idx="580">
                  <c:v>274.13000166588381</c:v>
                </c:pt>
                <c:pt idx="581">
                  <c:v>277.63045647778404</c:v>
                </c:pt>
                <c:pt idx="582">
                  <c:v>275.77780903850544</c:v>
                </c:pt>
                <c:pt idx="583">
                  <c:v>268.56533055212572</c:v>
                </c:pt>
                <c:pt idx="584">
                  <c:v>272.7967351868823</c:v>
                </c:pt>
                <c:pt idx="585">
                  <c:v>278.64400977175524</c:v>
                </c:pt>
                <c:pt idx="586">
                  <c:v>276.92638101918362</c:v>
                </c:pt>
                <c:pt idx="587">
                  <c:v>275.49664480439856</c:v>
                </c:pt>
                <c:pt idx="588">
                  <c:v>278.8223187789813</c:v>
                </c:pt>
                <c:pt idx="589">
                  <c:v>274.24147031745974</c:v>
                </c:pt>
                <c:pt idx="590">
                  <c:v>279.90984778646919</c:v>
                </c:pt>
                <c:pt idx="591">
                  <c:v>279.39008341194619</c:v>
                </c:pt>
                <c:pt idx="592">
                  <c:v>278.07328045394445</c:v>
                </c:pt>
                <c:pt idx="593">
                  <c:v>268.64515412236358</c:v>
                </c:pt>
                <c:pt idx="594">
                  <c:v>266.95046585823513</c:v>
                </c:pt>
                <c:pt idx="595">
                  <c:v>270.57668640152406</c:v>
                </c:pt>
                <c:pt idx="596">
                  <c:v>269.82772410736493</c:v>
                </c:pt>
                <c:pt idx="597">
                  <c:v>271.60070300774134</c:v>
                </c:pt>
                <c:pt idx="598">
                  <c:v>278.31109911912063</c:v>
                </c:pt>
                <c:pt idx="599">
                  <c:v>280.96777055168513</c:v>
                </c:pt>
                <c:pt idx="600">
                  <c:v>282.87900873580759</c:v>
                </c:pt>
                <c:pt idx="601">
                  <c:v>289.82259118278319</c:v>
                </c:pt>
                <c:pt idx="602">
                  <c:v>273.18630908903242</c:v>
                </c:pt>
                <c:pt idx="603">
                  <c:v>270.68596255727334</c:v>
                </c:pt>
                <c:pt idx="604">
                  <c:v>268.27243029674139</c:v>
                </c:pt>
                <c:pt idx="605">
                  <c:v>270.71959267616114</c:v>
                </c:pt>
                <c:pt idx="606">
                  <c:v>272.41363843074089</c:v>
                </c:pt>
                <c:pt idx="607">
                  <c:v>291.33190442713908</c:v>
                </c:pt>
                <c:pt idx="608">
                  <c:v>276.03677346412792</c:v>
                </c:pt>
                <c:pt idx="609">
                  <c:v>277.18020439329723</c:v>
                </c:pt>
                <c:pt idx="610">
                  <c:v>279.67543916540819</c:v>
                </c:pt>
                <c:pt idx="611">
                  <c:v>279.03412907952247</c:v>
                </c:pt>
                <c:pt idx="612">
                  <c:v>266.42711615242467</c:v>
                </c:pt>
                <c:pt idx="613">
                  <c:v>277.63578600991696</c:v>
                </c:pt>
                <c:pt idx="614">
                  <c:v>273.77732942875616</c:v>
                </c:pt>
                <c:pt idx="615">
                  <c:v>279.73783389750031</c:v>
                </c:pt>
                <c:pt idx="616">
                  <c:v>281.47951346039201</c:v>
                </c:pt>
                <c:pt idx="617">
                  <c:v>285.15670950772335</c:v>
                </c:pt>
                <c:pt idx="618">
                  <c:v>274.87208887944837</c:v>
                </c:pt>
                <c:pt idx="619">
                  <c:v>277.25504676482728</c:v>
                </c:pt>
                <c:pt idx="620">
                  <c:v>272.61493441219284</c:v>
                </c:pt>
                <c:pt idx="621">
                  <c:v>281.91893243599998</c:v>
                </c:pt>
                <c:pt idx="622">
                  <c:v>272.92086804484336</c:v>
                </c:pt>
                <c:pt idx="623">
                  <c:v>288.97442407658434</c:v>
                </c:pt>
                <c:pt idx="624">
                  <c:v>280.29841699089741</c:v>
                </c:pt>
                <c:pt idx="625">
                  <c:v>298.70050110984596</c:v>
                </c:pt>
                <c:pt idx="626">
                  <c:v>301.52616886933424</c:v>
                </c:pt>
                <c:pt idx="627">
                  <c:v>301.64323984673888</c:v>
                </c:pt>
                <c:pt idx="628">
                  <c:v>304.46118658052637</c:v>
                </c:pt>
                <c:pt idx="629">
                  <c:v>289.36907649378156</c:v>
                </c:pt>
                <c:pt idx="630">
                  <c:v>281.35422074615383</c:v>
                </c:pt>
                <c:pt idx="631">
                  <c:v>284.000385394977</c:v>
                </c:pt>
                <c:pt idx="632">
                  <c:v>276.21321428560577</c:v>
                </c:pt>
                <c:pt idx="633">
                  <c:v>275.99012783525222</c:v>
                </c:pt>
                <c:pt idx="634">
                  <c:v>270.51277100339951</c:v>
                </c:pt>
                <c:pt idx="635">
                  <c:v>276.47923187652088</c:v>
                </c:pt>
                <c:pt idx="636">
                  <c:v>280.20642568906544</c:v>
                </c:pt>
                <c:pt idx="637">
                  <c:v>277.64194386812062</c:v>
                </c:pt>
                <c:pt idx="638">
                  <c:v>276.67513133573527</c:v>
                </c:pt>
                <c:pt idx="639">
                  <c:v>305.48006565550565</c:v>
                </c:pt>
                <c:pt idx="640">
                  <c:v>308.40368872634133</c:v>
                </c:pt>
                <c:pt idx="641">
                  <c:v>357.93546017531708</c:v>
                </c:pt>
                <c:pt idx="642">
                  <c:v>0</c:v>
                </c:pt>
                <c:pt idx="643">
                  <c:v>236.66710277200218</c:v>
                </c:pt>
                <c:pt idx="644">
                  <c:v>289.87543227035167</c:v>
                </c:pt>
                <c:pt idx="645">
                  <c:v>283.25334980894741</c:v>
                </c:pt>
                <c:pt idx="646">
                  <c:v>288.51514824329001</c:v>
                </c:pt>
                <c:pt idx="647">
                  <c:v>289.58929598577072</c:v>
                </c:pt>
                <c:pt idx="648">
                  <c:v>293.67047493212033</c:v>
                </c:pt>
                <c:pt idx="649">
                  <c:v>282.76494960845798</c:v>
                </c:pt>
                <c:pt idx="650">
                  <c:v>284.1481329655611</c:v>
                </c:pt>
                <c:pt idx="651">
                  <c:v>277.25568641638154</c:v>
                </c:pt>
                <c:pt idx="652">
                  <c:v>278.35057008711726</c:v>
                </c:pt>
                <c:pt idx="653">
                  <c:v>274.75629219657355</c:v>
                </c:pt>
                <c:pt idx="654">
                  <c:v>267.51490742845965</c:v>
                </c:pt>
                <c:pt idx="655">
                  <c:v>269.58331931537691</c:v>
                </c:pt>
                <c:pt idx="656">
                  <c:v>280.55802917732967</c:v>
                </c:pt>
                <c:pt idx="657">
                  <c:v>281.90514275533735</c:v>
                </c:pt>
                <c:pt idx="658">
                  <c:v>277.48408807552642</c:v>
                </c:pt>
                <c:pt idx="659">
                  <c:v>288.40063423402387</c:v>
                </c:pt>
                <c:pt idx="660">
                  <c:v>275.996445744722</c:v>
                </c:pt>
                <c:pt idx="661">
                  <c:v>285.37344829866981</c:v>
                </c:pt>
                <c:pt idx="662">
                  <c:v>270.5013036748195</c:v>
                </c:pt>
                <c:pt idx="663">
                  <c:v>272.7626993001777</c:v>
                </c:pt>
                <c:pt idx="664">
                  <c:v>267.16660482105294</c:v>
                </c:pt>
                <c:pt idx="665">
                  <c:v>270.77639573391059</c:v>
                </c:pt>
                <c:pt idx="666">
                  <c:v>279.55362463135123</c:v>
                </c:pt>
                <c:pt idx="667">
                  <c:v>280.14449409618999</c:v>
                </c:pt>
                <c:pt idx="668">
                  <c:v>280.44053046011243</c:v>
                </c:pt>
                <c:pt idx="669">
                  <c:v>293.30959371829715</c:v>
                </c:pt>
                <c:pt idx="670">
                  <c:v>267.64143301452043</c:v>
                </c:pt>
                <c:pt idx="671">
                  <c:v>280.57881215204213</c:v>
                </c:pt>
                <c:pt idx="672">
                  <c:v>275.63094029494766</c:v>
                </c:pt>
                <c:pt idx="673">
                  <c:v>273.66368409368465</c:v>
                </c:pt>
                <c:pt idx="674">
                  <c:v>278.75915260208262</c:v>
                </c:pt>
                <c:pt idx="675">
                  <c:v>275.3267138965216</c:v>
                </c:pt>
                <c:pt idx="676">
                  <c:v>275.84503244840937</c:v>
                </c:pt>
                <c:pt idx="677">
                  <c:v>278.43870425921875</c:v>
                </c:pt>
                <c:pt idx="678">
                  <c:v>273.11488586713415</c:v>
                </c:pt>
                <c:pt idx="679">
                  <c:v>285.68468927904053</c:v>
                </c:pt>
                <c:pt idx="680">
                  <c:v>277.18066460274315</c:v>
                </c:pt>
                <c:pt idx="681">
                  <c:v>282.92866550344024</c:v>
                </c:pt>
                <c:pt idx="682">
                  <c:v>285.74301846187336</c:v>
                </c:pt>
                <c:pt idx="683">
                  <c:v>267.19676455807007</c:v>
                </c:pt>
                <c:pt idx="684">
                  <c:v>295.89354032051153</c:v>
                </c:pt>
                <c:pt idx="685">
                  <c:v>268.10424621982156</c:v>
                </c:pt>
                <c:pt idx="686">
                  <c:v>276.07598466400509</c:v>
                </c:pt>
                <c:pt idx="687">
                  <c:v>275.22579658854522</c:v>
                </c:pt>
                <c:pt idx="688">
                  <c:v>272.23333783112491</c:v>
                </c:pt>
                <c:pt idx="689">
                  <c:v>273.71381026500853</c:v>
                </c:pt>
                <c:pt idx="690">
                  <c:v>273.22793743954833</c:v>
                </c:pt>
                <c:pt idx="691">
                  <c:v>268.98364067414752</c:v>
                </c:pt>
                <c:pt idx="692">
                  <c:v>276.7552713682187</c:v>
                </c:pt>
                <c:pt idx="693">
                  <c:v>275.66113251348554</c:v>
                </c:pt>
                <c:pt idx="694">
                  <c:v>269.76399654827446</c:v>
                </c:pt>
                <c:pt idx="695">
                  <c:v>274.84524090082868</c:v>
                </c:pt>
                <c:pt idx="696">
                  <c:v>273.46092657846282</c:v>
                </c:pt>
                <c:pt idx="697">
                  <c:v>274.8931955820824</c:v>
                </c:pt>
                <c:pt idx="698">
                  <c:v>271.67432420580724</c:v>
                </c:pt>
                <c:pt idx="699">
                  <c:v>268.130456056296</c:v>
                </c:pt>
                <c:pt idx="700">
                  <c:v>268.3593323299275</c:v>
                </c:pt>
                <c:pt idx="701">
                  <c:v>264.75225045624586</c:v>
                </c:pt>
                <c:pt idx="702">
                  <c:v>273.51557698536101</c:v>
                </c:pt>
                <c:pt idx="703">
                  <c:v>270.14883072673524</c:v>
                </c:pt>
                <c:pt idx="704">
                  <c:v>270.61763366114519</c:v>
                </c:pt>
                <c:pt idx="705">
                  <c:v>268.81850357304495</c:v>
                </c:pt>
                <c:pt idx="706">
                  <c:v>268.74929375824343</c:v>
                </c:pt>
                <c:pt idx="707">
                  <c:v>269.67219224628514</c:v>
                </c:pt>
                <c:pt idx="708">
                  <c:v>283.57004201365385</c:v>
                </c:pt>
                <c:pt idx="709">
                  <c:v>271.5630703190501</c:v>
                </c:pt>
                <c:pt idx="710">
                  <c:v>270.33143841459116</c:v>
                </c:pt>
                <c:pt idx="711">
                  <c:v>266.96247000820006</c:v>
                </c:pt>
                <c:pt idx="712">
                  <c:v>272.26037038189929</c:v>
                </c:pt>
                <c:pt idx="713">
                  <c:v>271.86130243536172</c:v>
                </c:pt>
                <c:pt idx="714">
                  <c:v>264.12446829985004</c:v>
                </c:pt>
                <c:pt idx="715">
                  <c:v>268.52672663467831</c:v>
                </c:pt>
                <c:pt idx="716">
                  <c:v>266.92930381803387</c:v>
                </c:pt>
                <c:pt idx="717">
                  <c:v>271.63887801075509</c:v>
                </c:pt>
                <c:pt idx="718">
                  <c:v>264.15436586910528</c:v>
                </c:pt>
                <c:pt idx="719">
                  <c:v>269.04026908432979</c:v>
                </c:pt>
                <c:pt idx="720">
                  <c:v>251.78170297752331</c:v>
                </c:pt>
                <c:pt idx="721">
                  <c:v>270.71379572269655</c:v>
                </c:pt>
                <c:pt idx="722">
                  <c:v>272.22262191296886</c:v>
                </c:pt>
                <c:pt idx="723">
                  <c:v>276.07803941912471</c:v>
                </c:pt>
                <c:pt idx="724">
                  <c:v>292.7979552729912</c:v>
                </c:pt>
                <c:pt idx="725">
                  <c:v>385.68512274786099</c:v>
                </c:pt>
                <c:pt idx="726">
                  <c:v>222.87328401299101</c:v>
                </c:pt>
                <c:pt idx="727">
                  <c:v>277.04376049955238</c:v>
                </c:pt>
                <c:pt idx="728">
                  <c:v>271.1954234309153</c:v>
                </c:pt>
                <c:pt idx="729">
                  <c:v>267.38101729569644</c:v>
                </c:pt>
                <c:pt idx="730">
                  <c:v>267.14917163057339</c:v>
                </c:pt>
                <c:pt idx="731">
                  <c:v>272.54258379691316</c:v>
                </c:pt>
                <c:pt idx="732">
                  <c:v>273.16005526039714</c:v>
                </c:pt>
                <c:pt idx="733">
                  <c:v>268.68470164656742</c:v>
                </c:pt>
                <c:pt idx="734">
                  <c:v>268.81522834823045</c:v>
                </c:pt>
                <c:pt idx="735">
                  <c:v>269.31227424491613</c:v>
                </c:pt>
                <c:pt idx="736">
                  <c:v>274.1959098144539</c:v>
                </c:pt>
                <c:pt idx="737">
                  <c:v>273.32755179392711</c:v>
                </c:pt>
                <c:pt idx="738">
                  <c:v>273.64059613981078</c:v>
                </c:pt>
                <c:pt idx="739">
                  <c:v>275.512762473061</c:v>
                </c:pt>
                <c:pt idx="740">
                  <c:v>272.2738954045933</c:v>
                </c:pt>
                <c:pt idx="741">
                  <c:v>270.88389182711637</c:v>
                </c:pt>
                <c:pt idx="742">
                  <c:v>280.39479934535223</c:v>
                </c:pt>
                <c:pt idx="743">
                  <c:v>269.5347836392292</c:v>
                </c:pt>
                <c:pt idx="744">
                  <c:v>267.28220484386964</c:v>
                </c:pt>
                <c:pt idx="745">
                  <c:v>265.89944147537028</c:v>
                </c:pt>
                <c:pt idx="746">
                  <c:v>266.25255006810676</c:v>
                </c:pt>
                <c:pt idx="747">
                  <c:v>268.05564473777429</c:v>
                </c:pt>
                <c:pt idx="748">
                  <c:v>266.59184856961804</c:v>
                </c:pt>
                <c:pt idx="749">
                  <c:v>269.53531229555585</c:v>
                </c:pt>
                <c:pt idx="750">
                  <c:v>267.2818380233939</c:v>
                </c:pt>
                <c:pt idx="751">
                  <c:v>263.71493392319837</c:v>
                </c:pt>
                <c:pt idx="752">
                  <c:v>256.65261780276421</c:v>
                </c:pt>
                <c:pt idx="753">
                  <c:v>270.93691897648557</c:v>
                </c:pt>
                <c:pt idx="754">
                  <c:v>266.06268401774616</c:v>
                </c:pt>
                <c:pt idx="755">
                  <c:v>265.52886065518612</c:v>
                </c:pt>
                <c:pt idx="756">
                  <c:v>268.49257925899349</c:v>
                </c:pt>
                <c:pt idx="757">
                  <c:v>264.48289104337118</c:v>
                </c:pt>
                <c:pt idx="758">
                  <c:v>271.91422987407566</c:v>
                </c:pt>
                <c:pt idx="759">
                  <c:v>272.0566644545969</c:v>
                </c:pt>
                <c:pt idx="760">
                  <c:v>269.75241025746402</c:v>
                </c:pt>
                <c:pt idx="761">
                  <c:v>275.02452600022627</c:v>
                </c:pt>
                <c:pt idx="762">
                  <c:v>274.55239009816921</c:v>
                </c:pt>
                <c:pt idx="763">
                  <c:v>268.43651211332474</c:v>
                </c:pt>
                <c:pt idx="764">
                  <c:v>270.00295446836401</c:v>
                </c:pt>
                <c:pt idx="765">
                  <c:v>274.93183626766859</c:v>
                </c:pt>
                <c:pt idx="766">
                  <c:v>266.64614640121988</c:v>
                </c:pt>
                <c:pt idx="767">
                  <c:v>268.99733462534982</c:v>
                </c:pt>
                <c:pt idx="768">
                  <c:v>268.74657576326877</c:v>
                </c:pt>
                <c:pt idx="769">
                  <c:v>268.81881402372937</c:v>
                </c:pt>
                <c:pt idx="770">
                  <c:v>271.65691820351742</c:v>
                </c:pt>
                <c:pt idx="771">
                  <c:v>270.34724806965835</c:v>
                </c:pt>
                <c:pt idx="772">
                  <c:v>264.76814218766822</c:v>
                </c:pt>
                <c:pt idx="773">
                  <c:v>267.67776680485179</c:v>
                </c:pt>
                <c:pt idx="774">
                  <c:v>266.95803545267165</c:v>
                </c:pt>
                <c:pt idx="775">
                  <c:v>268.26104687203315</c:v>
                </c:pt>
                <c:pt idx="776">
                  <c:v>265.18879907421899</c:v>
                </c:pt>
                <c:pt idx="777">
                  <c:v>266.61016056422852</c:v>
                </c:pt>
                <c:pt idx="778">
                  <c:v>265.57095120757356</c:v>
                </c:pt>
                <c:pt idx="779">
                  <c:v>261.59400642217406</c:v>
                </c:pt>
                <c:pt idx="780">
                  <c:v>263.66330969279579</c:v>
                </c:pt>
                <c:pt idx="781">
                  <c:v>264.79804277403036</c:v>
                </c:pt>
                <c:pt idx="782">
                  <c:v>265.86801762747643</c:v>
                </c:pt>
                <c:pt idx="783">
                  <c:v>266.54747680117725</c:v>
                </c:pt>
                <c:pt idx="784">
                  <c:v>272.15424026077017</c:v>
                </c:pt>
                <c:pt idx="785">
                  <c:v>274.83880399920724</c:v>
                </c:pt>
                <c:pt idx="786">
                  <c:v>270.33452862736556</c:v>
                </c:pt>
                <c:pt idx="787">
                  <c:v>270.87293063527397</c:v>
                </c:pt>
                <c:pt idx="788">
                  <c:v>277.78592262580935</c:v>
                </c:pt>
                <c:pt idx="789">
                  <c:v>267.3604729008656</c:v>
                </c:pt>
                <c:pt idx="790">
                  <c:v>269.94173587134298</c:v>
                </c:pt>
                <c:pt idx="791">
                  <c:v>257.79206726563245</c:v>
                </c:pt>
                <c:pt idx="792">
                  <c:v>262.69717078407143</c:v>
                </c:pt>
                <c:pt idx="793">
                  <c:v>268.51213626094204</c:v>
                </c:pt>
                <c:pt idx="794">
                  <c:v>267.01184914525015</c:v>
                </c:pt>
                <c:pt idx="795">
                  <c:v>265.38628840762215</c:v>
                </c:pt>
                <c:pt idx="796">
                  <c:v>269.41425601374215</c:v>
                </c:pt>
                <c:pt idx="797">
                  <c:v>272.49150674261591</c:v>
                </c:pt>
                <c:pt idx="798">
                  <c:v>269.83892088136383</c:v>
                </c:pt>
                <c:pt idx="799">
                  <c:v>269.89187353098487</c:v>
                </c:pt>
                <c:pt idx="800">
                  <c:v>273.06921630369254</c:v>
                </c:pt>
                <c:pt idx="801">
                  <c:v>268.92289799857963</c:v>
                </c:pt>
                <c:pt idx="802">
                  <c:v>274.91424267199727</c:v>
                </c:pt>
                <c:pt idx="803">
                  <c:v>277.30402270369177</c:v>
                </c:pt>
                <c:pt idx="804">
                  <c:v>268.13886537312271</c:v>
                </c:pt>
                <c:pt idx="805">
                  <c:v>280.55765247724128</c:v>
                </c:pt>
                <c:pt idx="806">
                  <c:v>278.02961408689953</c:v>
                </c:pt>
                <c:pt idx="807">
                  <c:v>269.18113541818593</c:v>
                </c:pt>
                <c:pt idx="808">
                  <c:v>274.71736816457781</c:v>
                </c:pt>
                <c:pt idx="809">
                  <c:v>277.1199608367682</c:v>
                </c:pt>
                <c:pt idx="810">
                  <c:v>274.76416712437288</c:v>
                </c:pt>
                <c:pt idx="811">
                  <c:v>267.66219632570596</c:v>
                </c:pt>
                <c:pt idx="812">
                  <c:v>275.23978573111685</c:v>
                </c:pt>
                <c:pt idx="813">
                  <c:v>271.98690113540681</c:v>
                </c:pt>
                <c:pt idx="814">
                  <c:v>270.08821947753279</c:v>
                </c:pt>
                <c:pt idx="815">
                  <c:v>266.43992607622317</c:v>
                </c:pt>
                <c:pt idx="816">
                  <c:v>267.66607427369456</c:v>
                </c:pt>
                <c:pt idx="817">
                  <c:v>270.11322085516849</c:v>
                </c:pt>
                <c:pt idx="818">
                  <c:v>272.64227768595129</c:v>
                </c:pt>
                <c:pt idx="819">
                  <c:v>275.26835282005095</c:v>
                </c:pt>
                <c:pt idx="820">
                  <c:v>275.32828129538302</c:v>
                </c:pt>
                <c:pt idx="821">
                  <c:v>275.05122929495872</c:v>
                </c:pt>
                <c:pt idx="822">
                  <c:v>273.41003735719403</c:v>
                </c:pt>
                <c:pt idx="823">
                  <c:v>281.90078462656072</c:v>
                </c:pt>
                <c:pt idx="824">
                  <c:v>276.47282550302816</c:v>
                </c:pt>
                <c:pt idx="825">
                  <c:v>290.65080644669092</c:v>
                </c:pt>
                <c:pt idx="826">
                  <c:v>279.74248941396911</c:v>
                </c:pt>
                <c:pt idx="827">
                  <c:v>282.4577374048223</c:v>
                </c:pt>
                <c:pt idx="828">
                  <c:v>284.53676863792282</c:v>
                </c:pt>
                <c:pt idx="829">
                  <c:v>287.63563899910616</c:v>
                </c:pt>
                <c:pt idx="830">
                  <c:v>285.67683259265391</c:v>
                </c:pt>
                <c:pt idx="831">
                  <c:v>287.77782436440691</c:v>
                </c:pt>
                <c:pt idx="832">
                  <c:v>278.24043413737104</c:v>
                </c:pt>
                <c:pt idx="833">
                  <c:v>282.20351521846999</c:v>
                </c:pt>
                <c:pt idx="834">
                  <c:v>284.59106800797952</c:v>
                </c:pt>
                <c:pt idx="835">
                  <c:v>270.17051694813665</c:v>
                </c:pt>
                <c:pt idx="836">
                  <c:v>274.48014912418932</c:v>
                </c:pt>
                <c:pt idx="837">
                  <c:v>275.00868143255991</c:v>
                </c:pt>
                <c:pt idx="838">
                  <c:v>272.86170355956858</c:v>
                </c:pt>
                <c:pt idx="839">
                  <c:v>275.80265834166244</c:v>
                </c:pt>
                <c:pt idx="840">
                  <c:v>277.89980268204124</c:v>
                </c:pt>
                <c:pt idx="841">
                  <c:v>277.28283110865777</c:v>
                </c:pt>
                <c:pt idx="842">
                  <c:v>277.52699890677195</c:v>
                </c:pt>
                <c:pt idx="843">
                  <c:v>278.83376609110519</c:v>
                </c:pt>
                <c:pt idx="844">
                  <c:v>281.50685087138254</c:v>
                </c:pt>
                <c:pt idx="845">
                  <c:v>274.00667569417089</c:v>
                </c:pt>
                <c:pt idx="846">
                  <c:v>292.13253166952416</c:v>
                </c:pt>
                <c:pt idx="847">
                  <c:v>278.1653118094946</c:v>
                </c:pt>
                <c:pt idx="848">
                  <c:v>273.20625422426792</c:v>
                </c:pt>
                <c:pt idx="849">
                  <c:v>280.68058705013289</c:v>
                </c:pt>
                <c:pt idx="850">
                  <c:v>274.31262480147279</c:v>
                </c:pt>
                <c:pt idx="851">
                  <c:v>272.14391826023586</c:v>
                </c:pt>
                <c:pt idx="852">
                  <c:v>284.04780926754574</c:v>
                </c:pt>
                <c:pt idx="853">
                  <c:v>274.09998813323841</c:v>
                </c:pt>
                <c:pt idx="854">
                  <c:v>279.74327849019869</c:v>
                </c:pt>
                <c:pt idx="855">
                  <c:v>275.47806312846592</c:v>
                </c:pt>
                <c:pt idx="856">
                  <c:v>277.9976402922041</c:v>
                </c:pt>
                <c:pt idx="857">
                  <c:v>280.96680716032768</c:v>
                </c:pt>
                <c:pt idx="858">
                  <c:v>279.56840809944174</c:v>
                </c:pt>
                <c:pt idx="859">
                  <c:v>279.14523780146419</c:v>
                </c:pt>
                <c:pt idx="860">
                  <c:v>284.45366825293138</c:v>
                </c:pt>
                <c:pt idx="861">
                  <c:v>297.72040360571077</c:v>
                </c:pt>
                <c:pt idx="862">
                  <c:v>228.71893280802078</c:v>
                </c:pt>
                <c:pt idx="863">
                  <c:v>275.71564304074718</c:v>
                </c:pt>
                <c:pt idx="864">
                  <c:v>306.63091377180479</c:v>
                </c:pt>
                <c:pt idx="865">
                  <c:v>302.33919523466773</c:v>
                </c:pt>
                <c:pt idx="866">
                  <c:v>270.33733025422055</c:v>
                </c:pt>
                <c:pt idx="867">
                  <c:v>281.12505473384817</c:v>
                </c:pt>
                <c:pt idx="868">
                  <c:v>287.60551160234718</c:v>
                </c:pt>
                <c:pt idx="869">
                  <c:v>285.22371997001528</c:v>
                </c:pt>
                <c:pt idx="870">
                  <c:v>276.50359036436691</c:v>
                </c:pt>
                <c:pt idx="871">
                  <c:v>281.53098994909556</c:v>
                </c:pt>
                <c:pt idx="872">
                  <c:v>273.4259907202196</c:v>
                </c:pt>
                <c:pt idx="873">
                  <c:v>275.6855271200244</c:v>
                </c:pt>
                <c:pt idx="874">
                  <c:v>275.08808140033295</c:v>
                </c:pt>
                <c:pt idx="875">
                  <c:v>277.67362957103876</c:v>
                </c:pt>
                <c:pt idx="876">
                  <c:v>274.71925954831579</c:v>
                </c:pt>
                <c:pt idx="877">
                  <c:v>275.13123865894249</c:v>
                </c:pt>
                <c:pt idx="878">
                  <c:v>274.40273697037844</c:v>
                </c:pt>
                <c:pt idx="879">
                  <c:v>275.29493247666255</c:v>
                </c:pt>
                <c:pt idx="880">
                  <c:v>275.70149165350415</c:v>
                </c:pt>
                <c:pt idx="881">
                  <c:v>275.28477969451296</c:v>
                </c:pt>
                <c:pt idx="882">
                  <c:v>280.07777841631605</c:v>
                </c:pt>
                <c:pt idx="883">
                  <c:v>275.1689181555447</c:v>
                </c:pt>
                <c:pt idx="884">
                  <c:v>281.21039590644614</c:v>
                </c:pt>
                <c:pt idx="885">
                  <c:v>278.29717136833949</c:v>
                </c:pt>
                <c:pt idx="886">
                  <c:v>281.46497579797426</c:v>
                </c:pt>
                <c:pt idx="887">
                  <c:v>276.87815692870709</c:v>
                </c:pt>
                <c:pt idx="888">
                  <c:v>276.36770392909</c:v>
                </c:pt>
                <c:pt idx="889">
                  <c:v>270.68566813238624</c:v>
                </c:pt>
                <c:pt idx="890">
                  <c:v>274.39418286345085</c:v>
                </c:pt>
                <c:pt idx="891">
                  <c:v>271.86132833819136</c:v>
                </c:pt>
                <c:pt idx="892">
                  <c:v>276.16234233715261</c:v>
                </c:pt>
                <c:pt idx="893">
                  <c:v>272.67336830402462</c:v>
                </c:pt>
                <c:pt idx="894">
                  <c:v>270.87674458943764</c:v>
                </c:pt>
                <c:pt idx="895">
                  <c:v>271.08373538604337</c:v>
                </c:pt>
                <c:pt idx="896">
                  <c:v>272.34144334846417</c:v>
                </c:pt>
                <c:pt idx="897">
                  <c:v>273.76595314261647</c:v>
                </c:pt>
                <c:pt idx="898">
                  <c:v>276.05091259759297</c:v>
                </c:pt>
                <c:pt idx="899">
                  <c:v>276.40761978686146</c:v>
                </c:pt>
                <c:pt idx="900">
                  <c:v>273.61536254043403</c:v>
                </c:pt>
                <c:pt idx="901">
                  <c:v>274.77729063382105</c:v>
                </c:pt>
                <c:pt idx="902">
                  <c:v>268.94443847786124</c:v>
                </c:pt>
                <c:pt idx="903">
                  <c:v>268.185717191545</c:v>
                </c:pt>
                <c:pt idx="904">
                  <c:v>272.7684103885141</c:v>
                </c:pt>
                <c:pt idx="905">
                  <c:v>276.31032434133556</c:v>
                </c:pt>
                <c:pt idx="906">
                  <c:v>272.41387404756063</c:v>
                </c:pt>
                <c:pt idx="907">
                  <c:v>275.92454422812443</c:v>
                </c:pt>
                <c:pt idx="908">
                  <c:v>272.23978353379357</c:v>
                </c:pt>
                <c:pt idx="909">
                  <c:v>272.60186180355299</c:v>
                </c:pt>
                <c:pt idx="910">
                  <c:v>273.65204616028916</c:v>
                </c:pt>
                <c:pt idx="911">
                  <c:v>275.71264610967762</c:v>
                </c:pt>
                <c:pt idx="912">
                  <c:v>273.83543860759289</c:v>
                </c:pt>
                <c:pt idx="913">
                  <c:v>271.31002247957099</c:v>
                </c:pt>
                <c:pt idx="914">
                  <c:v>275.17197737916001</c:v>
                </c:pt>
                <c:pt idx="915">
                  <c:v>272.46777397349547</c:v>
                </c:pt>
                <c:pt idx="916">
                  <c:v>276.47804466411822</c:v>
                </c:pt>
                <c:pt idx="917">
                  <c:v>275.42449363050184</c:v>
                </c:pt>
                <c:pt idx="918">
                  <c:v>278.2239301646714</c:v>
                </c:pt>
                <c:pt idx="919">
                  <c:v>281.87373138465182</c:v>
                </c:pt>
                <c:pt idx="920">
                  <c:v>279.26800484404475</c:v>
                </c:pt>
                <c:pt idx="921">
                  <c:v>273.62874832336604</c:v>
                </c:pt>
                <c:pt idx="922">
                  <c:v>281.66702248820184</c:v>
                </c:pt>
                <c:pt idx="923">
                  <c:v>286.38304613868149</c:v>
                </c:pt>
                <c:pt idx="924">
                  <c:v>278.82333270770039</c:v>
                </c:pt>
                <c:pt idx="925">
                  <c:v>273.59130063992257</c:v>
                </c:pt>
                <c:pt idx="926">
                  <c:v>270.07365854896011</c:v>
                </c:pt>
                <c:pt idx="927">
                  <c:v>269.4733615454345</c:v>
                </c:pt>
                <c:pt idx="928">
                  <c:v>271.85594569778425</c:v>
                </c:pt>
                <c:pt idx="929">
                  <c:v>268.66266972500728</c:v>
                </c:pt>
                <c:pt idx="930">
                  <c:v>272.49282539267836</c:v>
                </c:pt>
                <c:pt idx="931">
                  <c:v>279.30593960352951</c:v>
                </c:pt>
                <c:pt idx="932">
                  <c:v>277.56981406232876</c:v>
                </c:pt>
                <c:pt idx="933">
                  <c:v>273.85538000403471</c:v>
                </c:pt>
                <c:pt idx="934">
                  <c:v>274.0829037240735</c:v>
                </c:pt>
                <c:pt idx="935">
                  <c:v>273.00661105167887</c:v>
                </c:pt>
                <c:pt idx="936">
                  <c:v>269.7376262960039</c:v>
                </c:pt>
                <c:pt idx="937">
                  <c:v>275.70973736113353</c:v>
                </c:pt>
                <c:pt idx="938">
                  <c:v>277.24118408020638</c:v>
                </c:pt>
                <c:pt idx="939">
                  <c:v>268.73689381846441</c:v>
                </c:pt>
                <c:pt idx="940">
                  <c:v>272.5044771785723</c:v>
                </c:pt>
                <c:pt idx="941">
                  <c:v>273.00504402040099</c:v>
                </c:pt>
                <c:pt idx="942">
                  <c:v>271.48672703599141</c:v>
                </c:pt>
                <c:pt idx="943">
                  <c:v>271.96323580293324</c:v>
                </c:pt>
                <c:pt idx="944">
                  <c:v>268.9571335508374</c:v>
                </c:pt>
                <c:pt idx="945">
                  <c:v>275.94023912212981</c:v>
                </c:pt>
                <c:pt idx="946">
                  <c:v>276.47051210620691</c:v>
                </c:pt>
                <c:pt idx="947">
                  <c:v>278.42235083031596</c:v>
                </c:pt>
                <c:pt idx="948">
                  <c:v>277.26807597722097</c:v>
                </c:pt>
                <c:pt idx="949">
                  <c:v>279.05555396586647</c:v>
                </c:pt>
                <c:pt idx="950">
                  <c:v>277.78158837419085</c:v>
                </c:pt>
                <c:pt idx="951">
                  <c:v>276.419802153864</c:v>
                </c:pt>
                <c:pt idx="952">
                  <c:v>271.90256715388705</c:v>
                </c:pt>
                <c:pt idx="953">
                  <c:v>273.2993871069599</c:v>
                </c:pt>
                <c:pt idx="954">
                  <c:v>271.83677370623036</c:v>
                </c:pt>
                <c:pt idx="955">
                  <c:v>280.58338315024901</c:v>
                </c:pt>
                <c:pt idx="956">
                  <c:v>388.75059641408143</c:v>
                </c:pt>
                <c:pt idx="957">
                  <c:v>241.36540664134566</c:v>
                </c:pt>
                <c:pt idx="958">
                  <c:v>286.93205770452607</c:v>
                </c:pt>
                <c:pt idx="959">
                  <c:v>273.38443051234447</c:v>
                </c:pt>
                <c:pt idx="960">
                  <c:v>275.610852843609</c:v>
                </c:pt>
                <c:pt idx="961">
                  <c:v>273.83111826272489</c:v>
                </c:pt>
                <c:pt idx="962">
                  <c:v>269.76142856453191</c:v>
                </c:pt>
                <c:pt idx="963">
                  <c:v>276.47734638369718</c:v>
                </c:pt>
                <c:pt idx="964">
                  <c:v>274.78071316808018</c:v>
                </c:pt>
                <c:pt idx="965">
                  <c:v>272.52386610162671</c:v>
                </c:pt>
                <c:pt idx="966">
                  <c:v>270.46568287743764</c:v>
                </c:pt>
                <c:pt idx="967">
                  <c:v>270.09725544621153</c:v>
                </c:pt>
                <c:pt idx="968">
                  <c:v>272.78367173778724</c:v>
                </c:pt>
                <c:pt idx="969">
                  <c:v>273.11191743743234</c:v>
                </c:pt>
                <c:pt idx="970">
                  <c:v>267.74972255441412</c:v>
                </c:pt>
                <c:pt idx="971">
                  <c:v>273.59238753247598</c:v>
                </c:pt>
                <c:pt idx="972">
                  <c:v>269.36486880229938</c:v>
                </c:pt>
                <c:pt idx="973">
                  <c:v>270.40263682847421</c:v>
                </c:pt>
                <c:pt idx="974">
                  <c:v>277.69350790659962</c:v>
                </c:pt>
                <c:pt idx="975">
                  <c:v>272.07262409567841</c:v>
                </c:pt>
                <c:pt idx="976">
                  <c:v>273.34262098739134</c:v>
                </c:pt>
                <c:pt idx="977">
                  <c:v>270.14501849869851</c:v>
                </c:pt>
                <c:pt idx="978">
                  <c:v>275.12679448033327</c:v>
                </c:pt>
                <c:pt idx="979">
                  <c:v>272.21750276750231</c:v>
                </c:pt>
                <c:pt idx="980">
                  <c:v>276.1162898827107</c:v>
                </c:pt>
                <c:pt idx="981">
                  <c:v>275.32598019618183</c:v>
                </c:pt>
                <c:pt idx="982">
                  <c:v>275.54607374056741</c:v>
                </c:pt>
                <c:pt idx="983">
                  <c:v>276.82133840550125</c:v>
                </c:pt>
                <c:pt idx="984">
                  <c:v>278.71345564098351</c:v>
                </c:pt>
                <c:pt idx="985">
                  <c:v>281.92628789692594</c:v>
                </c:pt>
                <c:pt idx="986">
                  <c:v>284.42452149998803</c:v>
                </c:pt>
                <c:pt idx="987">
                  <c:v>282.56894734334867</c:v>
                </c:pt>
                <c:pt idx="988">
                  <c:v>273.43445429100404</c:v>
                </c:pt>
                <c:pt idx="989">
                  <c:v>277.88045427117299</c:v>
                </c:pt>
                <c:pt idx="990">
                  <c:v>280.33877373828511</c:v>
                </c:pt>
                <c:pt idx="991">
                  <c:v>277.54356476632654</c:v>
                </c:pt>
                <c:pt idx="992">
                  <c:v>275.12213669775565</c:v>
                </c:pt>
                <c:pt idx="993">
                  <c:v>273.52209554500996</c:v>
                </c:pt>
                <c:pt idx="994">
                  <c:v>275.73361620043488</c:v>
                </c:pt>
                <c:pt idx="995">
                  <c:v>273.92984607265328</c:v>
                </c:pt>
                <c:pt idx="996">
                  <c:v>276.12731723480738</c:v>
                </c:pt>
                <c:pt idx="997">
                  <c:v>282.30085886939537</c:v>
                </c:pt>
                <c:pt idx="998">
                  <c:v>247.229627968974</c:v>
                </c:pt>
                <c:pt idx="999">
                  <c:v>275.17315716096437</c:v>
                </c:pt>
                <c:pt idx="1000">
                  <c:v>275.53194314826828</c:v>
                </c:pt>
                <c:pt idx="1001">
                  <c:v>283.9760714008778</c:v>
                </c:pt>
                <c:pt idx="1002">
                  <c:v>275.76203568345977</c:v>
                </c:pt>
                <c:pt idx="1003">
                  <c:v>274.56032135614862</c:v>
                </c:pt>
                <c:pt idx="1004">
                  <c:v>280.31108568682396</c:v>
                </c:pt>
                <c:pt idx="1005">
                  <c:v>278.21640228083595</c:v>
                </c:pt>
                <c:pt idx="1006">
                  <c:v>282.15652122454708</c:v>
                </c:pt>
                <c:pt idx="1007">
                  <c:v>277.75452320042825</c:v>
                </c:pt>
                <c:pt idx="1008">
                  <c:v>284.50503605959307</c:v>
                </c:pt>
                <c:pt idx="1009">
                  <c:v>273.89222398244772</c:v>
                </c:pt>
                <c:pt idx="1010">
                  <c:v>279.08633356030191</c:v>
                </c:pt>
                <c:pt idx="1011">
                  <c:v>284.27180594812808</c:v>
                </c:pt>
                <c:pt idx="1012">
                  <c:v>283.36575932783853</c:v>
                </c:pt>
                <c:pt idx="1013">
                  <c:v>277.39636659023904</c:v>
                </c:pt>
                <c:pt idx="1014">
                  <c:v>267.57255000990313</c:v>
                </c:pt>
                <c:pt idx="1015">
                  <c:v>273.41347538731179</c:v>
                </c:pt>
                <c:pt idx="1016">
                  <c:v>275.23607424315912</c:v>
                </c:pt>
                <c:pt idx="1017">
                  <c:v>275.97189479569545</c:v>
                </c:pt>
                <c:pt idx="1018">
                  <c:v>273.62256686020305</c:v>
                </c:pt>
                <c:pt idx="1019">
                  <c:v>273.15454505856235</c:v>
                </c:pt>
                <c:pt idx="1020">
                  <c:v>276.81376166822042</c:v>
                </c:pt>
                <c:pt idx="1021">
                  <c:v>278.91225402523969</c:v>
                </c:pt>
                <c:pt idx="1022">
                  <c:v>277.79481460330965</c:v>
                </c:pt>
                <c:pt idx="1023">
                  <c:v>274.73796388920289</c:v>
                </c:pt>
                <c:pt idx="1024">
                  <c:v>272.9359687770617</c:v>
                </c:pt>
                <c:pt idx="1025">
                  <c:v>271.32312182669875</c:v>
                </c:pt>
                <c:pt idx="1026">
                  <c:v>284.10584139073205</c:v>
                </c:pt>
                <c:pt idx="1027">
                  <c:v>270.73471271195626</c:v>
                </c:pt>
                <c:pt idx="1028">
                  <c:v>290.74141155968982</c:v>
                </c:pt>
                <c:pt idx="1029">
                  <c:v>289.67403009297175</c:v>
                </c:pt>
                <c:pt idx="1030">
                  <c:v>299.41834111872174</c:v>
                </c:pt>
                <c:pt idx="1031">
                  <c:v>289.10824207670748</c:v>
                </c:pt>
                <c:pt idx="1032">
                  <c:v>284.14092719903078</c:v>
                </c:pt>
                <c:pt idx="1033">
                  <c:v>276.47145680037772</c:v>
                </c:pt>
                <c:pt idx="1034">
                  <c:v>270.80093538234212</c:v>
                </c:pt>
                <c:pt idx="1035">
                  <c:v>264.76962184661204</c:v>
                </c:pt>
                <c:pt idx="1036">
                  <c:v>286.02293146108877</c:v>
                </c:pt>
                <c:pt idx="1037">
                  <c:v>272.11479567840843</c:v>
                </c:pt>
                <c:pt idx="1038">
                  <c:v>274.17049267363598</c:v>
                </c:pt>
                <c:pt idx="1039">
                  <c:v>275.7280042574929</c:v>
                </c:pt>
                <c:pt idx="1040">
                  <c:v>279.56213294760937</c:v>
                </c:pt>
                <c:pt idx="1041">
                  <c:v>267.71807688309502</c:v>
                </c:pt>
                <c:pt idx="1042">
                  <c:v>278.76990243579326</c:v>
                </c:pt>
                <c:pt idx="1043">
                  <c:v>305.15456479521197</c:v>
                </c:pt>
                <c:pt idx="1044">
                  <c:v>280.43293439943193</c:v>
                </c:pt>
                <c:pt idx="1045">
                  <c:v>273.36650034530305</c:v>
                </c:pt>
                <c:pt idx="1046">
                  <c:v>273.06475416284104</c:v>
                </c:pt>
                <c:pt idx="1047">
                  <c:v>270.60882921010568</c:v>
                </c:pt>
                <c:pt idx="1048">
                  <c:v>274.64490155037458</c:v>
                </c:pt>
                <c:pt idx="1049">
                  <c:v>274.6326786362265</c:v>
                </c:pt>
                <c:pt idx="1050">
                  <c:v>277.7075308323025</c:v>
                </c:pt>
                <c:pt idx="1051">
                  <c:v>272.29948118440257</c:v>
                </c:pt>
                <c:pt idx="1052">
                  <c:v>272.11666125637589</c:v>
                </c:pt>
                <c:pt idx="1053">
                  <c:v>274.40112433874015</c:v>
                </c:pt>
                <c:pt idx="1054">
                  <c:v>282.95618267061366</c:v>
                </c:pt>
                <c:pt idx="1055">
                  <c:v>280.52798534499959</c:v>
                </c:pt>
                <c:pt idx="1056">
                  <c:v>276.19152732554608</c:v>
                </c:pt>
                <c:pt idx="1057">
                  <c:v>267.02492388469364</c:v>
                </c:pt>
                <c:pt idx="1058">
                  <c:v>276.51945361648768</c:v>
                </c:pt>
                <c:pt idx="1059">
                  <c:v>274.36958750519386</c:v>
                </c:pt>
                <c:pt idx="1060">
                  <c:v>261.0591888021163</c:v>
                </c:pt>
                <c:pt idx="1061">
                  <c:v>267.03892281325443</c:v>
                </c:pt>
                <c:pt idx="1062">
                  <c:v>267.94204857672003</c:v>
                </c:pt>
                <c:pt idx="1063">
                  <c:v>274.08981217297412</c:v>
                </c:pt>
                <c:pt idx="1064">
                  <c:v>274.10120479460295</c:v>
                </c:pt>
                <c:pt idx="1065">
                  <c:v>273.24514955779784</c:v>
                </c:pt>
                <c:pt idx="1066">
                  <c:v>274.056867550128</c:v>
                </c:pt>
                <c:pt idx="1067">
                  <c:v>272.04773076938034</c:v>
                </c:pt>
                <c:pt idx="1068">
                  <c:v>274.76215456016348</c:v>
                </c:pt>
                <c:pt idx="1069">
                  <c:v>275.45107610162836</c:v>
                </c:pt>
                <c:pt idx="1070">
                  <c:v>273.78202369570124</c:v>
                </c:pt>
                <c:pt idx="1071">
                  <c:v>272.61579513570859</c:v>
                </c:pt>
                <c:pt idx="1072">
                  <c:v>274.23647046829808</c:v>
                </c:pt>
                <c:pt idx="1073">
                  <c:v>271.66007015175069</c:v>
                </c:pt>
                <c:pt idx="1074">
                  <c:v>272.51481096316843</c:v>
                </c:pt>
                <c:pt idx="1075">
                  <c:v>265.82173626099654</c:v>
                </c:pt>
                <c:pt idx="1076">
                  <c:v>279.40419758058442</c:v>
                </c:pt>
                <c:pt idx="1077">
                  <c:v>272.46132943399493</c:v>
                </c:pt>
                <c:pt idx="1078">
                  <c:v>273.80018129295172</c:v>
                </c:pt>
                <c:pt idx="1079">
                  <c:v>267.1843723382658</c:v>
                </c:pt>
                <c:pt idx="1080">
                  <c:v>270.27768975658284</c:v>
                </c:pt>
                <c:pt idx="1081">
                  <c:v>275.9988897850526</c:v>
                </c:pt>
                <c:pt idx="1082">
                  <c:v>274.01694225814879</c:v>
                </c:pt>
                <c:pt idx="1083">
                  <c:v>275.08772298923327</c:v>
                </c:pt>
                <c:pt idx="1084">
                  <c:v>298.09698697465274</c:v>
                </c:pt>
                <c:pt idx="1085">
                  <c:v>283.02869772448275</c:v>
                </c:pt>
                <c:pt idx="1086">
                  <c:v>262.47661023615524</c:v>
                </c:pt>
                <c:pt idx="1087">
                  <c:v>273.26963422422591</c:v>
                </c:pt>
                <c:pt idx="1088">
                  <c:v>264.22266628716329</c:v>
                </c:pt>
                <c:pt idx="1089">
                  <c:v>264.84611379001615</c:v>
                </c:pt>
                <c:pt idx="1090">
                  <c:v>266.47512858644893</c:v>
                </c:pt>
                <c:pt idx="1091">
                  <c:v>267.31691765308381</c:v>
                </c:pt>
                <c:pt idx="1092">
                  <c:v>269.53999358713554</c:v>
                </c:pt>
                <c:pt idx="1093">
                  <c:v>267.02102653367172</c:v>
                </c:pt>
                <c:pt idx="1094">
                  <c:v>269.77798130657447</c:v>
                </c:pt>
                <c:pt idx="1095">
                  <c:v>273.64901323931872</c:v>
                </c:pt>
              </c:numCache>
            </c:numRef>
          </c:yVal>
          <c:smooth val="0"/>
          <c:extLst>
            <c:ext xmlns:c16="http://schemas.microsoft.com/office/drawing/2014/chart" uri="{C3380CC4-5D6E-409C-BE32-E72D297353CC}">
              <c16:uniqueId val="{00000000-5520-48F9-A3FF-FF5AD1D74745}"/>
            </c:ext>
          </c:extLst>
        </c:ser>
        <c:dLbls>
          <c:showLegendKey val="0"/>
          <c:showVal val="0"/>
          <c:showCatName val="0"/>
          <c:showSerName val="0"/>
          <c:showPercent val="0"/>
          <c:showBubbleSize val="0"/>
        </c:dLbls>
        <c:axId val="1326877279"/>
        <c:axId val="1326889343"/>
      </c:scatterChart>
      <c:valAx>
        <c:axId val="1326877279"/>
        <c:scaling>
          <c:orientation val="minMax"/>
          <c:max val="1520"/>
          <c:min val="148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89343"/>
        <c:crosses val="autoZero"/>
        <c:crossBetween val="midCat"/>
      </c:valAx>
      <c:valAx>
        <c:axId val="1326889343"/>
        <c:scaling>
          <c:orientation val="minMax"/>
          <c:max val="300"/>
          <c:min val="26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77279"/>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O</a:t>
            </a:r>
            <a:r>
              <a:rPr lang="en-US" baseline="-25000" dirty="0" smtClean="0"/>
              <a:t>2</a:t>
            </a:r>
            <a:r>
              <a:rPr lang="en-US" baseline="0" dirty="0" smtClean="0"/>
              <a:t> (Nm3) vs </a:t>
            </a:r>
            <a:r>
              <a:rPr lang="en-US" baseline="0" dirty="0"/>
              <a:t>C in </a:t>
            </a:r>
            <a:r>
              <a:rPr lang="en-US" baseline="0" dirty="0" smtClean="0"/>
              <a:t>Hot Metal(Kg)</a:t>
            </a:r>
            <a:endParaRPr lang="en-US" baseline="0"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V$1:$AV$2</c:f>
              <c:strCache>
                <c:ptCount val="2"/>
                <c:pt idx="0">
                  <c:v>O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C$3:$AC$1131</c:f>
              <c:numCache>
                <c:formatCode>0</c:formatCode>
                <c:ptCount val="1129"/>
                <c:pt idx="0">
                  <c:v>46.663678543516028</c:v>
                </c:pt>
                <c:pt idx="1">
                  <c:v>46.593651497481801</c:v>
                </c:pt>
                <c:pt idx="2">
                  <c:v>46.876360813340256</c:v>
                </c:pt>
                <c:pt idx="3">
                  <c:v>47.113421914120359</c:v>
                </c:pt>
                <c:pt idx="4">
                  <c:v>46.20835371205041</c:v>
                </c:pt>
                <c:pt idx="5">
                  <c:v>44.779848169544756</c:v>
                </c:pt>
                <c:pt idx="6">
                  <c:v>45.460968146440621</c:v>
                </c:pt>
                <c:pt idx="7">
                  <c:v>46.114579931676346</c:v>
                </c:pt>
                <c:pt idx="8">
                  <c:v>46.460783764097101</c:v>
                </c:pt>
                <c:pt idx="9">
                  <c:v>45.803928331907279</c:v>
                </c:pt>
                <c:pt idx="10">
                  <c:v>46.471095449817447</c:v>
                </c:pt>
                <c:pt idx="11">
                  <c:v>46.268589814507095</c:v>
                </c:pt>
                <c:pt idx="12">
                  <c:v>46.296885805435522</c:v>
                </c:pt>
                <c:pt idx="13">
                  <c:v>45.405460107289798</c:v>
                </c:pt>
                <c:pt idx="14">
                  <c:v>46.069393725140692</c:v>
                </c:pt>
                <c:pt idx="15">
                  <c:v>45.309381634927</c:v>
                </c:pt>
                <c:pt idx="16">
                  <c:v>47.22273536974604</c:v>
                </c:pt>
                <c:pt idx="17">
                  <c:v>46.876360813340256</c:v>
                </c:pt>
                <c:pt idx="18">
                  <c:v>46.71869631248051</c:v>
                </c:pt>
                <c:pt idx="19">
                  <c:v>45.854146963740774</c:v>
                </c:pt>
                <c:pt idx="20">
                  <c:v>46.407604391077363</c:v>
                </c:pt>
                <c:pt idx="21">
                  <c:v>45.672567323766124</c:v>
                </c:pt>
                <c:pt idx="22">
                  <c:v>46.557232757434328</c:v>
                </c:pt>
                <c:pt idx="23">
                  <c:v>46.608624055583491</c:v>
                </c:pt>
                <c:pt idx="24">
                  <c:v>46.609839631610029</c:v>
                </c:pt>
                <c:pt idx="25">
                  <c:v>47.304999699480156</c:v>
                </c:pt>
                <c:pt idx="26">
                  <c:v>46.513828598621416</c:v>
                </c:pt>
                <c:pt idx="27">
                  <c:v>45.915324882565507</c:v>
                </c:pt>
                <c:pt idx="28">
                  <c:v>46.574390689266608</c:v>
                </c:pt>
                <c:pt idx="29">
                  <c:v>46.876360813340256</c:v>
                </c:pt>
                <c:pt idx="30">
                  <c:v>46.87303522836342</c:v>
                </c:pt>
                <c:pt idx="31">
                  <c:v>46.691500235574168</c:v>
                </c:pt>
                <c:pt idx="32">
                  <c:v>47.0229843984349</c:v>
                </c:pt>
                <c:pt idx="33">
                  <c:v>47.209333681566207</c:v>
                </c:pt>
                <c:pt idx="34">
                  <c:v>46.543950495131575</c:v>
                </c:pt>
                <c:pt idx="35">
                  <c:v>46.543950495131575</c:v>
                </c:pt>
                <c:pt idx="36">
                  <c:v>46.842454962431987</c:v>
                </c:pt>
                <c:pt idx="37">
                  <c:v>46.691049148181072</c:v>
                </c:pt>
                <c:pt idx="38">
                  <c:v>46.618779024000567</c:v>
                </c:pt>
                <c:pt idx="39">
                  <c:v>46.215061398189711</c:v>
                </c:pt>
                <c:pt idx="40">
                  <c:v>45.275763062050757</c:v>
                </c:pt>
                <c:pt idx="41">
                  <c:v>45.784537830006435</c:v>
                </c:pt>
                <c:pt idx="42">
                  <c:v>45.207244098943171</c:v>
                </c:pt>
                <c:pt idx="43">
                  <c:v>45.838702684281365</c:v>
                </c:pt>
                <c:pt idx="44">
                  <c:v>44.725901872318872</c:v>
                </c:pt>
                <c:pt idx="45">
                  <c:v>43.658926358958503</c:v>
                </c:pt>
                <c:pt idx="46">
                  <c:v>45.304789858911896</c:v>
                </c:pt>
                <c:pt idx="47">
                  <c:v>45.688640941000891</c:v>
                </c:pt>
                <c:pt idx="48">
                  <c:v>45.436500581784813</c:v>
                </c:pt>
                <c:pt idx="49">
                  <c:v>46.222209667488798</c:v>
                </c:pt>
                <c:pt idx="50">
                  <c:v>43.981441831675411</c:v>
                </c:pt>
                <c:pt idx="51">
                  <c:v>46.67346914884439</c:v>
                </c:pt>
                <c:pt idx="52">
                  <c:v>46.570680188385523</c:v>
                </c:pt>
                <c:pt idx="53">
                  <c:v>46.038667241941084</c:v>
                </c:pt>
                <c:pt idx="54" formatCode="0.0">
                  <c:v>46.506694761281544</c:v>
                </c:pt>
                <c:pt idx="55" formatCode="0.0">
                  <c:v>46.432054914066711</c:v>
                </c:pt>
                <c:pt idx="56">
                  <c:v>46.101608587280211</c:v>
                </c:pt>
                <c:pt idx="57" formatCode="0.0">
                  <c:v>46.356965027632803</c:v>
                </c:pt>
                <c:pt idx="58" formatCode="0.0">
                  <c:v>46.23966714515884</c:v>
                </c:pt>
                <c:pt idx="59">
                  <c:v>45.531641653239454</c:v>
                </c:pt>
                <c:pt idx="60">
                  <c:v>46.384473825923926</c:v>
                </c:pt>
                <c:pt idx="61">
                  <c:v>45.882397862991212</c:v>
                </c:pt>
                <c:pt idx="62">
                  <c:v>46.622506889576592</c:v>
                </c:pt>
                <c:pt idx="63">
                  <c:v>45.995544019269502</c:v>
                </c:pt>
                <c:pt idx="64">
                  <c:v>45.716147360715134</c:v>
                </c:pt>
                <c:pt idx="65">
                  <c:v>46.326342697827279</c:v>
                </c:pt>
                <c:pt idx="66">
                  <c:v>46.063942978738936</c:v>
                </c:pt>
                <c:pt idx="67">
                  <c:v>45.966942624492205</c:v>
                </c:pt>
                <c:pt idx="68">
                  <c:v>46.306608285849229</c:v>
                </c:pt>
                <c:pt idx="69">
                  <c:v>46.807377733686614</c:v>
                </c:pt>
                <c:pt idx="70">
                  <c:v>46.95065298966859</c:v>
                </c:pt>
                <c:pt idx="71">
                  <c:v>46.497862658628364</c:v>
                </c:pt>
                <c:pt idx="72" formatCode="0.0">
                  <c:v>47.034454032021166</c:v>
                </c:pt>
                <c:pt idx="73">
                  <c:v>46.705892762305901</c:v>
                </c:pt>
                <c:pt idx="74">
                  <c:v>46.839301392575187</c:v>
                </c:pt>
                <c:pt idx="75">
                  <c:v>46.211517807870976</c:v>
                </c:pt>
                <c:pt idx="76">
                  <c:v>46.303984005336297</c:v>
                </c:pt>
                <c:pt idx="77">
                  <c:v>46.363741206943452</c:v>
                </c:pt>
                <c:pt idx="78">
                  <c:v>46.470738994343328</c:v>
                </c:pt>
                <c:pt idx="79">
                  <c:v>46.811737745352886</c:v>
                </c:pt>
                <c:pt idx="80">
                  <c:v>46.100052525356347</c:v>
                </c:pt>
                <c:pt idx="81">
                  <c:v>46.340304001746695</c:v>
                </c:pt>
                <c:pt idx="82">
                  <c:v>45.903391183267111</c:v>
                </c:pt>
                <c:pt idx="83">
                  <c:v>46.094710590201792</c:v>
                </c:pt>
                <c:pt idx="84">
                  <c:v>46.628450782268558</c:v>
                </c:pt>
                <c:pt idx="85">
                  <c:v>46.364178384804035</c:v>
                </c:pt>
                <c:pt idx="86">
                  <c:v>45.481924309547971</c:v>
                </c:pt>
                <c:pt idx="87">
                  <c:v>45.542749922433494</c:v>
                </c:pt>
                <c:pt idx="88">
                  <c:v>45.619517407846331</c:v>
                </c:pt>
                <c:pt idx="89">
                  <c:v>46.619117464265052</c:v>
                </c:pt>
                <c:pt idx="90">
                  <c:v>46.340304001746695</c:v>
                </c:pt>
                <c:pt idx="91">
                  <c:v>46.346270558991741</c:v>
                </c:pt>
                <c:pt idx="92" formatCode="0.0">
                  <c:v>46.107513271863965</c:v>
                </c:pt>
                <c:pt idx="93" formatCode="0.0">
                  <c:v>45.674608335283168</c:v>
                </c:pt>
                <c:pt idx="94" formatCode="0.0">
                  <c:v>46.048054687905086</c:v>
                </c:pt>
                <c:pt idx="95" formatCode="0.0">
                  <c:v>46.249874018228013</c:v>
                </c:pt>
                <c:pt idx="96" formatCode="0.0">
                  <c:v>46.214289065244444</c:v>
                </c:pt>
                <c:pt idx="97" formatCode="0.0">
                  <c:v>46.21894852321654</c:v>
                </c:pt>
                <c:pt idx="98" formatCode="0.0">
                  <c:v>46.141079140164145</c:v>
                </c:pt>
                <c:pt idx="99" formatCode="0.0">
                  <c:v>46.300776164134035</c:v>
                </c:pt>
                <c:pt idx="100" formatCode="0.0">
                  <c:v>46.320986052966042</c:v>
                </c:pt>
                <c:pt idx="101" formatCode="0.0">
                  <c:v>46.396480550884732</c:v>
                </c:pt>
                <c:pt idx="102" formatCode="0.0">
                  <c:v>45.986918446280932</c:v>
                </c:pt>
                <c:pt idx="103" formatCode="0.0">
                  <c:v>46.103274560181063</c:v>
                </c:pt>
                <c:pt idx="104" formatCode="0.0">
                  <c:v>46.326781785960975</c:v>
                </c:pt>
                <c:pt idx="105" formatCode="0.0">
                  <c:v>46.36108901458438</c:v>
                </c:pt>
                <c:pt idx="106" formatCode="0.0">
                  <c:v>46.463792523540533</c:v>
                </c:pt>
                <c:pt idx="107" formatCode="0.0">
                  <c:v>46.30971103020385</c:v>
                </c:pt>
                <c:pt idx="108" formatCode="0.0">
                  <c:v>46.864608594535113</c:v>
                </c:pt>
                <c:pt idx="109" formatCode="0.0">
                  <c:v>46.311342669434865</c:v>
                </c:pt>
                <c:pt idx="110" formatCode="0.0">
                  <c:v>46.544349422902087</c:v>
                </c:pt>
                <c:pt idx="111" formatCode="0.0">
                  <c:v>46.249086511386679</c:v>
                </c:pt>
                <c:pt idx="112" formatCode="0.0">
                  <c:v>46.662486520390303</c:v>
                </c:pt>
                <c:pt idx="113" formatCode="0.0">
                  <c:v>45.205959010893217</c:v>
                </c:pt>
                <c:pt idx="114" formatCode="0.0">
                  <c:v>45.650140593132633</c:v>
                </c:pt>
                <c:pt idx="115" formatCode="0.0">
                  <c:v>45.225485541535029</c:v>
                </c:pt>
                <c:pt idx="116" formatCode="0.0">
                  <c:v>45.466293070147742</c:v>
                </c:pt>
                <c:pt idx="117" formatCode="0.0">
                  <c:v>46.177518108232974</c:v>
                </c:pt>
                <c:pt idx="118" formatCode="0.0">
                  <c:v>45.49274110058289</c:v>
                </c:pt>
                <c:pt idx="119" formatCode="0.0">
                  <c:v>45.286553887781899</c:v>
                </c:pt>
                <c:pt idx="120" formatCode="0.0">
                  <c:v>46.6930719436495</c:v>
                </c:pt>
                <c:pt idx="121" formatCode="0.0">
                  <c:v>46.501958319880295</c:v>
                </c:pt>
                <c:pt idx="122" formatCode="0.0">
                  <c:v>46.783684321022193</c:v>
                </c:pt>
                <c:pt idx="123" formatCode="0.0">
                  <c:v>46.507981699900498</c:v>
                </c:pt>
                <c:pt idx="124" formatCode="0.0">
                  <c:v>46.183756993093603</c:v>
                </c:pt>
                <c:pt idx="125" formatCode="0.0">
                  <c:v>45.812861706681105</c:v>
                </c:pt>
                <c:pt idx="126" formatCode="0.0">
                  <c:v>46.535535862025199</c:v>
                </c:pt>
                <c:pt idx="127" formatCode="0.0">
                  <c:v>46.5788240253681</c:v>
                </c:pt>
                <c:pt idx="128" formatCode="0.0">
                  <c:v>46.313674152871499</c:v>
                </c:pt>
                <c:pt idx="129" formatCode="0.0">
                  <c:v>47.125034518139095</c:v>
                </c:pt>
                <c:pt idx="130" formatCode="0.0">
                  <c:v>46.3216959598617</c:v>
                </c:pt>
                <c:pt idx="131" formatCode="0.0">
                  <c:v>46.743238717129294</c:v>
                </c:pt>
                <c:pt idx="132" formatCode="0.0">
                  <c:v>46.869140977840502</c:v>
                </c:pt>
                <c:pt idx="133" formatCode="0.0">
                  <c:v>46.567842161674506</c:v>
                </c:pt>
                <c:pt idx="134" formatCode="0.0">
                  <c:v>46.521307820924996</c:v>
                </c:pt>
                <c:pt idx="135" formatCode="0.0">
                  <c:v>45.846244587296795</c:v>
                </c:pt>
                <c:pt idx="136" formatCode="0.0">
                  <c:v>46.092314714202502</c:v>
                </c:pt>
                <c:pt idx="137" formatCode="0.0">
                  <c:v>46.9979308617893</c:v>
                </c:pt>
                <c:pt idx="138" formatCode="0.0">
                  <c:v>45.491109713765702</c:v>
                </c:pt>
                <c:pt idx="139" formatCode="0.0">
                  <c:v>45.4687040223601</c:v>
                </c:pt>
                <c:pt idx="140" formatCode="0.0">
                  <c:v>45.772549487483801</c:v>
                </c:pt>
                <c:pt idx="141" formatCode="0.0">
                  <c:v>45.369984984680599</c:v>
                </c:pt>
                <c:pt idx="142" formatCode="0.0">
                  <c:v>46.889598220288597</c:v>
                </c:pt>
                <c:pt idx="143" formatCode="0.0">
                  <c:v>46.066339370888798</c:v>
                </c:pt>
                <c:pt idx="144" formatCode="0.0">
                  <c:v>43.009792494332103</c:v>
                </c:pt>
                <c:pt idx="145" formatCode="0.0">
                  <c:v>0</c:v>
                </c:pt>
                <c:pt idx="146" formatCode="0.0">
                  <c:v>0</c:v>
                </c:pt>
                <c:pt idx="147" formatCode="0.0">
                  <c:v>0</c:v>
                </c:pt>
                <c:pt idx="148" formatCode="0.0">
                  <c:v>0</c:v>
                </c:pt>
                <c:pt idx="149" formatCode="0.0">
                  <c:v>46.581678931063394</c:v>
                </c:pt>
                <c:pt idx="150" formatCode="0.0">
                  <c:v>46.308807397896999</c:v>
                </c:pt>
                <c:pt idx="151" formatCode="0.0">
                  <c:v>45.358990551597898</c:v>
                </c:pt>
                <c:pt idx="152" formatCode="0.0">
                  <c:v>45.304026267780202</c:v>
                </c:pt>
                <c:pt idx="153" formatCode="0.0">
                  <c:v>45.869862551327103</c:v>
                </c:pt>
                <c:pt idx="154" formatCode="0.0">
                  <c:v>46.110211839383702</c:v>
                </c:pt>
                <c:pt idx="155" formatCode="0.0">
                  <c:v>46.804025051513293</c:v>
                </c:pt>
                <c:pt idx="156" formatCode="0.0">
                  <c:v>46.148317593057598</c:v>
                </c:pt>
                <c:pt idx="157" formatCode="0.0">
                  <c:v>46.575451175797298</c:v>
                </c:pt>
                <c:pt idx="158" formatCode="0.0">
                  <c:v>46.306632695969697</c:v>
                </c:pt>
                <c:pt idx="159" formatCode="0.0">
                  <c:v>46.081072936069098</c:v>
                </c:pt>
                <c:pt idx="160" formatCode="0.0">
                  <c:v>46.071765847274804</c:v>
                </c:pt>
                <c:pt idx="161" formatCode="0.0">
                  <c:v>46.527098784626702</c:v>
                </c:pt>
                <c:pt idx="162" formatCode="0.0">
                  <c:v>46.218246999384903</c:v>
                </c:pt>
                <c:pt idx="163" formatCode="0.0">
                  <c:v>45.143464716369095</c:v>
                </c:pt>
                <c:pt idx="164" formatCode="0.0">
                  <c:v>46.380856376138901</c:v>
                </c:pt>
                <c:pt idx="165" formatCode="0.0">
                  <c:v>45.657040616572402</c:v>
                </c:pt>
                <c:pt idx="166" formatCode="0.0">
                  <c:v>46.096873898275099</c:v>
                </c:pt>
                <c:pt idx="167" formatCode="0.0">
                  <c:v>45.604111091386301</c:v>
                </c:pt>
                <c:pt idx="168" formatCode="0.0">
                  <c:v>0</c:v>
                </c:pt>
                <c:pt idx="169" formatCode="0.0">
                  <c:v>44.762209921655</c:v>
                </c:pt>
                <c:pt idx="170" formatCode="0.0">
                  <c:v>45.9345042933613</c:v>
                </c:pt>
                <c:pt idx="171" formatCode="0.0">
                  <c:v>46.08970167549549</c:v>
                </c:pt>
                <c:pt idx="172" formatCode="0.0">
                  <c:v>48.844133205963303</c:v>
                </c:pt>
                <c:pt idx="173" formatCode="0.0">
                  <c:v>45.819273729307497</c:v>
                </c:pt>
                <c:pt idx="174" formatCode="0.0">
                  <c:v>46.079425793882798</c:v>
                </c:pt>
                <c:pt idx="175" formatCode="0.0">
                  <c:v>46.077266168348395</c:v>
                </c:pt>
                <c:pt idx="176" formatCode="0.0">
                  <c:v>46.248807303887901</c:v>
                </c:pt>
                <c:pt idx="177" formatCode="0.0">
                  <c:v>46.189581347083902</c:v>
                </c:pt>
                <c:pt idx="178" formatCode="0.0">
                  <c:v>46.044206005556497</c:v>
                </c:pt>
                <c:pt idx="179" formatCode="0.0">
                  <c:v>46.868820047337813</c:v>
                </c:pt>
                <c:pt idx="180" formatCode="0.0">
                  <c:v>47.240097613873104</c:v>
                </c:pt>
                <c:pt idx="181" formatCode="0.0">
                  <c:v>47.658119052845706</c:v>
                </c:pt>
                <c:pt idx="182" formatCode="0.0">
                  <c:v>47.309292391704389</c:v>
                </c:pt>
                <c:pt idx="183" formatCode="0.0">
                  <c:v>47.227741958677704</c:v>
                </c:pt>
                <c:pt idx="184" formatCode="0.0">
                  <c:v>47.083093467883899</c:v>
                </c:pt>
                <c:pt idx="185" formatCode="0.0">
                  <c:v>45.300000001854301</c:v>
                </c:pt>
                <c:pt idx="186" formatCode="0.0">
                  <c:v>45.353061382583498</c:v>
                </c:pt>
                <c:pt idx="187" formatCode="0.0">
                  <c:v>45.009043335082801</c:v>
                </c:pt>
                <c:pt idx="188" formatCode="0.0">
                  <c:v>45.354054784737102</c:v>
                </c:pt>
                <c:pt idx="189" formatCode="0.0">
                  <c:v>45.1316539538672</c:v>
                </c:pt>
                <c:pt idx="190" formatCode="0.0">
                  <c:v>45.107582338861093</c:v>
                </c:pt>
                <c:pt idx="191" formatCode="0.0">
                  <c:v>45.623444897912897</c:v>
                </c:pt>
                <c:pt idx="192" formatCode="0.0">
                  <c:v>45.107100810538796</c:v>
                </c:pt>
                <c:pt idx="193" formatCode="0.0">
                  <c:v>45.113749909751903</c:v>
                </c:pt>
                <c:pt idx="194" formatCode="0.0">
                  <c:v>45.177093625430601</c:v>
                </c:pt>
                <c:pt idx="195" formatCode="0.0">
                  <c:v>45.382945238340298</c:v>
                </c:pt>
                <c:pt idx="196" formatCode="0.0">
                  <c:v>45.730425421727602</c:v>
                </c:pt>
                <c:pt idx="197" formatCode="0.0">
                  <c:v>45.914819473579499</c:v>
                </c:pt>
                <c:pt idx="198" formatCode="0.0">
                  <c:v>45.955569492193604</c:v>
                </c:pt>
                <c:pt idx="199" formatCode="0.0">
                  <c:v>46.020706957420103</c:v>
                </c:pt>
                <c:pt idx="200" formatCode="0.0">
                  <c:v>45.989374852440704</c:v>
                </c:pt>
                <c:pt idx="201" formatCode="0.0">
                  <c:v>46.665433031632197</c:v>
                </c:pt>
                <c:pt idx="202" formatCode="0.0">
                  <c:v>46.057055301640702</c:v>
                </c:pt>
                <c:pt idx="203" formatCode="0.0">
                  <c:v>45.994433439956303</c:v>
                </c:pt>
                <c:pt idx="204" formatCode="0.0">
                  <c:v>46.272506732128598</c:v>
                </c:pt>
                <c:pt idx="205" formatCode="0.0">
                  <c:v>45.929892725368504</c:v>
                </c:pt>
                <c:pt idx="206" formatCode="0.0">
                  <c:v>45.417404767967902</c:v>
                </c:pt>
                <c:pt idx="207" formatCode="0.0">
                  <c:v>45.108270927401094</c:v>
                </c:pt>
                <c:pt idx="208" formatCode="0.0">
                  <c:v>44.4121093485426</c:v>
                </c:pt>
                <c:pt idx="209" formatCode="0.0">
                  <c:v>45.674957196539701</c:v>
                </c:pt>
                <c:pt idx="210" formatCode="0.0">
                  <c:v>45.7023836203767</c:v>
                </c:pt>
                <c:pt idx="211" formatCode="0.0">
                  <c:v>45.419136499510302</c:v>
                </c:pt>
                <c:pt idx="212" formatCode="0.0">
                  <c:v>45.818608444166699</c:v>
                </c:pt>
                <c:pt idx="213" formatCode="0.0">
                  <c:v>45.2214212990907</c:v>
                </c:pt>
                <c:pt idx="214" formatCode="0.0">
                  <c:v>45.383813467855802</c:v>
                </c:pt>
                <c:pt idx="215" formatCode="0.0">
                  <c:v>45.019240896653699</c:v>
                </c:pt>
                <c:pt idx="216" formatCode="0.0">
                  <c:v>45.620664689858103</c:v>
                </c:pt>
                <c:pt idx="217" formatCode="0.0">
                  <c:v>46.701517076307191</c:v>
                </c:pt>
                <c:pt idx="218" formatCode="0.0">
                  <c:v>45.308915323818695</c:v>
                </c:pt>
                <c:pt idx="219" formatCode="0.0">
                  <c:v>46.147889700020407</c:v>
                </c:pt>
                <c:pt idx="220" formatCode="0.0">
                  <c:v>45.066962761182801</c:v>
                </c:pt>
                <c:pt idx="221" formatCode="0.0">
                  <c:v>45.202013064877001</c:v>
                </c:pt>
                <c:pt idx="222" formatCode="0.0">
                  <c:v>45.579375649495603</c:v>
                </c:pt>
                <c:pt idx="223" formatCode="0.0">
                  <c:v>45.202107419307396</c:v>
                </c:pt>
                <c:pt idx="224" formatCode="0.0">
                  <c:v>45.517395441536607</c:v>
                </c:pt>
                <c:pt idx="225" formatCode="0.0">
                  <c:v>46.242557632790302</c:v>
                </c:pt>
                <c:pt idx="226" formatCode="0.0">
                  <c:v>45.821016086358895</c:v>
                </c:pt>
                <c:pt idx="227" formatCode="0.0">
                  <c:v>45.9177346527213</c:v>
                </c:pt>
                <c:pt idx="228" formatCode="0.0">
                  <c:v>45.520023419141403</c:v>
                </c:pt>
                <c:pt idx="229" formatCode="0.0">
                  <c:v>45.456539825578503</c:v>
                </c:pt>
                <c:pt idx="230" formatCode="0.0">
                  <c:v>45.580889632791198</c:v>
                </c:pt>
                <c:pt idx="231" formatCode="0.0">
                  <c:v>45.862885386767296</c:v>
                </c:pt>
                <c:pt idx="232" formatCode="0.0">
                  <c:v>46.539167044123204</c:v>
                </c:pt>
                <c:pt idx="233" formatCode="0.0">
                  <c:v>46.5939795571608</c:v>
                </c:pt>
                <c:pt idx="234" formatCode="0.0">
                  <c:v>46.914953362855201</c:v>
                </c:pt>
                <c:pt idx="235" formatCode="0.0">
                  <c:v>46.5085661944413</c:v>
                </c:pt>
                <c:pt idx="236" formatCode="0.0">
                  <c:v>45.877262366976701</c:v>
                </c:pt>
                <c:pt idx="237" formatCode="0.0">
                  <c:v>46.504866077731897</c:v>
                </c:pt>
                <c:pt idx="238" formatCode="0.0">
                  <c:v>45.710410449826497</c:v>
                </c:pt>
                <c:pt idx="239" formatCode="0.0">
                  <c:v>46.514679289964398</c:v>
                </c:pt>
                <c:pt idx="240" formatCode="0.0">
                  <c:v>45.347101587935697</c:v>
                </c:pt>
                <c:pt idx="241" formatCode="0.0">
                  <c:v>46.525862627128099</c:v>
                </c:pt>
                <c:pt idx="242" formatCode="0.0">
                  <c:v>46.295053995284398</c:v>
                </c:pt>
                <c:pt idx="243" formatCode="0.0">
                  <c:v>46.177295491472407</c:v>
                </c:pt>
                <c:pt idx="244" formatCode="0.0">
                  <c:v>44.752072312142793</c:v>
                </c:pt>
                <c:pt idx="245" formatCode="0.0">
                  <c:v>46.6432042772486</c:v>
                </c:pt>
                <c:pt idx="246" formatCode="0.0">
                  <c:v>46.531295042765599</c:v>
                </c:pt>
                <c:pt idx="247" formatCode="0.0">
                  <c:v>46.398951601753602</c:v>
                </c:pt>
                <c:pt idx="248" formatCode="0.0">
                  <c:v>45.9435874155173</c:v>
                </c:pt>
                <c:pt idx="249" formatCode="0.0">
                  <c:v>46.515720078433304</c:v>
                </c:pt>
                <c:pt idx="250" formatCode="0.0">
                  <c:v>46.673154636966999</c:v>
                </c:pt>
                <c:pt idx="251" formatCode="0.0">
                  <c:v>46.105316274600298</c:v>
                </c:pt>
                <c:pt idx="252" formatCode="0.0">
                  <c:v>46.1195274258572</c:v>
                </c:pt>
                <c:pt idx="253" formatCode="0.0">
                  <c:v>45.6088229909247</c:v>
                </c:pt>
                <c:pt idx="254" formatCode="0.0">
                  <c:v>45.353813656098197</c:v>
                </c:pt>
                <c:pt idx="255" formatCode="0.0">
                  <c:v>46.3157686982019</c:v>
                </c:pt>
                <c:pt idx="256" formatCode="0.0">
                  <c:v>45.955632919616896</c:v>
                </c:pt>
                <c:pt idx="257" formatCode="0.0">
                  <c:v>46.5600067681886</c:v>
                </c:pt>
                <c:pt idx="258" formatCode="0.0">
                  <c:v>44.4192547250017</c:v>
                </c:pt>
                <c:pt idx="259" formatCode="0.0">
                  <c:v>44.206013980273596</c:v>
                </c:pt>
                <c:pt idx="260" formatCode="0.0">
                  <c:v>47.277469688511104</c:v>
                </c:pt>
                <c:pt idx="261" formatCode="0.0">
                  <c:v>46.130435048071696</c:v>
                </c:pt>
                <c:pt idx="262" formatCode="0.0">
                  <c:v>45.277899478716499</c:v>
                </c:pt>
                <c:pt idx="263" formatCode="0.0">
                  <c:v>45.660055016151503</c:v>
                </c:pt>
                <c:pt idx="264" formatCode="0.0">
                  <c:v>45.722891735880694</c:v>
                </c:pt>
                <c:pt idx="265" formatCode="0.0">
                  <c:v>45.8554251851819</c:v>
                </c:pt>
                <c:pt idx="266" formatCode="0.0">
                  <c:v>45.590306910584104</c:v>
                </c:pt>
                <c:pt idx="267" formatCode="0.0">
                  <c:v>44.266845343978105</c:v>
                </c:pt>
                <c:pt idx="268" formatCode="0.0">
                  <c:v>45.917241357525604</c:v>
                </c:pt>
                <c:pt idx="269" formatCode="0.0">
                  <c:v>45.523880212174397</c:v>
                </c:pt>
                <c:pt idx="270" formatCode="0.0">
                  <c:v>46.340407551902096</c:v>
                </c:pt>
                <c:pt idx="271" formatCode="0.0">
                  <c:v>46.091496609455803</c:v>
                </c:pt>
                <c:pt idx="272" formatCode="0.0">
                  <c:v>46.214527491537396</c:v>
                </c:pt>
                <c:pt idx="273" formatCode="0.0">
                  <c:v>46.335469223217096</c:v>
                </c:pt>
                <c:pt idx="274" formatCode="0.0">
                  <c:v>46.081148138884998</c:v>
                </c:pt>
                <c:pt idx="275" formatCode="0.0">
                  <c:v>45.7595960168236</c:v>
                </c:pt>
                <c:pt idx="276" formatCode="0.0">
                  <c:v>46.025454892225</c:v>
                </c:pt>
                <c:pt idx="277" formatCode="0.0">
                  <c:v>46.013429750930001</c:v>
                </c:pt>
                <c:pt idx="278" formatCode="0.0">
                  <c:v>45.717660824113302</c:v>
                </c:pt>
                <c:pt idx="279" formatCode="0.0">
                  <c:v>44.949309660538205</c:v>
                </c:pt>
                <c:pt idx="280" formatCode="0.0">
                  <c:v>45.059228468485905</c:v>
                </c:pt>
                <c:pt idx="281" formatCode="0.0">
                  <c:v>45.6009142305004</c:v>
                </c:pt>
                <c:pt idx="282" formatCode="0.0">
                  <c:v>45.089478542859702</c:v>
                </c:pt>
                <c:pt idx="283" formatCode="0.0">
                  <c:v>46.035856404615501</c:v>
                </c:pt>
                <c:pt idx="284" formatCode="0.0">
                  <c:v>45.901149606421505</c:v>
                </c:pt>
                <c:pt idx="285" formatCode="0.0">
                  <c:v>46.018774237992702</c:v>
                </c:pt>
                <c:pt idx="286" formatCode="0.0">
                  <c:v>46.774028001830303</c:v>
                </c:pt>
                <c:pt idx="287" formatCode="0.0">
                  <c:v>46.774028001830303</c:v>
                </c:pt>
                <c:pt idx="288" formatCode="0.0">
                  <c:v>45.132599133137703</c:v>
                </c:pt>
                <c:pt idx="289" formatCode="0.0">
                  <c:v>45.821807324360606</c:v>
                </c:pt>
                <c:pt idx="290" formatCode="0.0">
                  <c:v>46.292018580184404</c:v>
                </c:pt>
                <c:pt idx="291" formatCode="0.0">
                  <c:v>46.160366197943794</c:v>
                </c:pt>
                <c:pt idx="292" formatCode="0.0">
                  <c:v>45.375562491652701</c:v>
                </c:pt>
                <c:pt idx="293" formatCode="0.0">
                  <c:v>45.865950648023102</c:v>
                </c:pt>
                <c:pt idx="294" formatCode="0.0">
                  <c:v>45.207451458775701</c:v>
                </c:pt>
                <c:pt idx="295" formatCode="0.0">
                  <c:v>45.532179019028696</c:v>
                </c:pt>
                <c:pt idx="296" formatCode="0.0">
                  <c:v>45.580797264416297</c:v>
                </c:pt>
                <c:pt idx="297" formatCode="0.0">
                  <c:v>45.308839731919903</c:v>
                </c:pt>
                <c:pt idx="298" formatCode="0.0">
                  <c:v>45.453200714461303</c:v>
                </c:pt>
                <c:pt idx="299" formatCode="0.0">
                  <c:v>46.198210720085697</c:v>
                </c:pt>
                <c:pt idx="300" formatCode="0.0">
                  <c:v>45.551088664844599</c:v>
                </c:pt>
                <c:pt idx="301" formatCode="0.0">
                  <c:v>44.615160524289095</c:v>
                </c:pt>
                <c:pt idx="302" formatCode="0.0">
                  <c:v>45.211791460813799</c:v>
                </c:pt>
                <c:pt idx="303" formatCode="0.0">
                  <c:v>45.7596903791461</c:v>
                </c:pt>
                <c:pt idx="304" formatCode="0.0">
                  <c:v>45.299384484081003</c:v>
                </c:pt>
                <c:pt idx="305" formatCode="0.0">
                  <c:v>45.443868595486599</c:v>
                </c:pt>
                <c:pt idx="306" formatCode="0.0">
                  <c:v>45.948026482046401</c:v>
                </c:pt>
                <c:pt idx="307" formatCode="0.0">
                  <c:v>45.872022847446203</c:v>
                </c:pt>
                <c:pt idx="308" formatCode="0.0">
                  <c:v>45.836717516533994</c:v>
                </c:pt>
                <c:pt idx="309" formatCode="0.0">
                  <c:v>46.0126282775433</c:v>
                </c:pt>
                <c:pt idx="310" formatCode="0.0">
                  <c:v>45.234409506551103</c:v>
                </c:pt>
                <c:pt idx="311" formatCode="0.0">
                  <c:v>45.815555463531403</c:v>
                </c:pt>
                <c:pt idx="312" formatCode="0.0">
                  <c:v>46.4934670517478</c:v>
                </c:pt>
                <c:pt idx="313" formatCode="0.0">
                  <c:v>46.229011918780103</c:v>
                </c:pt>
                <c:pt idx="314" formatCode="0.0">
                  <c:v>45.481141368014598</c:v>
                </c:pt>
                <c:pt idx="315" formatCode="0.0">
                  <c:v>44.544970473800007</c:v>
                </c:pt>
                <c:pt idx="316" formatCode="0.0">
                  <c:v>45.441375690775494</c:v>
                </c:pt>
                <c:pt idx="317" formatCode="0.0">
                  <c:v>45.503540364675899</c:v>
                </c:pt>
                <c:pt idx="318" formatCode="0.0">
                  <c:v>45.447456092529293</c:v>
                </c:pt>
                <c:pt idx="319" formatCode="0.0">
                  <c:v>45.848862066709898</c:v>
                </c:pt>
                <c:pt idx="320" formatCode="0.0">
                  <c:v>45.846138929131797</c:v>
                </c:pt>
                <c:pt idx="321" formatCode="0.0">
                  <c:v>46.034130416380293</c:v>
                </c:pt>
                <c:pt idx="322" formatCode="0.0">
                  <c:v>45.859663292224198</c:v>
                </c:pt>
                <c:pt idx="323" formatCode="0.0">
                  <c:v>45.151468300791805</c:v>
                </c:pt>
                <c:pt idx="324" formatCode="0.0">
                  <c:v>45.447863929798601</c:v>
                </c:pt>
                <c:pt idx="325" formatCode="0.0">
                  <c:v>45.778610583355103</c:v>
                </c:pt>
                <c:pt idx="326" formatCode="0.0">
                  <c:v>45.472011844723795</c:v>
                </c:pt>
                <c:pt idx="327" formatCode="0.0">
                  <c:v>45.395917066743095</c:v>
                </c:pt>
                <c:pt idx="328" formatCode="0.0">
                  <c:v>45.066303640417004</c:v>
                </c:pt>
                <c:pt idx="329" formatCode="0.0">
                  <c:v>45.533516847789301</c:v>
                </c:pt>
                <c:pt idx="330" formatCode="0.0">
                  <c:v>45.715941610871802</c:v>
                </c:pt>
                <c:pt idx="331" formatCode="0.0">
                  <c:v>45.498510838015001</c:v>
                </c:pt>
                <c:pt idx="332" formatCode="0.0">
                  <c:v>44.562499394684998</c:v>
                </c:pt>
                <c:pt idx="333" formatCode="0.0">
                  <c:v>44.839096683390906</c:v>
                </c:pt>
                <c:pt idx="334" formatCode="0.0">
                  <c:v>44.010500299645201</c:v>
                </c:pt>
                <c:pt idx="335" formatCode="0.0">
                  <c:v>43.516268869535295</c:v>
                </c:pt>
                <c:pt idx="336" formatCode="0.0">
                  <c:v>44.535482464890904</c:v>
                </c:pt>
                <c:pt idx="337" formatCode="0.0">
                  <c:v>44.186282557474001</c:v>
                </c:pt>
                <c:pt idx="338" formatCode="0.0">
                  <c:v>44.307818074697103</c:v>
                </c:pt>
                <c:pt idx="339" formatCode="0.0">
                  <c:v>44.683019886928093</c:v>
                </c:pt>
                <c:pt idx="340" formatCode="0.0">
                  <c:v>45.1995145464522</c:v>
                </c:pt>
                <c:pt idx="341" formatCode="0.0">
                  <c:v>44.743009122924803</c:v>
                </c:pt>
                <c:pt idx="342" formatCode="0.0">
                  <c:v>45.171127965166406</c:v>
                </c:pt>
                <c:pt idx="343" formatCode="0.0">
                  <c:v>44.806441240068004</c:v>
                </c:pt>
                <c:pt idx="344" formatCode="0.0">
                  <c:v>45.931440633602904</c:v>
                </c:pt>
                <c:pt idx="345" formatCode="0.0">
                  <c:v>45.656575067761594</c:v>
                </c:pt>
                <c:pt idx="346" formatCode="0.0">
                  <c:v>46.2734956189217</c:v>
                </c:pt>
                <c:pt idx="347" formatCode="0.0">
                  <c:v>46.308002261000098</c:v>
                </c:pt>
                <c:pt idx="348" formatCode="0.0">
                  <c:v>45.938127111306002</c:v>
                </c:pt>
                <c:pt idx="349" formatCode="0.0">
                  <c:v>45.779841783117298</c:v>
                </c:pt>
                <c:pt idx="350" formatCode="0.0">
                  <c:v>45.834179167298799</c:v>
                </c:pt>
                <c:pt idx="351" formatCode="0.0">
                  <c:v>44.451710497169302</c:v>
                </c:pt>
                <c:pt idx="352" formatCode="0.0">
                  <c:v>45.542674862149106</c:v>
                </c:pt>
                <c:pt idx="353" formatCode="0.0">
                  <c:v>45.187400852946894</c:v>
                </c:pt>
                <c:pt idx="354" formatCode="0.0">
                  <c:v>44.913008102841701</c:v>
                </c:pt>
                <c:pt idx="355" formatCode="0.0">
                  <c:v>44.690835365991703</c:v>
                </c:pt>
                <c:pt idx="356" formatCode="0.0">
                  <c:v>42.276138246420096</c:v>
                </c:pt>
                <c:pt idx="357" formatCode="0.0">
                  <c:v>44.289166966743792</c:v>
                </c:pt>
                <c:pt idx="358" formatCode="0.0">
                  <c:v>45.296557147288503</c:v>
                </c:pt>
                <c:pt idx="359" formatCode="0.0">
                  <c:v>45.709333934080298</c:v>
                </c:pt>
                <c:pt idx="360" formatCode="0.0">
                  <c:v>44.7725966340968</c:v>
                </c:pt>
                <c:pt idx="361" formatCode="0.0">
                  <c:v>44.754312412638996</c:v>
                </c:pt>
                <c:pt idx="362" formatCode="0.0">
                  <c:v>44.573964203508197</c:v>
                </c:pt>
                <c:pt idx="363" formatCode="0.0">
                  <c:v>44.743074199544701</c:v>
                </c:pt>
                <c:pt idx="364">
                  <c:v>43.993758054827801</c:v>
                </c:pt>
                <c:pt idx="365">
                  <c:v>45.846440573350506</c:v>
                </c:pt>
                <c:pt idx="366">
                  <c:v>45.810900038934705</c:v>
                </c:pt>
                <c:pt idx="367">
                  <c:v>46.214272925824602</c:v>
                </c:pt>
                <c:pt idx="368">
                  <c:v>46.9688351421227</c:v>
                </c:pt>
                <c:pt idx="369">
                  <c:v>46.393614696346297</c:v>
                </c:pt>
                <c:pt idx="370">
                  <c:v>45.884220102188202</c:v>
                </c:pt>
                <c:pt idx="371">
                  <c:v>46.126105299580502</c:v>
                </c:pt>
                <c:pt idx="372">
                  <c:v>44.884656367578899</c:v>
                </c:pt>
                <c:pt idx="373">
                  <c:v>45.108313330381698</c:v>
                </c:pt>
                <c:pt idx="374">
                  <c:v>46.145744263571899</c:v>
                </c:pt>
                <c:pt idx="375">
                  <c:v>45.479578481906799</c:v>
                </c:pt>
                <c:pt idx="376">
                  <c:v>45.423787839555601</c:v>
                </c:pt>
                <c:pt idx="377">
                  <c:v>45.796056947320494</c:v>
                </c:pt>
                <c:pt idx="378">
                  <c:v>46.419407341923701</c:v>
                </c:pt>
                <c:pt idx="379">
                  <c:v>45.401194947210499</c:v>
                </c:pt>
                <c:pt idx="380">
                  <c:v>45.423895031430305</c:v>
                </c:pt>
                <c:pt idx="381">
                  <c:v>45.4609987620669</c:v>
                </c:pt>
                <c:pt idx="382">
                  <c:v>45.499233192576597</c:v>
                </c:pt>
                <c:pt idx="383">
                  <c:v>46.032233350275398</c:v>
                </c:pt>
                <c:pt idx="384">
                  <c:v>45.599129283254697</c:v>
                </c:pt>
                <c:pt idx="385">
                  <c:v>45.661331926539397</c:v>
                </c:pt>
                <c:pt idx="386">
                  <c:v>46.248489184734105</c:v>
                </c:pt>
                <c:pt idx="387">
                  <c:v>46.431859921508298</c:v>
                </c:pt>
                <c:pt idx="388">
                  <c:v>45.7886833637398</c:v>
                </c:pt>
                <c:pt idx="389">
                  <c:v>45.781727136195698</c:v>
                </c:pt>
                <c:pt idx="390">
                  <c:v>46.528115112362499</c:v>
                </c:pt>
                <c:pt idx="391">
                  <c:v>45.813164528806098</c:v>
                </c:pt>
                <c:pt idx="392">
                  <c:v>46.320618167334601</c:v>
                </c:pt>
                <c:pt idx="393">
                  <c:v>45.219519815402698</c:v>
                </c:pt>
                <c:pt idx="394">
                  <c:v>45.696849665504004</c:v>
                </c:pt>
                <c:pt idx="395">
                  <c:v>46.0614627486014</c:v>
                </c:pt>
                <c:pt idx="396">
                  <c:v>45.377815353342896</c:v>
                </c:pt>
                <c:pt idx="397">
                  <c:v>45.717804438383794</c:v>
                </c:pt>
                <c:pt idx="398">
                  <c:v>1018.2034756944399</c:v>
                </c:pt>
                <c:pt idx="399">
                  <c:v>44.960441951761105</c:v>
                </c:pt>
                <c:pt idx="400">
                  <c:v>46.511299892234902</c:v>
                </c:pt>
                <c:pt idx="401">
                  <c:v>45.461693518881397</c:v>
                </c:pt>
                <c:pt idx="402">
                  <c:v>46.3556985775122</c:v>
                </c:pt>
                <c:pt idx="403">
                  <c:v>46.073559246155796</c:v>
                </c:pt>
                <c:pt idx="404">
                  <c:v>45.575764360570602</c:v>
                </c:pt>
                <c:pt idx="405">
                  <c:v>46.324092601074199</c:v>
                </c:pt>
                <c:pt idx="406">
                  <c:v>46.400149103734392</c:v>
                </c:pt>
                <c:pt idx="407">
                  <c:v>45.834511329010297</c:v>
                </c:pt>
                <c:pt idx="408">
                  <c:v>45.401542875087905</c:v>
                </c:pt>
                <c:pt idx="409">
                  <c:v>45.96312799495049</c:v>
                </c:pt>
                <c:pt idx="410">
                  <c:v>46.074013083481702</c:v>
                </c:pt>
                <c:pt idx="411">
                  <c:v>45.218491363081803</c:v>
                </c:pt>
                <c:pt idx="412">
                  <c:v>45.833104182050008</c:v>
                </c:pt>
                <c:pt idx="413">
                  <c:v>45.729564595651404</c:v>
                </c:pt>
                <c:pt idx="414">
                  <c:v>45.054382144240897</c:v>
                </c:pt>
                <c:pt idx="415">
                  <c:v>45.304669875785002</c:v>
                </c:pt>
                <c:pt idx="416">
                  <c:v>45.5114789434381</c:v>
                </c:pt>
                <c:pt idx="417">
                  <c:v>45.520804393431504</c:v>
                </c:pt>
                <c:pt idx="418">
                  <c:v>46.0830356487891</c:v>
                </c:pt>
                <c:pt idx="419">
                  <c:v>46.495301471618603</c:v>
                </c:pt>
                <c:pt idx="420">
                  <c:v>46.801795774594993</c:v>
                </c:pt>
                <c:pt idx="421">
                  <c:v>46.365924568993904</c:v>
                </c:pt>
                <c:pt idx="422">
                  <c:v>47.055911038953695</c:v>
                </c:pt>
                <c:pt idx="423">
                  <c:v>47.265860990477499</c:v>
                </c:pt>
                <c:pt idx="424">
                  <c:v>46.165161707814804</c:v>
                </c:pt>
                <c:pt idx="425">
                  <c:v>45.556864623550801</c:v>
                </c:pt>
                <c:pt idx="426">
                  <c:v>45.3381797991673</c:v>
                </c:pt>
                <c:pt idx="427">
                  <c:v>45.2362357829724</c:v>
                </c:pt>
                <c:pt idx="428">
                  <c:v>45.499282275075501</c:v>
                </c:pt>
                <c:pt idx="429">
                  <c:v>45.642792971164397</c:v>
                </c:pt>
                <c:pt idx="430">
                  <c:v>44.954943780618805</c:v>
                </c:pt>
                <c:pt idx="431">
                  <c:v>45.509383090093898</c:v>
                </c:pt>
                <c:pt idx="432">
                  <c:v>46.644971571896299</c:v>
                </c:pt>
                <c:pt idx="433">
                  <c:v>45.619993996804602</c:v>
                </c:pt>
                <c:pt idx="434">
                  <c:v>46.488778296514106</c:v>
                </c:pt>
                <c:pt idx="435">
                  <c:v>46.299993070882493</c:v>
                </c:pt>
                <c:pt idx="436">
                  <c:v>45.575032210740794</c:v>
                </c:pt>
                <c:pt idx="437">
                  <c:v>44.906301275264198</c:v>
                </c:pt>
                <c:pt idx="438" formatCode="0.0">
                  <c:v>45.353458648932097</c:v>
                </c:pt>
                <c:pt idx="439">
                  <c:v>45.439173533267606</c:v>
                </c:pt>
                <c:pt idx="440">
                  <c:v>0</c:v>
                </c:pt>
                <c:pt idx="441">
                  <c:v>0</c:v>
                </c:pt>
                <c:pt idx="442">
                  <c:v>0</c:v>
                </c:pt>
                <c:pt idx="443">
                  <c:v>46.247688985746798</c:v>
                </c:pt>
                <c:pt idx="444">
                  <c:v>45.033841871732193</c:v>
                </c:pt>
                <c:pt idx="445">
                  <c:v>45.564147789086604</c:v>
                </c:pt>
                <c:pt idx="446">
                  <c:v>45.5</c:v>
                </c:pt>
                <c:pt idx="447">
                  <c:v>45.547246816370695</c:v>
                </c:pt>
                <c:pt idx="448">
                  <c:v>44.857785240324695</c:v>
                </c:pt>
                <c:pt idx="449">
                  <c:v>45.085003448509802</c:v>
                </c:pt>
                <c:pt idx="450">
                  <c:v>45.826948451907299</c:v>
                </c:pt>
                <c:pt idx="451">
                  <c:v>45.940749300505502</c:v>
                </c:pt>
                <c:pt idx="452">
                  <c:v>44.639112154639506</c:v>
                </c:pt>
                <c:pt idx="453">
                  <c:v>44.460261420070907</c:v>
                </c:pt>
                <c:pt idx="454">
                  <c:v>44.192076251843801</c:v>
                </c:pt>
                <c:pt idx="455">
                  <c:v>44.840074475480598</c:v>
                </c:pt>
                <c:pt idx="456">
                  <c:v>44.938956888544688</c:v>
                </c:pt>
                <c:pt idx="457">
                  <c:v>45.425611788559699</c:v>
                </c:pt>
                <c:pt idx="458" formatCode="0.0">
                  <c:v>45.166037924126201</c:v>
                </c:pt>
                <c:pt idx="459" formatCode="0.0">
                  <c:v>44.785650702711699</c:v>
                </c:pt>
                <c:pt idx="460" formatCode="0.0">
                  <c:v>44.526636471323499</c:v>
                </c:pt>
                <c:pt idx="461" formatCode="0.0">
                  <c:v>44.956648592869399</c:v>
                </c:pt>
                <c:pt idx="462" formatCode="0.0">
                  <c:v>44.442657523241294</c:v>
                </c:pt>
                <c:pt idx="463" formatCode="0.0">
                  <c:v>44.936837838265404</c:v>
                </c:pt>
                <c:pt idx="464" formatCode="0.0">
                  <c:v>44.427463461172401</c:v>
                </c:pt>
                <c:pt idx="465" formatCode="0.0">
                  <c:v>45.672774415595796</c:v>
                </c:pt>
                <c:pt idx="466" formatCode="0.0">
                  <c:v>46.165501900826698</c:v>
                </c:pt>
                <c:pt idx="467" formatCode="0.0">
                  <c:v>46.078214294188498</c:v>
                </c:pt>
                <c:pt idx="468" formatCode="0.0">
                  <c:v>44.538405184908299</c:v>
                </c:pt>
                <c:pt idx="469" formatCode="0.0">
                  <c:v>46.454150503378806</c:v>
                </c:pt>
                <c:pt idx="470" formatCode="0.0">
                  <c:v>47.0187658561509</c:v>
                </c:pt>
                <c:pt idx="471" formatCode="0.0">
                  <c:v>46.717028141791495</c:v>
                </c:pt>
                <c:pt idx="472" formatCode="0.0">
                  <c:v>47.063548405395295</c:v>
                </c:pt>
                <c:pt idx="473" formatCode="0.0">
                  <c:v>46.959262321705296</c:v>
                </c:pt>
                <c:pt idx="474" formatCode="0.0">
                  <c:v>46.600862310215803</c:v>
                </c:pt>
                <c:pt idx="475" formatCode="0.0">
                  <c:v>46.653360180862705</c:v>
                </c:pt>
                <c:pt idx="476" formatCode="0.0">
                  <c:v>46.778720581347102</c:v>
                </c:pt>
                <c:pt idx="477" formatCode="0.0">
                  <c:v>46.878655998230499</c:v>
                </c:pt>
                <c:pt idx="478" formatCode="0.0">
                  <c:v>46.382487158793296</c:v>
                </c:pt>
                <c:pt idx="479" formatCode="0.0">
                  <c:v>45.739891039556596</c:v>
                </c:pt>
                <c:pt idx="480" formatCode="0.0">
                  <c:v>46.7371968341456</c:v>
                </c:pt>
                <c:pt idx="481" formatCode="0.0">
                  <c:v>45.640939843351504</c:v>
                </c:pt>
                <c:pt idx="482" formatCode="0.0">
                  <c:v>46.029848573154098</c:v>
                </c:pt>
                <c:pt idx="483" formatCode="0.0">
                  <c:v>46.064859477747497</c:v>
                </c:pt>
                <c:pt idx="484" formatCode="0.0">
                  <c:v>45.497731538937501</c:v>
                </c:pt>
                <c:pt idx="485" formatCode="0.0">
                  <c:v>45.91985526885</c:v>
                </c:pt>
                <c:pt idx="486" formatCode="0.0">
                  <c:v>44.678464807860593</c:v>
                </c:pt>
                <c:pt idx="487" formatCode="0.0">
                  <c:v>44.473240908381598</c:v>
                </c:pt>
                <c:pt idx="488" formatCode="0.0">
                  <c:v>45.480354259730397</c:v>
                </c:pt>
                <c:pt idx="489" formatCode="0.0">
                  <c:v>45.313039618875699</c:v>
                </c:pt>
                <c:pt idx="490" formatCode="0.0">
                  <c:v>45.751956981604998</c:v>
                </c:pt>
                <c:pt idx="491" formatCode="0.0">
                  <c:v>46.374280796500294</c:v>
                </c:pt>
                <c:pt idx="492" formatCode="0.0">
                  <c:v>46.084277382490001</c:v>
                </c:pt>
                <c:pt idx="493" formatCode="0.0">
                  <c:v>46.206412031089002</c:v>
                </c:pt>
                <c:pt idx="494" formatCode="0.0">
                  <c:v>45.104632745185604</c:v>
                </c:pt>
                <c:pt idx="495" formatCode="0.0">
                  <c:v>43.626255104918201</c:v>
                </c:pt>
                <c:pt idx="496" formatCode="0.0">
                  <c:v>43.377027232512503</c:v>
                </c:pt>
                <c:pt idx="497" formatCode="0.0">
                  <c:v>0</c:v>
                </c:pt>
                <c:pt idx="498" formatCode="0.0">
                  <c:v>0</c:v>
                </c:pt>
                <c:pt idx="499" formatCode="0.0">
                  <c:v>44.349995247251101</c:v>
                </c:pt>
                <c:pt idx="500" formatCode="0.0">
                  <c:v>44.526630239257599</c:v>
                </c:pt>
                <c:pt idx="501" formatCode="0.0">
                  <c:v>44.301413322696497</c:v>
                </c:pt>
                <c:pt idx="502" formatCode="0.0">
                  <c:v>44.106122770349401</c:v>
                </c:pt>
                <c:pt idx="503" formatCode="0.0">
                  <c:v>44.497311968566002</c:v>
                </c:pt>
                <c:pt idx="504" formatCode="0.0">
                  <c:v>44.614776007356902</c:v>
                </c:pt>
                <c:pt idx="505" formatCode="0.0">
                  <c:v>44.1768855823168</c:v>
                </c:pt>
                <c:pt idx="506" formatCode="0.0">
                  <c:v>43.780312437961157</c:v>
                </c:pt>
                <c:pt idx="507" formatCode="0.0">
                  <c:v>43.780376216970296</c:v>
                </c:pt>
                <c:pt idx="508" formatCode="0.0">
                  <c:v>43.7031295830121</c:v>
                </c:pt>
                <c:pt idx="509" formatCode="0.0">
                  <c:v>44.267154327801805</c:v>
                </c:pt>
                <c:pt idx="510" formatCode="0.0">
                  <c:v>44.328342317956896</c:v>
                </c:pt>
                <c:pt idx="511" formatCode="0.0">
                  <c:v>44.495806187585103</c:v>
                </c:pt>
                <c:pt idx="512" formatCode="0.0">
                  <c:v>45.315078756676101</c:v>
                </c:pt>
                <c:pt idx="513" formatCode="0.0">
                  <c:v>45.383577723575101</c:v>
                </c:pt>
                <c:pt idx="514" formatCode="0.0">
                  <c:v>45.839378291554894</c:v>
                </c:pt>
                <c:pt idx="515" formatCode="0.0">
                  <c:v>44.822841104792204</c:v>
                </c:pt>
                <c:pt idx="516" formatCode="0.0">
                  <c:v>44.3240420110548</c:v>
                </c:pt>
                <c:pt idx="517" formatCode="0.0">
                  <c:v>44.780158613116001</c:v>
                </c:pt>
                <c:pt idx="518" formatCode="0.0">
                  <c:v>44.832312496656101</c:v>
                </c:pt>
                <c:pt idx="519" formatCode="0.0">
                  <c:v>44.772081111819595</c:v>
                </c:pt>
                <c:pt idx="520" formatCode="0.0">
                  <c:v>44.7278294771193</c:v>
                </c:pt>
                <c:pt idx="521" formatCode="0.0">
                  <c:v>44.368200041169999</c:v>
                </c:pt>
                <c:pt idx="522" formatCode="0.0">
                  <c:v>44.332827529942904</c:v>
                </c:pt>
                <c:pt idx="523" formatCode="0.0">
                  <c:v>44.850487812057594</c:v>
                </c:pt>
                <c:pt idx="524" formatCode="0.0">
                  <c:v>45.485346027979105</c:v>
                </c:pt>
                <c:pt idx="525" formatCode="0.0">
                  <c:v>45.161786718878695</c:v>
                </c:pt>
                <c:pt idx="526" formatCode="0.0">
                  <c:v>46.773661386654702</c:v>
                </c:pt>
                <c:pt idx="527" formatCode="0.0">
                  <c:v>45.020957597348897</c:v>
                </c:pt>
                <c:pt idx="528" formatCode="0.0">
                  <c:v>43.014171455908105</c:v>
                </c:pt>
                <c:pt idx="529" formatCode="0.0">
                  <c:v>43.272371647059906</c:v>
                </c:pt>
                <c:pt idx="530" formatCode="0.0">
                  <c:v>44.931312954729698</c:v>
                </c:pt>
                <c:pt idx="531" formatCode="0.0">
                  <c:v>46</c:v>
                </c:pt>
                <c:pt idx="532" formatCode="0.0">
                  <c:v>46.575073931989095</c:v>
                </c:pt>
                <c:pt idx="533" formatCode="0.0">
                  <c:v>45.088110247653901</c:v>
                </c:pt>
                <c:pt idx="534" formatCode="0.0">
                  <c:v>44.0752681187574</c:v>
                </c:pt>
                <c:pt idx="535" formatCode="0.0">
                  <c:v>44.099874008988806</c:v>
                </c:pt>
                <c:pt idx="536" formatCode="0.0">
                  <c:v>44.729290614763102</c:v>
                </c:pt>
                <c:pt idx="537" formatCode="0.0">
                  <c:v>44.600243671404698</c:v>
                </c:pt>
                <c:pt idx="538" formatCode="0.0">
                  <c:v>44.695732787064799</c:v>
                </c:pt>
                <c:pt idx="539" formatCode="0.0">
                  <c:v>45.860212263990398</c:v>
                </c:pt>
                <c:pt idx="540" formatCode="0.0">
                  <c:v>46.580161230259506</c:v>
                </c:pt>
                <c:pt idx="541" formatCode="0.0">
                  <c:v>45.132180178691705</c:v>
                </c:pt>
                <c:pt idx="542" formatCode="0.0">
                  <c:v>45.689730196338502</c:v>
                </c:pt>
                <c:pt idx="543" formatCode="0.0">
                  <c:v>45.4866099772902</c:v>
                </c:pt>
                <c:pt idx="544" formatCode="0.0">
                  <c:v>45.321289573744295</c:v>
                </c:pt>
                <c:pt idx="545" formatCode="0.0">
                  <c:v>44.503202649079199</c:v>
                </c:pt>
                <c:pt idx="546" formatCode="0.0">
                  <c:v>44.352102975185595</c:v>
                </c:pt>
                <c:pt idx="547" formatCode="0.0">
                  <c:v>43.524493964388604</c:v>
                </c:pt>
                <c:pt idx="548" formatCode="0.0">
                  <c:v>44.332302756541807</c:v>
                </c:pt>
                <c:pt idx="549" formatCode="0.0">
                  <c:v>44.639675262959997</c:v>
                </c:pt>
                <c:pt idx="550" formatCode="0.0">
                  <c:v>44.081958474033399</c:v>
                </c:pt>
                <c:pt idx="551" formatCode="0.0">
                  <c:v>45.175392925408502</c:v>
                </c:pt>
                <c:pt idx="552" formatCode="0.0">
                  <c:v>45.072339931808102</c:v>
                </c:pt>
                <c:pt idx="553" formatCode="0.0">
                  <c:v>45.305573198272896</c:v>
                </c:pt>
                <c:pt idx="554" formatCode="0.0">
                  <c:v>46.226360651876803</c:v>
                </c:pt>
                <c:pt idx="555" formatCode="0.0">
                  <c:v>44.413209425287903</c:v>
                </c:pt>
                <c:pt idx="556" formatCode="0.0">
                  <c:v>45.180387499346104</c:v>
                </c:pt>
                <c:pt idx="557" formatCode="0.0">
                  <c:v>45.1057552642147</c:v>
                </c:pt>
                <c:pt idx="558" formatCode="0.0">
                  <c:v>44.5297277159166</c:v>
                </c:pt>
                <c:pt idx="559" formatCode="0.0">
                  <c:v>44.717555593150699</c:v>
                </c:pt>
                <c:pt idx="560" formatCode="0.0">
                  <c:v>46.047495479805704</c:v>
                </c:pt>
                <c:pt idx="561" formatCode="0.0">
                  <c:v>46.689123902856402</c:v>
                </c:pt>
                <c:pt idx="562" formatCode="0.0">
                  <c:v>44.879987124738314</c:v>
                </c:pt>
                <c:pt idx="563" formatCode="0.0">
                  <c:v>43.7178006859249</c:v>
                </c:pt>
                <c:pt idx="564" formatCode="0.0">
                  <c:v>43.864269029272101</c:v>
                </c:pt>
                <c:pt idx="565" formatCode="0.0">
                  <c:v>45.271096562995801</c:v>
                </c:pt>
                <c:pt idx="566" formatCode="0.0">
                  <c:v>44.632533450882306</c:v>
                </c:pt>
                <c:pt idx="567" formatCode="0.0">
                  <c:v>46.739170062003993</c:v>
                </c:pt>
                <c:pt idx="568" formatCode="0.0">
                  <c:v>47.387240676151393</c:v>
                </c:pt>
                <c:pt idx="569" formatCode="0.0">
                  <c:v>45.867637082767203</c:v>
                </c:pt>
                <c:pt idx="570" formatCode="0.0">
                  <c:v>45.904605457761392</c:v>
                </c:pt>
                <c:pt idx="571" formatCode="0.0">
                  <c:v>45.605783916750504</c:v>
                </c:pt>
                <c:pt idx="572" formatCode="0.0">
                  <c:v>46.130255525167598</c:v>
                </c:pt>
                <c:pt idx="573" formatCode="0.0">
                  <c:v>45.380175221736692</c:v>
                </c:pt>
                <c:pt idx="574" formatCode="0.0">
                  <c:v>46.280672034567999</c:v>
                </c:pt>
                <c:pt idx="575" formatCode="0.0">
                  <c:v>45.960628032925001</c:v>
                </c:pt>
                <c:pt idx="576" formatCode="0.0">
                  <c:v>45.681201666078493</c:v>
                </c:pt>
                <c:pt idx="577" formatCode="0.0">
                  <c:v>45.317520836841602</c:v>
                </c:pt>
                <c:pt idx="578" formatCode="0.0">
                  <c:v>43.588393370705496</c:v>
                </c:pt>
                <c:pt idx="579" formatCode="0.0">
                  <c:v>44.342100087775798</c:v>
                </c:pt>
                <c:pt idx="580" formatCode="0.0">
                  <c:v>44.805934611011502</c:v>
                </c:pt>
                <c:pt idx="581" formatCode="0.0">
                  <c:v>45.248472097333803</c:v>
                </c:pt>
                <c:pt idx="582" formatCode="0.0">
                  <c:v>44.794282073409406</c:v>
                </c:pt>
                <c:pt idx="583" formatCode="0.0">
                  <c:v>44.915687675631006</c:v>
                </c:pt>
                <c:pt idx="584" formatCode="0.0">
                  <c:v>44.303834988516897</c:v>
                </c:pt>
                <c:pt idx="585" formatCode="0.0">
                  <c:v>44.407931995633504</c:v>
                </c:pt>
                <c:pt idx="586" formatCode="0.0">
                  <c:v>43.800336732406706</c:v>
                </c:pt>
                <c:pt idx="587" formatCode="0.0">
                  <c:v>44.733604616113503</c:v>
                </c:pt>
                <c:pt idx="588" formatCode="0.0">
                  <c:v>44.739558659060101</c:v>
                </c:pt>
                <c:pt idx="589" formatCode="0.0">
                  <c:v>44.600614367811801</c:v>
                </c:pt>
                <c:pt idx="590" formatCode="0.0">
                  <c:v>44.931907533378904</c:v>
                </c:pt>
                <c:pt idx="591" formatCode="0.0">
                  <c:v>45.379162921741894</c:v>
                </c:pt>
                <c:pt idx="592" formatCode="0.0">
                  <c:v>44.892698868607503</c:v>
                </c:pt>
                <c:pt idx="593" formatCode="0.0">
                  <c:v>45.167397468874704</c:v>
                </c:pt>
                <c:pt idx="594" formatCode="0.0">
                  <c:v>44.887664161324501</c:v>
                </c:pt>
                <c:pt idx="595" formatCode="0.0">
                  <c:v>44.869248109682196</c:v>
                </c:pt>
                <c:pt idx="596" formatCode="0.0">
                  <c:v>45.566486771792</c:v>
                </c:pt>
                <c:pt idx="597" formatCode="0.0">
                  <c:v>45.899628792383098</c:v>
                </c:pt>
                <c:pt idx="598" formatCode="0.0">
                  <c:v>46.663086018052098</c:v>
                </c:pt>
                <c:pt idx="599" formatCode="0.0">
                  <c:v>47.036693556280596</c:v>
                </c:pt>
                <c:pt idx="600" formatCode="0.0">
                  <c:v>46.266960614689594</c:v>
                </c:pt>
                <c:pt idx="601" formatCode="0.0">
                  <c:v>45.872746407235205</c:v>
                </c:pt>
                <c:pt idx="602" formatCode="0.0">
                  <c:v>44.728758926459406</c:v>
                </c:pt>
                <c:pt idx="603" formatCode="0.0">
                  <c:v>45.4593279602812</c:v>
                </c:pt>
                <c:pt idx="604" formatCode="0.0">
                  <c:v>44.995619159880604</c:v>
                </c:pt>
                <c:pt idx="605" formatCode="0.0">
                  <c:v>45.475845731464304</c:v>
                </c:pt>
                <c:pt idx="606" formatCode="0.0">
                  <c:v>45.017196186225299</c:v>
                </c:pt>
                <c:pt idx="607" formatCode="0.0">
                  <c:v>44.325204310742905</c:v>
                </c:pt>
                <c:pt idx="608" formatCode="0.0">
                  <c:v>45.106280966549399</c:v>
                </c:pt>
                <c:pt idx="609" formatCode="0.0">
                  <c:v>44.8330893901284</c:v>
                </c:pt>
                <c:pt idx="610" formatCode="0.0">
                  <c:v>44.5441103354257</c:v>
                </c:pt>
                <c:pt idx="611" formatCode="0.0">
                  <c:v>46.254847396102605</c:v>
                </c:pt>
                <c:pt idx="612" formatCode="0.0">
                  <c:v>46.468759228918898</c:v>
                </c:pt>
                <c:pt idx="613" formatCode="0.0">
                  <c:v>46.090686043602496</c:v>
                </c:pt>
                <c:pt idx="614" formatCode="0.0">
                  <c:v>46.430590086533996</c:v>
                </c:pt>
                <c:pt idx="615" formatCode="0.0">
                  <c:v>46.403657386281402</c:v>
                </c:pt>
                <c:pt idx="616" formatCode="0.0">
                  <c:v>46.259258358679205</c:v>
                </c:pt>
                <c:pt idx="617" formatCode="0.0">
                  <c:v>46.214767350276496</c:v>
                </c:pt>
                <c:pt idx="618" formatCode="0.0">
                  <c:v>46.529501105328904</c:v>
                </c:pt>
                <c:pt idx="619" formatCode="0.0">
                  <c:v>45.123027396674502</c:v>
                </c:pt>
                <c:pt idx="620" formatCode="0.0">
                  <c:v>45.246048429659204</c:v>
                </c:pt>
                <c:pt idx="621" formatCode="0.0">
                  <c:v>45.196929761312703</c:v>
                </c:pt>
                <c:pt idx="622" formatCode="0.0">
                  <c:v>45.653189327459501</c:v>
                </c:pt>
                <c:pt idx="623" formatCode="0.0">
                  <c:v>45.179056985657596</c:v>
                </c:pt>
                <c:pt idx="624" formatCode="0.0">
                  <c:v>45.549390207048397</c:v>
                </c:pt>
                <c:pt idx="625" formatCode="0.0">
                  <c:v>45.438711135210603</c:v>
                </c:pt>
                <c:pt idx="626" formatCode="0.0">
                  <c:v>45.3655985278236</c:v>
                </c:pt>
                <c:pt idx="627" formatCode="0.0">
                  <c:v>45.689068666267104</c:v>
                </c:pt>
                <c:pt idx="628" formatCode="0.0">
                  <c:v>45.308642647832301</c:v>
                </c:pt>
                <c:pt idx="629" formatCode="0.0">
                  <c:v>45.981602065420802</c:v>
                </c:pt>
                <c:pt idx="630" formatCode="0.0">
                  <c:v>45.762978068721992</c:v>
                </c:pt>
                <c:pt idx="631" formatCode="0.0">
                  <c:v>44.306567630720799</c:v>
                </c:pt>
                <c:pt idx="632" formatCode="0.0">
                  <c:v>44.165694199379701</c:v>
                </c:pt>
                <c:pt idx="633" formatCode="0.0">
                  <c:v>44.334633826997198</c:v>
                </c:pt>
                <c:pt idx="634" formatCode="0.0">
                  <c:v>45.103527874250403</c:v>
                </c:pt>
                <c:pt idx="635" formatCode="0.0">
                  <c:v>45.689920599715407</c:v>
                </c:pt>
                <c:pt idx="636" formatCode="0.0">
                  <c:v>45.410040876103601</c:v>
                </c:pt>
                <c:pt idx="637" formatCode="0.0">
                  <c:v>45.674414438119697</c:v>
                </c:pt>
                <c:pt idx="638" formatCode="0.0">
                  <c:v>45.969041636864205</c:v>
                </c:pt>
                <c:pt idx="639" formatCode="0.0">
                  <c:v>45.577148758350397</c:v>
                </c:pt>
                <c:pt idx="640" formatCode="0.0">
                  <c:v>45.670703480825203</c:v>
                </c:pt>
                <c:pt idx="641" formatCode="0.0">
                  <c:v>43.941353733572797</c:v>
                </c:pt>
                <c:pt idx="642" formatCode="0.0">
                  <c:v>0</c:v>
                </c:pt>
                <c:pt idx="643" formatCode="0.0">
                  <c:v>43.608475632798196</c:v>
                </c:pt>
                <c:pt idx="644" formatCode="0.0">
                  <c:v>45.702997618641703</c:v>
                </c:pt>
                <c:pt idx="645" formatCode="0.0">
                  <c:v>46.040196868803406</c:v>
                </c:pt>
                <c:pt idx="646" formatCode="0.0">
                  <c:v>44.623573253146596</c:v>
                </c:pt>
                <c:pt idx="647" formatCode="0.0">
                  <c:v>44.845854223376698</c:v>
                </c:pt>
                <c:pt idx="648" formatCode="0.0">
                  <c:v>45.093207133277602</c:v>
                </c:pt>
                <c:pt idx="649" formatCode="0.0">
                  <c:v>44.7778505053654</c:v>
                </c:pt>
                <c:pt idx="650" formatCode="0.0">
                  <c:v>43.811131472348805</c:v>
                </c:pt>
                <c:pt idx="651" formatCode="0.0">
                  <c:v>45.281391842543997</c:v>
                </c:pt>
                <c:pt idx="652" formatCode="0.0">
                  <c:v>45.353585789818908</c:v>
                </c:pt>
                <c:pt idx="653" formatCode="0.0">
                  <c:v>45.545575044018406</c:v>
                </c:pt>
                <c:pt idx="654" formatCode="0.0">
                  <c:v>45.4434615560629</c:v>
                </c:pt>
                <c:pt idx="655" formatCode="0.0">
                  <c:v>45.750766935992402</c:v>
                </c:pt>
                <c:pt idx="656" formatCode="0.0">
                  <c:v>46.0891774960253</c:v>
                </c:pt>
                <c:pt idx="657" formatCode="0.0">
                  <c:v>45.738639770934398</c:v>
                </c:pt>
                <c:pt idx="658" formatCode="0.0">
                  <c:v>45.935132657947904</c:v>
                </c:pt>
                <c:pt idx="659" formatCode="0.0">
                  <c:v>45.798099899464901</c:v>
                </c:pt>
                <c:pt idx="660" formatCode="0.0">
                  <c:v>45.823396179262403</c:v>
                </c:pt>
                <c:pt idx="661" formatCode="0.0">
                  <c:v>46.184296095631694</c:v>
                </c:pt>
                <c:pt idx="662" formatCode="0.0">
                  <c:v>45.497876032689405</c:v>
                </c:pt>
                <c:pt idx="663" formatCode="0.0">
                  <c:v>46.641949826918804</c:v>
                </c:pt>
                <c:pt idx="664" formatCode="0.0">
                  <c:v>46.220850767514193</c:v>
                </c:pt>
                <c:pt idx="665" formatCode="0.0">
                  <c:v>45.793351625977898</c:v>
                </c:pt>
                <c:pt idx="666" formatCode="0.0">
                  <c:v>46.551155954388705</c:v>
                </c:pt>
                <c:pt idx="667" formatCode="0.0">
                  <c:v>45.038595212694297</c:v>
                </c:pt>
                <c:pt idx="668" formatCode="0.0">
                  <c:v>45.929391156616603</c:v>
                </c:pt>
                <c:pt idx="669" formatCode="0.0">
                  <c:v>46.202300238499802</c:v>
                </c:pt>
                <c:pt idx="670" formatCode="0.0">
                  <c:v>46.354476734208404</c:v>
                </c:pt>
                <c:pt idx="671" formatCode="0.0">
                  <c:v>45.880586283481094</c:v>
                </c:pt>
                <c:pt idx="672" formatCode="0.0">
                  <c:v>44.7611679841133</c:v>
                </c:pt>
                <c:pt idx="673" formatCode="0.0">
                  <c:v>45.3718825092622</c:v>
                </c:pt>
                <c:pt idx="674" formatCode="0.0">
                  <c:v>45.3655787765139</c:v>
                </c:pt>
                <c:pt idx="675" formatCode="0.0">
                  <c:v>44.655255788425102</c:v>
                </c:pt>
                <c:pt idx="676" formatCode="0.0">
                  <c:v>44.603776282393397</c:v>
                </c:pt>
                <c:pt idx="677" formatCode="0.0">
                  <c:v>44.826425188955596</c:v>
                </c:pt>
                <c:pt idx="678" formatCode="0.0">
                  <c:v>45.003650443638904</c:v>
                </c:pt>
                <c:pt idx="679" formatCode="0.0">
                  <c:v>44.129176968701699</c:v>
                </c:pt>
                <c:pt idx="680" formatCode="0.0">
                  <c:v>45.308975812807901</c:v>
                </c:pt>
                <c:pt idx="681" formatCode="0.0">
                  <c:v>45.485051317921901</c:v>
                </c:pt>
                <c:pt idx="682" formatCode="0.0">
                  <c:v>44.702193146055002</c:v>
                </c:pt>
                <c:pt idx="683" formatCode="0.0">
                  <c:v>45.142570740954106</c:v>
                </c:pt>
                <c:pt idx="684" formatCode="0.0">
                  <c:v>45.379346844018798</c:v>
                </c:pt>
                <c:pt idx="685" formatCode="0.0">
                  <c:v>44.373226846364098</c:v>
                </c:pt>
                <c:pt idx="686" formatCode="0.0">
                  <c:v>44.742505785564603</c:v>
                </c:pt>
                <c:pt idx="687" formatCode="0.0">
                  <c:v>44.292034074716504</c:v>
                </c:pt>
                <c:pt idx="688" formatCode="0.0">
                  <c:v>44.582496055540901</c:v>
                </c:pt>
                <c:pt idx="689" formatCode="0.0">
                  <c:v>45.725794416808505</c:v>
                </c:pt>
                <c:pt idx="690" formatCode="0.0">
                  <c:v>45.290206668117499</c:v>
                </c:pt>
                <c:pt idx="691" formatCode="0.0">
                  <c:v>45.100876343388599</c:v>
                </c:pt>
                <c:pt idx="692" formatCode="0.0">
                  <c:v>45.353583784790395</c:v>
                </c:pt>
                <c:pt idx="693" formatCode="0.0">
                  <c:v>45.315281636028502</c:v>
                </c:pt>
                <c:pt idx="694" formatCode="0.0">
                  <c:v>45.801918900493803</c:v>
                </c:pt>
                <c:pt idx="695" formatCode="0.0">
                  <c:v>45.464548815915897</c:v>
                </c:pt>
                <c:pt idx="696" formatCode="0.0">
                  <c:v>45.582594398911596</c:v>
                </c:pt>
                <c:pt idx="697" formatCode="0.0">
                  <c:v>45.479079879745399</c:v>
                </c:pt>
                <c:pt idx="698" formatCode="0.0">
                  <c:v>46.008236828999898</c:v>
                </c:pt>
                <c:pt idx="699" formatCode="0.0">
                  <c:v>46.1375299302074</c:v>
                </c:pt>
                <c:pt idx="700" formatCode="0.0">
                  <c:v>46.402162065530902</c:v>
                </c:pt>
                <c:pt idx="701" formatCode="0.0">
                  <c:v>45.33019097247</c:v>
                </c:pt>
                <c:pt idx="702" formatCode="0.0">
                  <c:v>45.404899869770794</c:v>
                </c:pt>
                <c:pt idx="703" formatCode="0.0">
                  <c:v>45.699610604922604</c:v>
                </c:pt>
                <c:pt idx="704" formatCode="0.0">
                  <c:v>46.150512612512102</c:v>
                </c:pt>
                <c:pt idx="705" formatCode="0.0">
                  <c:v>45.695505570172699</c:v>
                </c:pt>
                <c:pt idx="706" formatCode="0.0">
                  <c:v>45.078218859101398</c:v>
                </c:pt>
                <c:pt idx="707" formatCode="0.0">
                  <c:v>44.791690051189399</c:v>
                </c:pt>
                <c:pt idx="708" formatCode="0.0">
                  <c:v>44.080397382133789</c:v>
                </c:pt>
                <c:pt idx="709" formatCode="0.0">
                  <c:v>44.480544424388597</c:v>
                </c:pt>
                <c:pt idx="710" formatCode="0.0">
                  <c:v>45.138621137519607</c:v>
                </c:pt>
                <c:pt idx="711" formatCode="0.0">
                  <c:v>44.431909968891397</c:v>
                </c:pt>
                <c:pt idx="712" formatCode="0.0">
                  <c:v>43.805572578012004</c:v>
                </c:pt>
                <c:pt idx="713" formatCode="0.0">
                  <c:v>44.687529413382599</c:v>
                </c:pt>
                <c:pt idx="714" formatCode="0.0">
                  <c:v>44.688513828195099</c:v>
                </c:pt>
                <c:pt idx="715" formatCode="0.0">
                  <c:v>44.496734494361299</c:v>
                </c:pt>
                <c:pt idx="716" formatCode="0.0">
                  <c:v>44.041650168483002</c:v>
                </c:pt>
                <c:pt idx="717" formatCode="0.0">
                  <c:v>44.034798950719704</c:v>
                </c:pt>
                <c:pt idx="718" formatCode="0.0">
                  <c:v>44.218499078355606</c:v>
                </c:pt>
                <c:pt idx="719" formatCode="0.0">
                  <c:v>44.569439644232205</c:v>
                </c:pt>
                <c:pt idx="720" formatCode="0.0">
                  <c:v>45.496355837970199</c:v>
                </c:pt>
                <c:pt idx="721" formatCode="0.0">
                  <c:v>46.094891067333101</c:v>
                </c:pt>
                <c:pt idx="722" formatCode="0.0">
                  <c:v>44.591626227561001</c:v>
                </c:pt>
                <c:pt idx="723" formatCode="0.0">
                  <c:v>45.956781755358698</c:v>
                </c:pt>
                <c:pt idx="724" formatCode="0.0">
                  <c:v>43.918143539288302</c:v>
                </c:pt>
                <c:pt idx="725" formatCode="0.0">
                  <c:v>41.088027979824496</c:v>
                </c:pt>
                <c:pt idx="726" formatCode="General">
                  <c:v>44.465596882350702</c:v>
                </c:pt>
                <c:pt idx="727" formatCode="General">
                  <c:v>45.271258365811001</c:v>
                </c:pt>
                <c:pt idx="728" formatCode="General">
                  <c:v>44.734354910957599</c:v>
                </c:pt>
                <c:pt idx="729" formatCode="General">
                  <c:v>43.562973946795296</c:v>
                </c:pt>
                <c:pt idx="730">
                  <c:v>44.533855043473096</c:v>
                </c:pt>
                <c:pt idx="731">
                  <c:v>44.830281227744621</c:v>
                </c:pt>
                <c:pt idx="732">
                  <c:v>44.696334697704998</c:v>
                </c:pt>
                <c:pt idx="733">
                  <c:v>44.780260320847546</c:v>
                </c:pt>
                <c:pt idx="734">
                  <c:v>45.23918321441257</c:v>
                </c:pt>
                <c:pt idx="735">
                  <c:v>44.674370210938086</c:v>
                </c:pt>
                <c:pt idx="736">
                  <c:v>45.974094557092322</c:v>
                </c:pt>
                <c:pt idx="737">
                  <c:v>45.57295361302959</c:v>
                </c:pt>
                <c:pt idx="738">
                  <c:v>46.089568911323731</c:v>
                </c:pt>
                <c:pt idx="739">
                  <c:v>45.781379254188437</c:v>
                </c:pt>
                <c:pt idx="740">
                  <c:v>45.354644357774163</c:v>
                </c:pt>
                <c:pt idx="741">
                  <c:v>44.961236742079329</c:v>
                </c:pt>
                <c:pt idx="742">
                  <c:v>45.697606204014001</c:v>
                </c:pt>
                <c:pt idx="743">
                  <c:v>44.386097952327376</c:v>
                </c:pt>
                <c:pt idx="744">
                  <c:v>44.067327009277911</c:v>
                </c:pt>
                <c:pt idx="745">
                  <c:v>43.759243448030261</c:v>
                </c:pt>
                <c:pt idx="746">
                  <c:v>44.279019762488041</c:v>
                </c:pt>
                <c:pt idx="747">
                  <c:v>44.132327082417994</c:v>
                </c:pt>
                <c:pt idx="748">
                  <c:v>44.692019493827132</c:v>
                </c:pt>
                <c:pt idx="749">
                  <c:v>43.898087301140293</c:v>
                </c:pt>
                <c:pt idx="750">
                  <c:v>43.626064568402576</c:v>
                </c:pt>
                <c:pt idx="751">
                  <c:v>44.247016631098283</c:v>
                </c:pt>
                <c:pt idx="752">
                  <c:v>45.770331037960197</c:v>
                </c:pt>
                <c:pt idx="753">
                  <c:v>44.996503386255455</c:v>
                </c:pt>
                <c:pt idx="754">
                  <c:v>45.220261463508074</c:v>
                </c:pt>
                <c:pt idx="755">
                  <c:v>45.989133814572867</c:v>
                </c:pt>
                <c:pt idx="756">
                  <c:v>43.734074606633023</c:v>
                </c:pt>
                <c:pt idx="757">
                  <c:v>45.082053373460568</c:v>
                </c:pt>
                <c:pt idx="758">
                  <c:v>46.861459935715757</c:v>
                </c:pt>
                <c:pt idx="759">
                  <c:v>45.783818057102543</c:v>
                </c:pt>
                <c:pt idx="760">
                  <c:v>46.958116542993046</c:v>
                </c:pt>
                <c:pt idx="761">
                  <c:v>46.324937922543484</c:v>
                </c:pt>
                <c:pt idx="762">
                  <c:v>45.453223240299437</c:v>
                </c:pt>
                <c:pt idx="763">
                  <c:v>44.030988701432669</c:v>
                </c:pt>
                <c:pt idx="764">
                  <c:v>45.126579192499619</c:v>
                </c:pt>
                <c:pt idx="765">
                  <c:v>45.498969613996458</c:v>
                </c:pt>
                <c:pt idx="766">
                  <c:v>44.877898825648231</c:v>
                </c:pt>
                <c:pt idx="767">
                  <c:v>44.298960399475561</c:v>
                </c:pt>
                <c:pt idx="768">
                  <c:v>44.106087515281224</c:v>
                </c:pt>
                <c:pt idx="769">
                  <c:v>45.265528368879274</c:v>
                </c:pt>
                <c:pt idx="770">
                  <c:v>44.015974951664617</c:v>
                </c:pt>
                <c:pt idx="771">
                  <c:v>44.939950966712061</c:v>
                </c:pt>
                <c:pt idx="772">
                  <c:v>45.251310895388514</c:v>
                </c:pt>
                <c:pt idx="773">
                  <c:v>45.026383163041004</c:v>
                </c:pt>
                <c:pt idx="774">
                  <c:v>45.166271682047416</c:v>
                </c:pt>
                <c:pt idx="775">
                  <c:v>44.97382459501403</c:v>
                </c:pt>
                <c:pt idx="776">
                  <c:v>45.469087337733257</c:v>
                </c:pt>
                <c:pt idx="777">
                  <c:v>46.361142836733663</c:v>
                </c:pt>
                <c:pt idx="778">
                  <c:v>44.089010173745081</c:v>
                </c:pt>
                <c:pt idx="779">
                  <c:v>43.827671597501123</c:v>
                </c:pt>
                <c:pt idx="780">
                  <c:v>44.182629941549678</c:v>
                </c:pt>
                <c:pt idx="781">
                  <c:v>44.226677849472509</c:v>
                </c:pt>
                <c:pt idx="782">
                  <c:v>45.052618586870764</c:v>
                </c:pt>
                <c:pt idx="783">
                  <c:v>45.512073468744205</c:v>
                </c:pt>
                <c:pt idx="784">
                  <c:v>45.606674788021628</c:v>
                </c:pt>
                <c:pt idx="785">
                  <c:v>44.017829382923438</c:v>
                </c:pt>
                <c:pt idx="786">
                  <c:v>45.467524283396294</c:v>
                </c:pt>
                <c:pt idx="787">
                  <c:v>45.504496006560245</c:v>
                </c:pt>
                <c:pt idx="788">
                  <c:v>45.118479022479924</c:v>
                </c:pt>
                <c:pt idx="789">
                  <c:v>44.937155398600133</c:v>
                </c:pt>
                <c:pt idx="790">
                  <c:v>44.866136214033965</c:v>
                </c:pt>
                <c:pt idx="791">
                  <c:v>44.378288337490879</c:v>
                </c:pt>
                <c:pt idx="792">
                  <c:v>44.407470342544819</c:v>
                </c:pt>
                <c:pt idx="793">
                  <c:v>45.481084656772879</c:v>
                </c:pt>
                <c:pt idx="794">
                  <c:v>45.489739164273409</c:v>
                </c:pt>
                <c:pt idx="795">
                  <c:v>45.625992069199548</c:v>
                </c:pt>
                <c:pt idx="796">
                  <c:v>45.213710996318007</c:v>
                </c:pt>
                <c:pt idx="797">
                  <c:v>44.581783417085454</c:v>
                </c:pt>
                <c:pt idx="798">
                  <c:v>44.935970764198629</c:v>
                </c:pt>
                <c:pt idx="799">
                  <c:v>45.29329989083589</c:v>
                </c:pt>
                <c:pt idx="800">
                  <c:v>45.433292450221728</c:v>
                </c:pt>
                <c:pt idx="801">
                  <c:v>45.313975832861772</c:v>
                </c:pt>
                <c:pt idx="802">
                  <c:v>45.292951244042008</c:v>
                </c:pt>
                <c:pt idx="803">
                  <c:v>43.876736045386821</c:v>
                </c:pt>
                <c:pt idx="804">
                  <c:v>44.871767285759184</c:v>
                </c:pt>
                <c:pt idx="805">
                  <c:v>45.184775512511862</c:v>
                </c:pt>
                <c:pt idx="806">
                  <c:v>45.619630131101246</c:v>
                </c:pt>
                <c:pt idx="807">
                  <c:v>46.370913247460813</c:v>
                </c:pt>
                <c:pt idx="808">
                  <c:v>46.17829553853484</c:v>
                </c:pt>
                <c:pt idx="809">
                  <c:v>44.480519932431839</c:v>
                </c:pt>
                <c:pt idx="810">
                  <c:v>43.938661251271405</c:v>
                </c:pt>
                <c:pt idx="811">
                  <c:v>45.009319794202966</c:v>
                </c:pt>
                <c:pt idx="812">
                  <c:v>45.157595906999219</c:v>
                </c:pt>
                <c:pt idx="813">
                  <c:v>44.854670655832038</c:v>
                </c:pt>
                <c:pt idx="814">
                  <c:v>45.116239363557469</c:v>
                </c:pt>
                <c:pt idx="815">
                  <c:v>45.482040875647428</c:v>
                </c:pt>
                <c:pt idx="816">
                  <c:v>45.256446885051318</c:v>
                </c:pt>
                <c:pt idx="817">
                  <c:v>45.618973497277352</c:v>
                </c:pt>
                <c:pt idx="818">
                  <c:v>45.847520765423546</c:v>
                </c:pt>
                <c:pt idx="819">
                  <c:v>45.556164323252126</c:v>
                </c:pt>
                <c:pt idx="820">
                  <c:v>45.496228157597912</c:v>
                </c:pt>
                <c:pt idx="821">
                  <c:v>46.061839983540679</c:v>
                </c:pt>
                <c:pt idx="822">
                  <c:v>45.914229940899077</c:v>
                </c:pt>
                <c:pt idx="823">
                  <c:v>45.825385332633175</c:v>
                </c:pt>
                <c:pt idx="824" formatCode="0.0">
                  <c:v>45.323554625151026</c:v>
                </c:pt>
                <c:pt idx="825" formatCode="0.0">
                  <c:v>45.081750949513989</c:v>
                </c:pt>
                <c:pt idx="826" formatCode="0.0">
                  <c:v>45.767380172480465</c:v>
                </c:pt>
                <c:pt idx="827" formatCode="0.0">
                  <c:v>46.249569882718077</c:v>
                </c:pt>
                <c:pt idx="828" formatCode="0.0">
                  <c:v>45.590284126935202</c:v>
                </c:pt>
                <c:pt idx="829" formatCode="0.0">
                  <c:v>46.257788360549974</c:v>
                </c:pt>
                <c:pt idx="830" formatCode="0.0">
                  <c:v>45.699571554233515</c:v>
                </c:pt>
                <c:pt idx="831" formatCode="0.0">
                  <c:v>45.865208571968459</c:v>
                </c:pt>
                <c:pt idx="832" formatCode="0.0">
                  <c:v>46.317512245223767</c:v>
                </c:pt>
                <c:pt idx="833" formatCode="0.0">
                  <c:v>44.780300989146767</c:v>
                </c:pt>
                <c:pt idx="834" formatCode="0.0">
                  <c:v>43.975972537082804</c:v>
                </c:pt>
                <c:pt idx="835" formatCode="0.0">
                  <c:v>44.073726552443858</c:v>
                </c:pt>
                <c:pt idx="836" formatCode="0.0">
                  <c:v>43.415845529924688</c:v>
                </c:pt>
                <c:pt idx="837" formatCode="0.0">
                  <c:v>44.170511471014272</c:v>
                </c:pt>
                <c:pt idx="838" formatCode="0.0">
                  <c:v>44.446159013331517</c:v>
                </c:pt>
                <c:pt idx="839" formatCode="0.0">
                  <c:v>44.312307334062638</c:v>
                </c:pt>
                <c:pt idx="840" formatCode="0.0">
                  <c:v>45.571223516141742</c:v>
                </c:pt>
                <c:pt idx="841" formatCode="0.0">
                  <c:v>46.259640160552131</c:v>
                </c:pt>
                <c:pt idx="842" formatCode="0.0">
                  <c:v>46.427487576192078</c:v>
                </c:pt>
                <c:pt idx="843" formatCode="0.0">
                  <c:v>45.046104343017284</c:v>
                </c:pt>
                <c:pt idx="844" formatCode="0.0">
                  <c:v>43.825543684985206</c:v>
                </c:pt>
                <c:pt idx="845" formatCode="0.0">
                  <c:v>44.921502466240526</c:v>
                </c:pt>
                <c:pt idx="846" formatCode="0.0">
                  <c:v>44.706357348443085</c:v>
                </c:pt>
                <c:pt idx="847" formatCode="0.0">
                  <c:v>44.159734592298705</c:v>
                </c:pt>
                <c:pt idx="848" formatCode="0.0">
                  <c:v>44.560160328721039</c:v>
                </c:pt>
                <c:pt idx="849" formatCode="0.0">
                  <c:v>44.27993444768444</c:v>
                </c:pt>
                <c:pt idx="850" formatCode="0.0">
                  <c:v>43.468530007349806</c:v>
                </c:pt>
                <c:pt idx="851" formatCode="0.0">
                  <c:v>45.700119831918869</c:v>
                </c:pt>
                <c:pt idx="852" formatCode="0.0">
                  <c:v>45.606849859795979</c:v>
                </c:pt>
                <c:pt idx="853" formatCode="0.0">
                  <c:v>46.062387109256079</c:v>
                </c:pt>
                <c:pt idx="854" formatCode="0.0">
                  <c:v>44.626897792544753</c:v>
                </c:pt>
                <c:pt idx="855" formatCode="0.0">
                  <c:v>45.139089493657721</c:v>
                </c:pt>
                <c:pt idx="856" formatCode="0.0">
                  <c:v>45.125529573175243</c:v>
                </c:pt>
                <c:pt idx="857" formatCode="0.0">
                  <c:v>43.796358899315521</c:v>
                </c:pt>
                <c:pt idx="858" formatCode="0.0">
                  <c:v>43.770799609633031</c:v>
                </c:pt>
                <c:pt idx="859" formatCode="0.0">
                  <c:v>44.013487317005925</c:v>
                </c:pt>
                <c:pt idx="860" formatCode="0.0">
                  <c:v>43.285923916341901</c:v>
                </c:pt>
                <c:pt idx="861" formatCode="0.0">
                  <c:v>42.497952726506476</c:v>
                </c:pt>
                <c:pt idx="862" formatCode="0.0">
                  <c:v>44.299457077656548</c:v>
                </c:pt>
                <c:pt idx="863" formatCode="0.0">
                  <c:v>45.70786498858142</c:v>
                </c:pt>
                <c:pt idx="864" formatCode="0.0">
                  <c:v>45.699352461654222</c:v>
                </c:pt>
                <c:pt idx="865" formatCode="0.0">
                  <c:v>44.426591506144305</c:v>
                </c:pt>
                <c:pt idx="866" formatCode="0.0">
                  <c:v>45.72198123709812</c:v>
                </c:pt>
                <c:pt idx="867" formatCode="0.0">
                  <c:v>46.489322042772436</c:v>
                </c:pt>
                <c:pt idx="868" formatCode="0.0">
                  <c:v>46.829790966652652</c:v>
                </c:pt>
                <c:pt idx="869" formatCode="0.0">
                  <c:v>46.424173303548429</c:v>
                </c:pt>
                <c:pt idx="870" formatCode="0.0">
                  <c:v>46.176960802927482</c:v>
                </c:pt>
                <c:pt idx="871" formatCode="0.0">
                  <c:v>46.146571773252205</c:v>
                </c:pt>
                <c:pt idx="872" formatCode="0.0">
                  <c:v>46.831356211008355</c:v>
                </c:pt>
                <c:pt idx="873" formatCode="0.0">
                  <c:v>46.352399603527473</c:v>
                </c:pt>
                <c:pt idx="874" formatCode="0.0">
                  <c:v>46.683449037948755</c:v>
                </c:pt>
                <c:pt idx="875" formatCode="0.0">
                  <c:v>46.906862419802906</c:v>
                </c:pt>
                <c:pt idx="876" formatCode="0.0">
                  <c:v>46.537827710621194</c:v>
                </c:pt>
                <c:pt idx="877" formatCode="0.0">
                  <c:v>46.883755937542553</c:v>
                </c:pt>
                <c:pt idx="878" formatCode="0.0">
                  <c:v>46.983863663572777</c:v>
                </c:pt>
                <c:pt idx="879" formatCode="0.0">
                  <c:v>46.493905883277975</c:v>
                </c:pt>
                <c:pt idx="880" formatCode="0.0">
                  <c:v>45.484238515332656</c:v>
                </c:pt>
                <c:pt idx="881" formatCode="0.0">
                  <c:v>45.464600041246769</c:v>
                </c:pt>
                <c:pt idx="882" formatCode="0.0">
                  <c:v>46.299918573978324</c:v>
                </c:pt>
                <c:pt idx="883" formatCode="0.0">
                  <c:v>45.922546732790408</c:v>
                </c:pt>
                <c:pt idx="884" formatCode="0.0">
                  <c:v>45.836003070880729</c:v>
                </c:pt>
                <c:pt idx="885" formatCode="0.0">
                  <c:v>46.000192992322653</c:v>
                </c:pt>
                <c:pt idx="886" formatCode="0.0">
                  <c:v>46.184759918370197</c:v>
                </c:pt>
                <c:pt idx="887" formatCode="0.0">
                  <c:v>46.245350657527439</c:v>
                </c:pt>
                <c:pt idx="888" formatCode="0.0">
                  <c:v>46.230860623086343</c:v>
                </c:pt>
                <c:pt idx="889" formatCode="0.0">
                  <c:v>45.411458329342196</c:v>
                </c:pt>
                <c:pt idx="890" formatCode="0.0">
                  <c:v>45.411458329342196</c:v>
                </c:pt>
                <c:pt idx="891" formatCode="0.0">
                  <c:v>46.473693383663132</c:v>
                </c:pt>
                <c:pt idx="892" formatCode="0.0">
                  <c:v>45.204984120011588</c:v>
                </c:pt>
                <c:pt idx="893" formatCode="0.0">
                  <c:v>46.300406312753537</c:v>
                </c:pt>
                <c:pt idx="894" formatCode="0.0">
                  <c:v>45.818588309409577</c:v>
                </c:pt>
                <c:pt idx="895" formatCode="0.0">
                  <c:v>45.865432151622485</c:v>
                </c:pt>
                <c:pt idx="896" formatCode="0.0">
                  <c:v>46.427870263959804</c:v>
                </c:pt>
                <c:pt idx="897" formatCode="0.0">
                  <c:v>45.708032331625638</c:v>
                </c:pt>
                <c:pt idx="898" formatCode="0.0">
                  <c:v>45.799325212320454</c:v>
                </c:pt>
                <c:pt idx="899" formatCode="0.0">
                  <c:v>44.837134237411014</c:v>
                </c:pt>
                <c:pt idx="900" formatCode="0.0">
                  <c:v>44.255259211572316</c:v>
                </c:pt>
                <c:pt idx="901" formatCode="0.0">
                  <c:v>45.113734369726259</c:v>
                </c:pt>
                <c:pt idx="902" formatCode="0.0">
                  <c:v>45.465561650845878</c:v>
                </c:pt>
                <c:pt idx="903" formatCode="0.0">
                  <c:v>46.044457764673538</c:v>
                </c:pt>
                <c:pt idx="904" formatCode="0.0">
                  <c:v>45.30905806251095</c:v>
                </c:pt>
                <c:pt idx="905" formatCode="0.0">
                  <c:v>44.997210497834608</c:v>
                </c:pt>
                <c:pt idx="906" formatCode="0.0">
                  <c:v>43.864366704626796</c:v>
                </c:pt>
                <c:pt idx="907" formatCode="0.0">
                  <c:v>43.805223942672356</c:v>
                </c:pt>
                <c:pt idx="908" formatCode="0.0">
                  <c:v>45.588370327590667</c:v>
                </c:pt>
                <c:pt idx="909" formatCode="0.0">
                  <c:v>47.046445252057261</c:v>
                </c:pt>
                <c:pt idx="910" formatCode="0.0">
                  <c:v>47.1769139514263</c:v>
                </c:pt>
                <c:pt idx="911" formatCode="0.0">
                  <c:v>46.418772424526054</c:v>
                </c:pt>
                <c:pt idx="912" formatCode="0.0">
                  <c:v>46.256860089676877</c:v>
                </c:pt>
                <c:pt idx="913" formatCode="0.0">
                  <c:v>46.755449672514722</c:v>
                </c:pt>
                <c:pt idx="914" formatCode="0.0">
                  <c:v>46.980966514338775</c:v>
                </c:pt>
                <c:pt idx="915" formatCode="0.0">
                  <c:v>46.383153168720341</c:v>
                </c:pt>
                <c:pt idx="916" formatCode="0.0">
                  <c:v>46.383153168720341</c:v>
                </c:pt>
                <c:pt idx="917" formatCode="0.0">
                  <c:v>45.538835960757766</c:v>
                </c:pt>
                <c:pt idx="918" formatCode="0.0">
                  <c:v>45.110289199189452</c:v>
                </c:pt>
                <c:pt idx="919" formatCode="0.0">
                  <c:v>45.125932541902365</c:v>
                </c:pt>
                <c:pt idx="920" formatCode="0.0">
                  <c:v>46.371683102816419</c:v>
                </c:pt>
                <c:pt idx="921" formatCode="0.0">
                  <c:v>45.41953093195778</c:v>
                </c:pt>
                <c:pt idx="922" formatCode="0.0">
                  <c:v>45.876749662044887</c:v>
                </c:pt>
                <c:pt idx="923" formatCode="0.0">
                  <c:v>46.36287246937141</c:v>
                </c:pt>
                <c:pt idx="924" formatCode="0.0">
                  <c:v>46.200113741358152</c:v>
                </c:pt>
                <c:pt idx="925" formatCode="0.0">
                  <c:v>46.258471029913608</c:v>
                </c:pt>
                <c:pt idx="926" formatCode="0.0">
                  <c:v>46.125681181481596</c:v>
                </c:pt>
                <c:pt idx="927" formatCode="0.0">
                  <c:v>46.125681181481596</c:v>
                </c:pt>
                <c:pt idx="928" formatCode="0.0">
                  <c:v>46.186245044948407</c:v>
                </c:pt>
                <c:pt idx="929" formatCode="0.0">
                  <c:v>45.765162024389447</c:v>
                </c:pt>
                <c:pt idx="930" formatCode="0.0">
                  <c:v>45.489256587510205</c:v>
                </c:pt>
                <c:pt idx="931" formatCode="0.0">
                  <c:v>45.874718089492987</c:v>
                </c:pt>
                <c:pt idx="932" formatCode="0.0">
                  <c:v>46.017646670871613</c:v>
                </c:pt>
                <c:pt idx="933" formatCode="0.0">
                  <c:v>46.082160871206952</c:v>
                </c:pt>
                <c:pt idx="934" formatCode="0.0">
                  <c:v>46.002939474750725</c:v>
                </c:pt>
                <c:pt idx="935" formatCode="0.0">
                  <c:v>46.054174750547773</c:v>
                </c:pt>
                <c:pt idx="936" formatCode="0.0">
                  <c:v>46.335584648125689</c:v>
                </c:pt>
                <c:pt idx="937" formatCode="0.0">
                  <c:v>46.572124891861549</c:v>
                </c:pt>
                <c:pt idx="938" formatCode="0.0">
                  <c:v>45.926076486285112</c:v>
                </c:pt>
                <c:pt idx="939" formatCode="0.0">
                  <c:v>46.22315252851714</c:v>
                </c:pt>
                <c:pt idx="940" formatCode="0.0">
                  <c:v>45.188351370301291</c:v>
                </c:pt>
                <c:pt idx="941" formatCode="0.0">
                  <c:v>45.006154654606661</c:v>
                </c:pt>
                <c:pt idx="942" formatCode="0.0">
                  <c:v>45.982298509041925</c:v>
                </c:pt>
                <c:pt idx="943" formatCode="0.0">
                  <c:v>44.755801501462201</c:v>
                </c:pt>
                <c:pt idx="944" formatCode="0.0">
                  <c:v>45.38105796343882</c:v>
                </c:pt>
                <c:pt idx="945" formatCode="0.0">
                  <c:v>46.290984287585736</c:v>
                </c:pt>
                <c:pt idx="946" formatCode="0.0">
                  <c:v>46.374539823588165</c:v>
                </c:pt>
                <c:pt idx="947" formatCode="0.0">
                  <c:v>46.29299543550944</c:v>
                </c:pt>
                <c:pt idx="948" formatCode="0.0">
                  <c:v>46.287898858410372</c:v>
                </c:pt>
                <c:pt idx="949" formatCode="0.0">
                  <c:v>46.404782030671043</c:v>
                </c:pt>
                <c:pt idx="950" formatCode="0.0">
                  <c:v>46.415590315811627</c:v>
                </c:pt>
                <c:pt idx="951" formatCode="0.0">
                  <c:v>46.203631182347863</c:v>
                </c:pt>
                <c:pt idx="952" formatCode="0.0">
                  <c:v>46.393328004507133</c:v>
                </c:pt>
                <c:pt idx="953" formatCode="0.0">
                  <c:v>45.935058872670737</c:v>
                </c:pt>
                <c:pt idx="954" formatCode="0.0">
                  <c:v>46.351980894941072</c:v>
                </c:pt>
                <c:pt idx="955" formatCode="0.0">
                  <c:v>46.114233763959078</c:v>
                </c:pt>
                <c:pt idx="956" formatCode="0.0">
                  <c:v>43.94202813183658</c:v>
                </c:pt>
                <c:pt idx="957" formatCode="0.0">
                  <c:v>46.315445880882969</c:v>
                </c:pt>
                <c:pt idx="958" formatCode="0.0">
                  <c:v>45.963116542819968</c:v>
                </c:pt>
                <c:pt idx="959" formatCode="0.0">
                  <c:v>45.943788279312642</c:v>
                </c:pt>
                <c:pt idx="960" formatCode="0.0">
                  <c:v>45.997770795775068</c:v>
                </c:pt>
                <c:pt idx="961" formatCode="0.0">
                  <c:v>45.430004219347317</c:v>
                </c:pt>
                <c:pt idx="962" formatCode="0.0">
                  <c:v>46.02072534976044</c:v>
                </c:pt>
                <c:pt idx="963" formatCode="0.0">
                  <c:v>46.823463022725377</c:v>
                </c:pt>
                <c:pt idx="964" formatCode="0.0">
                  <c:v>45.656349271554532</c:v>
                </c:pt>
                <c:pt idx="965" formatCode="0.0">
                  <c:v>46.562615587552202</c:v>
                </c:pt>
                <c:pt idx="966" formatCode="0.0">
                  <c:v>45.891861277258606</c:v>
                </c:pt>
                <c:pt idx="967" formatCode="0.0">
                  <c:v>46.216360875424201</c:v>
                </c:pt>
                <c:pt idx="968" formatCode="0.0">
                  <c:v>46.27352745572675</c:v>
                </c:pt>
                <c:pt idx="969" formatCode="0.0">
                  <c:v>46.274970307992675</c:v>
                </c:pt>
                <c:pt idx="970" formatCode="0.0">
                  <c:v>46.336599350875218</c:v>
                </c:pt>
                <c:pt idx="971" formatCode="0.0">
                  <c:v>46.410445297012011</c:v>
                </c:pt>
                <c:pt idx="972" formatCode="0.0">
                  <c:v>46.144409865714394</c:v>
                </c:pt>
                <c:pt idx="973" formatCode="0.0">
                  <c:v>46.026010190840054</c:v>
                </c:pt>
                <c:pt idx="974" formatCode="0.0">
                  <c:v>46.328423142244645</c:v>
                </c:pt>
                <c:pt idx="975" formatCode="0.0">
                  <c:v>46.488544755976008</c:v>
                </c:pt>
                <c:pt idx="976" formatCode="0.0">
                  <c:v>46.192320657605137</c:v>
                </c:pt>
                <c:pt idx="977" formatCode="0.0">
                  <c:v>45.783097025918053</c:v>
                </c:pt>
                <c:pt idx="978" formatCode="0.0">
                  <c:v>46.380218630894099</c:v>
                </c:pt>
                <c:pt idx="979" formatCode="0.0">
                  <c:v>46.447319085265313</c:v>
                </c:pt>
                <c:pt idx="980" formatCode="0.0">
                  <c:v>46.468575511973675</c:v>
                </c:pt>
                <c:pt idx="981" formatCode="0.0">
                  <c:v>47.020576503511869</c:v>
                </c:pt>
                <c:pt idx="982" formatCode="0.0">
                  <c:v>46.761736866983377</c:v>
                </c:pt>
                <c:pt idx="983" formatCode="0.0">
                  <c:v>46.110799934355462</c:v>
                </c:pt>
                <c:pt idx="984" formatCode="0.0">
                  <c:v>46.373001106647777</c:v>
                </c:pt>
                <c:pt idx="985" formatCode="0.0">
                  <c:v>46.622512886787035</c:v>
                </c:pt>
                <c:pt idx="986" formatCode="0.0">
                  <c:v>45.984181700651696</c:v>
                </c:pt>
                <c:pt idx="987" formatCode="0.0">
                  <c:v>45.836834364189933</c:v>
                </c:pt>
                <c:pt idx="988" formatCode="0.0">
                  <c:v>45.600881460081155</c:v>
                </c:pt>
                <c:pt idx="989" formatCode="0.0">
                  <c:v>45.611558084893282</c:v>
                </c:pt>
                <c:pt idx="990" formatCode="0.0">
                  <c:v>46.371084561855284</c:v>
                </c:pt>
                <c:pt idx="991" formatCode="0.0">
                  <c:v>46.649949582407579</c:v>
                </c:pt>
                <c:pt idx="992" formatCode="0.0">
                  <c:v>46.978642315885928</c:v>
                </c:pt>
                <c:pt idx="993" formatCode="0.0">
                  <c:v>47.070686137409901</c:v>
                </c:pt>
                <c:pt idx="994" formatCode="0.0">
                  <c:v>46.458908054096703</c:v>
                </c:pt>
                <c:pt idx="995" formatCode="0.0">
                  <c:v>46.409505987830435</c:v>
                </c:pt>
                <c:pt idx="996" formatCode="0.0">
                  <c:v>46.208214552794416</c:v>
                </c:pt>
                <c:pt idx="997" formatCode="0.0">
                  <c:v>45.307666765580841</c:v>
                </c:pt>
                <c:pt idx="998" formatCode="0.0">
                  <c:v>46.641806357069022</c:v>
                </c:pt>
                <c:pt idx="999" formatCode="0.0">
                  <c:v>47.088430965432394</c:v>
                </c:pt>
                <c:pt idx="1000" formatCode="0.0">
                  <c:v>46.957247989283772</c:v>
                </c:pt>
                <c:pt idx="1001" formatCode="0.0">
                  <c:v>46.1691327039999</c:v>
                </c:pt>
                <c:pt idx="1002" formatCode="0.0">
                  <c:v>46.300765792190717</c:v>
                </c:pt>
                <c:pt idx="1003" formatCode="0.0">
                  <c:v>46.579017827607871</c:v>
                </c:pt>
                <c:pt idx="1004" formatCode="0.0">
                  <c:v>46.725269403782228</c:v>
                </c:pt>
                <c:pt idx="1005" formatCode="0.0">
                  <c:v>46.547593419179343</c:v>
                </c:pt>
                <c:pt idx="1006" formatCode="0.0">
                  <c:v>46.584523397227116</c:v>
                </c:pt>
                <c:pt idx="1007" formatCode="0.0">
                  <c:v>46.08008718477835</c:v>
                </c:pt>
                <c:pt idx="1008" formatCode="0.0">
                  <c:v>46.016481320780144</c:v>
                </c:pt>
                <c:pt idx="1009" formatCode="0.0">
                  <c:v>46.867417638838511</c:v>
                </c:pt>
                <c:pt idx="1010" formatCode="0.0">
                  <c:v>46.509558999024811</c:v>
                </c:pt>
                <c:pt idx="1011" formatCode="0.0">
                  <c:v>46.226986966580498</c:v>
                </c:pt>
                <c:pt idx="1012" formatCode="0.0">
                  <c:v>46.369544691718502</c:v>
                </c:pt>
                <c:pt idx="1013" formatCode="0.0">
                  <c:v>46.383356372933548</c:v>
                </c:pt>
                <c:pt idx="1014" formatCode="0.0">
                  <c:v>46.314732506641796</c:v>
                </c:pt>
                <c:pt idx="1015" formatCode="0.0">
                  <c:v>46.34855202019304</c:v>
                </c:pt>
                <c:pt idx="1016" formatCode="0.0">
                  <c:v>45.791157394752879</c:v>
                </c:pt>
                <c:pt idx="1017" formatCode="0.0">
                  <c:v>45.533470474712857</c:v>
                </c:pt>
                <c:pt idx="1018" formatCode="0.0">
                  <c:v>46.410793784059649</c:v>
                </c:pt>
                <c:pt idx="1019" formatCode="0.0">
                  <c:v>45.669514257773798</c:v>
                </c:pt>
                <c:pt idx="1020" formatCode="0.0">
                  <c:v>45.251479816122014</c:v>
                </c:pt>
                <c:pt idx="1021" formatCode="0.0">
                  <c:v>46.396356202425686</c:v>
                </c:pt>
                <c:pt idx="1022" formatCode="0.0">
                  <c:v>46.898358679233965</c:v>
                </c:pt>
                <c:pt idx="1023" formatCode="0.0">
                  <c:v>46.469377543530101</c:v>
                </c:pt>
                <c:pt idx="1024" formatCode="0.0">
                  <c:v>46.485853168937183</c:v>
                </c:pt>
                <c:pt idx="1025" formatCode="0.0">
                  <c:v>46.937590251212335</c:v>
                </c:pt>
                <c:pt idx="1026" formatCode="General">
                  <c:v>45.720574539287242</c:v>
                </c:pt>
                <c:pt idx="1027">
                  <c:v>45.958461891026765</c:v>
                </c:pt>
                <c:pt idx="1028">
                  <c:v>46.433468444391551</c:v>
                </c:pt>
                <c:pt idx="1029">
                  <c:v>46.765911317187275</c:v>
                </c:pt>
                <c:pt idx="1030">
                  <c:v>44.476272804922949</c:v>
                </c:pt>
                <c:pt idx="1031" formatCode="General">
                  <c:v>43.791123568790383</c:v>
                </c:pt>
                <c:pt idx="1032" formatCode="0.0">
                  <c:v>46.411392067420792</c:v>
                </c:pt>
                <c:pt idx="1033" formatCode="0.0">
                  <c:v>45.894755954035887</c:v>
                </c:pt>
                <c:pt idx="1034" formatCode="General">
                  <c:v>46.140312632746927</c:v>
                </c:pt>
                <c:pt idx="1035" formatCode="General">
                  <c:v>46.388308364625615</c:v>
                </c:pt>
                <c:pt idx="1036" formatCode="0.0">
                  <c:v>46.29401060445354</c:v>
                </c:pt>
                <c:pt idx="1037" formatCode="General">
                  <c:v>46.065234689017593</c:v>
                </c:pt>
                <c:pt idx="1038" formatCode="General">
                  <c:v>45.003466449551574</c:v>
                </c:pt>
                <c:pt idx="1039">
                  <c:v>45.672399603956613</c:v>
                </c:pt>
                <c:pt idx="1040">
                  <c:v>45.527080669009067</c:v>
                </c:pt>
                <c:pt idx="1041">
                  <c:v>45.037860817871611</c:v>
                </c:pt>
                <c:pt idx="1042">
                  <c:v>45.460473679323421</c:v>
                </c:pt>
                <c:pt idx="1043">
                  <c:v>44.843547279138292</c:v>
                </c:pt>
                <c:pt idx="1044">
                  <c:v>44.990747742003748</c:v>
                </c:pt>
                <c:pt idx="1045">
                  <c:v>45.545408262187898</c:v>
                </c:pt>
                <c:pt idx="1046">
                  <c:v>45.697927877784103</c:v>
                </c:pt>
                <c:pt idx="1047">
                  <c:v>45.546144460372197</c:v>
                </c:pt>
                <c:pt idx="1048">
                  <c:v>44.652869426350883</c:v>
                </c:pt>
                <c:pt idx="1049">
                  <c:v>44.938133663787681</c:v>
                </c:pt>
                <c:pt idx="1050">
                  <c:v>45.114979096032712</c:v>
                </c:pt>
                <c:pt idx="1051">
                  <c:v>46.015404379480351</c:v>
                </c:pt>
                <c:pt idx="1052">
                  <c:v>46.314008372762274</c:v>
                </c:pt>
                <c:pt idx="1053" formatCode="0.0">
                  <c:v>45.935328245178098</c:v>
                </c:pt>
                <c:pt idx="1054" formatCode="General">
                  <c:v>45.275789255749295</c:v>
                </c:pt>
                <c:pt idx="1055">
                  <c:v>45.091592870120174</c:v>
                </c:pt>
                <c:pt idx="1056">
                  <c:v>44.213837149769375</c:v>
                </c:pt>
                <c:pt idx="1057">
                  <c:v>44.985106827548975</c:v>
                </c:pt>
                <c:pt idx="1058">
                  <c:v>45.518965640277344</c:v>
                </c:pt>
                <c:pt idx="1059">
                  <c:v>44.866989170229267</c:v>
                </c:pt>
                <c:pt idx="1060" formatCode="0.0">
                  <c:v>44.760942960547602</c:v>
                </c:pt>
                <c:pt idx="1061" formatCode="0.0">
                  <c:v>44.861698751387664</c:v>
                </c:pt>
                <c:pt idx="1062" formatCode="0.0">
                  <c:v>44.418720967236851</c:v>
                </c:pt>
                <c:pt idx="1063" formatCode="General">
                  <c:v>44.276905632753262</c:v>
                </c:pt>
                <c:pt idx="1064" formatCode="0.0">
                  <c:v>44.120123259185021</c:v>
                </c:pt>
                <c:pt idx="1065" formatCode="General">
                  <c:v>44.024528658026838</c:v>
                </c:pt>
                <c:pt idx="1066" formatCode="General">
                  <c:v>44.437653796381355</c:v>
                </c:pt>
                <c:pt idx="1067" formatCode="General">
                  <c:v>46.719038400642248</c:v>
                </c:pt>
                <c:pt idx="1068" formatCode="General">
                  <c:v>45.320311193712911</c:v>
                </c:pt>
                <c:pt idx="1069" formatCode="General">
                  <c:v>46.320108503945036</c:v>
                </c:pt>
                <c:pt idx="1070" formatCode="General">
                  <c:v>46.205811330793573</c:v>
                </c:pt>
                <c:pt idx="1071" formatCode="General">
                  <c:v>45.682757625860347</c:v>
                </c:pt>
                <c:pt idx="1072" formatCode="General">
                  <c:v>45.755307043648763</c:v>
                </c:pt>
                <c:pt idx="1073" formatCode="0.0">
                  <c:v>46.070832276802022</c:v>
                </c:pt>
                <c:pt idx="1074" formatCode="0.0">
                  <c:v>46.439555769768305</c:v>
                </c:pt>
                <c:pt idx="1075" formatCode="General">
                  <c:v>46.628454730531423</c:v>
                </c:pt>
                <c:pt idx="1076" formatCode="General">
                  <c:v>46.535999973671537</c:v>
                </c:pt>
                <c:pt idx="1077" formatCode="0.0">
                  <c:v>45.965403947885093</c:v>
                </c:pt>
                <c:pt idx="1078" formatCode="General">
                  <c:v>46.328005085488314</c:v>
                </c:pt>
                <c:pt idx="1079" formatCode="General">
                  <c:v>46.478633497327586</c:v>
                </c:pt>
                <c:pt idx="1080" formatCode="General">
                  <c:v>45.875189964765859</c:v>
                </c:pt>
                <c:pt idx="1081" formatCode="General">
                  <c:v>46.011463928610617</c:v>
                </c:pt>
                <c:pt idx="1082" formatCode="General">
                  <c:v>46.247144398409219</c:v>
                </c:pt>
                <c:pt idx="1083" formatCode="General">
                  <c:v>46.143018372904976</c:v>
                </c:pt>
                <c:pt idx="1084" formatCode="General">
                  <c:v>46.46922314606114</c:v>
                </c:pt>
                <c:pt idx="1085" formatCode="General">
                  <c:v>46.002580188401481</c:v>
                </c:pt>
                <c:pt idx="1086" formatCode="General">
                  <c:v>45.958622362885926</c:v>
                </c:pt>
                <c:pt idx="1087" formatCode="General">
                  <c:v>46.56786760770909</c:v>
                </c:pt>
                <c:pt idx="1088" formatCode="General">
                  <c:v>46.62399492242929</c:v>
                </c:pt>
                <c:pt idx="1089" formatCode="General">
                  <c:v>46.875968828063044</c:v>
                </c:pt>
                <c:pt idx="1090" formatCode="General">
                  <c:v>46.687247338193302</c:v>
                </c:pt>
                <c:pt idx="1091" formatCode="General">
                  <c:v>46.472341416565122</c:v>
                </c:pt>
                <c:pt idx="1092" formatCode="General">
                  <c:v>46.229256452676751</c:v>
                </c:pt>
                <c:pt idx="1093" formatCode="General">
                  <c:v>46.062360536715786</c:v>
                </c:pt>
                <c:pt idx="1094" formatCode="General">
                  <c:v>46.58072533962806</c:v>
                </c:pt>
                <c:pt idx="1095" formatCode="General">
                  <c:v>46.225730096131407</c:v>
                </c:pt>
              </c:numCache>
            </c:numRef>
          </c:xVal>
          <c:yVal>
            <c:numRef>
              <c:f>'[Final Graph 2.xlsx]Parameters ranges for ANN step1'!$AV$3:$AV$1131</c:f>
              <c:numCache>
                <c:formatCode>0.0000</c:formatCode>
                <c:ptCount val="1129"/>
                <c:pt idx="0">
                  <c:v>281.73102424158401</c:v>
                </c:pt>
                <c:pt idx="1">
                  <c:v>280.54230235056002</c:v>
                </c:pt>
                <c:pt idx="2">
                  <c:v>271.80282553606332</c:v>
                </c:pt>
                <c:pt idx="3">
                  <c:v>271.97165623925764</c:v>
                </c:pt>
                <c:pt idx="4">
                  <c:v>278.31748766708085</c:v>
                </c:pt>
                <c:pt idx="5">
                  <c:v>281.05401655230048</c:v>
                </c:pt>
                <c:pt idx="6">
                  <c:v>286.32188989480414</c:v>
                </c:pt>
                <c:pt idx="7">
                  <c:v>275.05510194271108</c:v>
                </c:pt>
                <c:pt idx="8">
                  <c:v>277.84054787215018</c:v>
                </c:pt>
                <c:pt idx="9">
                  <c:v>279.95565441548115</c:v>
                </c:pt>
                <c:pt idx="10">
                  <c:v>273.75306164166511</c:v>
                </c:pt>
                <c:pt idx="11">
                  <c:v>274.8880975912989</c:v>
                </c:pt>
                <c:pt idx="12">
                  <c:v>278.61392552557538</c:v>
                </c:pt>
                <c:pt idx="13">
                  <c:v>293.36180221659777</c:v>
                </c:pt>
                <c:pt idx="14">
                  <c:v>281.97889520648744</c:v>
                </c:pt>
                <c:pt idx="15">
                  <c:v>274.91528488747304</c:v>
                </c:pt>
                <c:pt idx="16">
                  <c:v>271.83207947105723</c:v>
                </c:pt>
                <c:pt idx="17">
                  <c:v>274.82510348656012</c:v>
                </c:pt>
                <c:pt idx="18">
                  <c:v>284.96399554825643</c:v>
                </c:pt>
                <c:pt idx="19">
                  <c:v>273.25444858913534</c:v>
                </c:pt>
                <c:pt idx="20">
                  <c:v>277.29966597133853</c:v>
                </c:pt>
                <c:pt idx="21">
                  <c:v>273.14768861711593</c:v>
                </c:pt>
                <c:pt idx="22">
                  <c:v>278.3499056871625</c:v>
                </c:pt>
                <c:pt idx="23">
                  <c:v>281.22537557652925</c:v>
                </c:pt>
                <c:pt idx="24">
                  <c:v>278.2303478693492</c:v>
                </c:pt>
                <c:pt idx="25">
                  <c:v>275.32689315975847</c:v>
                </c:pt>
                <c:pt idx="26">
                  <c:v>288.95282793490605</c:v>
                </c:pt>
                <c:pt idx="27">
                  <c:v>280.57906144003334</c:v>
                </c:pt>
                <c:pt idx="28">
                  <c:v>279.36027086428237</c:v>
                </c:pt>
                <c:pt idx="29">
                  <c:v>281.17479393959593</c:v>
                </c:pt>
                <c:pt idx="30">
                  <c:v>284.62139288037611</c:v>
                </c:pt>
                <c:pt idx="31">
                  <c:v>273.64610481865509</c:v>
                </c:pt>
                <c:pt idx="32">
                  <c:v>282.22840530473729</c:v>
                </c:pt>
                <c:pt idx="33">
                  <c:v>280.17666488887471</c:v>
                </c:pt>
                <c:pt idx="34">
                  <c:v>284.41129479856215</c:v>
                </c:pt>
                <c:pt idx="35">
                  <c:v>273.24130026615114</c:v>
                </c:pt>
                <c:pt idx="36">
                  <c:v>271.61030593980684</c:v>
                </c:pt>
                <c:pt idx="37">
                  <c:v>285.16408198647412</c:v>
                </c:pt>
                <c:pt idx="38">
                  <c:v>276.14102297745546</c:v>
                </c:pt>
                <c:pt idx="39">
                  <c:v>282.34877274508347</c:v>
                </c:pt>
                <c:pt idx="40">
                  <c:v>279.23553304455868</c:v>
                </c:pt>
                <c:pt idx="41">
                  <c:v>277.82853886991848</c:v>
                </c:pt>
                <c:pt idx="42">
                  <c:v>279.48514545053069</c:v>
                </c:pt>
                <c:pt idx="43">
                  <c:v>292.9320122053482</c:v>
                </c:pt>
                <c:pt idx="44">
                  <c:v>274.62201769886985</c:v>
                </c:pt>
                <c:pt idx="45">
                  <c:v>334.51197849652249</c:v>
                </c:pt>
                <c:pt idx="46">
                  <c:v>235.5877423128984</c:v>
                </c:pt>
                <c:pt idx="47">
                  <c:v>281.00402560667521</c:v>
                </c:pt>
                <c:pt idx="48">
                  <c:v>282.25213628194854</c:v>
                </c:pt>
                <c:pt idx="49">
                  <c:v>278.03699057654592</c:v>
                </c:pt>
                <c:pt idx="50">
                  <c:v>275.12614023304843</c:v>
                </c:pt>
                <c:pt idx="51">
                  <c:v>279.21051362325193</c:v>
                </c:pt>
                <c:pt idx="52">
                  <c:v>275.45282559372379</c:v>
                </c:pt>
                <c:pt idx="53">
                  <c:v>276.21089791037241</c:v>
                </c:pt>
                <c:pt idx="54">
                  <c:v>275.26206438568192</c:v>
                </c:pt>
                <c:pt idx="55">
                  <c:v>273.58122866380268</c:v>
                </c:pt>
                <c:pt idx="56">
                  <c:v>273.14089689646949</c:v>
                </c:pt>
                <c:pt idx="57">
                  <c:v>287.79528632396352</c:v>
                </c:pt>
                <c:pt idx="58">
                  <c:v>284.85931051242255</c:v>
                </c:pt>
                <c:pt idx="59">
                  <c:v>279.27667716419739</c:v>
                </c:pt>
                <c:pt idx="60">
                  <c:v>263.29082445487154</c:v>
                </c:pt>
                <c:pt idx="61">
                  <c:v>276.87525792674114</c:v>
                </c:pt>
                <c:pt idx="62">
                  <c:v>278.06704463690096</c:v>
                </c:pt>
                <c:pt idx="63">
                  <c:v>277.28150595089824</c:v>
                </c:pt>
                <c:pt idx="64">
                  <c:v>270.65275313644554</c:v>
                </c:pt>
                <c:pt idx="65">
                  <c:v>277.29047001508127</c:v>
                </c:pt>
                <c:pt idx="66">
                  <c:v>276.98796784350475</c:v>
                </c:pt>
                <c:pt idx="67">
                  <c:v>280.77989136421138</c:v>
                </c:pt>
                <c:pt idx="68">
                  <c:v>276.99300425266358</c:v>
                </c:pt>
                <c:pt idx="69">
                  <c:v>247.7833412359671</c:v>
                </c:pt>
                <c:pt idx="70">
                  <c:v>282.58536459609149</c:v>
                </c:pt>
                <c:pt idx="71">
                  <c:v>284.80508176429794</c:v>
                </c:pt>
                <c:pt idx="72">
                  <c:v>281.95781863024695</c:v>
                </c:pt>
                <c:pt idx="73">
                  <c:v>272.49716307186725</c:v>
                </c:pt>
                <c:pt idx="74">
                  <c:v>275.56195653349766</c:v>
                </c:pt>
                <c:pt idx="75">
                  <c:v>270.77879238789421</c:v>
                </c:pt>
                <c:pt idx="76">
                  <c:v>276.60483480750236</c:v>
                </c:pt>
                <c:pt idx="77">
                  <c:v>270.0438489821737</c:v>
                </c:pt>
                <c:pt idx="78">
                  <c:v>273.35009137348231</c:v>
                </c:pt>
                <c:pt idx="79">
                  <c:v>274.81469754927798</c:v>
                </c:pt>
                <c:pt idx="80">
                  <c:v>275.96241815792428</c:v>
                </c:pt>
                <c:pt idx="81">
                  <c:v>278.94910973502317</c:v>
                </c:pt>
                <c:pt idx="82">
                  <c:v>273.56473045852385</c:v>
                </c:pt>
                <c:pt idx="83">
                  <c:v>275.61858590919064</c:v>
                </c:pt>
                <c:pt idx="84">
                  <c:v>278.00188244783078</c:v>
                </c:pt>
                <c:pt idx="85">
                  <c:v>280.50174809364034</c:v>
                </c:pt>
                <c:pt idx="86">
                  <c:v>279.49116499295997</c:v>
                </c:pt>
                <c:pt idx="87">
                  <c:v>273.74554395831115</c:v>
                </c:pt>
                <c:pt idx="88">
                  <c:v>273.67818243399984</c:v>
                </c:pt>
                <c:pt idx="89">
                  <c:v>278.31139377558407</c:v>
                </c:pt>
                <c:pt idx="90">
                  <c:v>276.46456393819938</c:v>
                </c:pt>
                <c:pt idx="91">
                  <c:v>278.16175493388846</c:v>
                </c:pt>
                <c:pt idx="92">
                  <c:v>279.07764225026699</c:v>
                </c:pt>
                <c:pt idx="93">
                  <c:v>273.35245532202157</c:v>
                </c:pt>
                <c:pt idx="94">
                  <c:v>282.8510336176264</c:v>
                </c:pt>
                <c:pt idx="95">
                  <c:v>281.47404661194014</c:v>
                </c:pt>
                <c:pt idx="96">
                  <c:v>278.2245792703502</c:v>
                </c:pt>
                <c:pt idx="97">
                  <c:v>279.01459907581636</c:v>
                </c:pt>
                <c:pt idx="98">
                  <c:v>274.05462565832056</c:v>
                </c:pt>
                <c:pt idx="99">
                  <c:v>277.65912054529667</c:v>
                </c:pt>
                <c:pt idx="100">
                  <c:v>275.27296800045099</c:v>
                </c:pt>
                <c:pt idx="101">
                  <c:v>280.52749416141728</c:v>
                </c:pt>
                <c:pt idx="102">
                  <c:v>279.85270022084228</c:v>
                </c:pt>
                <c:pt idx="103">
                  <c:v>280.38807080663571</c:v>
                </c:pt>
                <c:pt idx="104">
                  <c:v>287.63717809794798</c:v>
                </c:pt>
                <c:pt idx="105">
                  <c:v>293.13003411451325</c:v>
                </c:pt>
                <c:pt idx="106">
                  <c:v>287.80243527473237</c:v>
                </c:pt>
                <c:pt idx="107">
                  <c:v>284.02324238820859</c:v>
                </c:pt>
                <c:pt idx="108">
                  <c:v>283.63416158872997</c:v>
                </c:pt>
                <c:pt idx="109">
                  <c:v>283.80364897158506</c:v>
                </c:pt>
                <c:pt idx="110">
                  <c:v>281.66376537957399</c:v>
                </c:pt>
                <c:pt idx="111">
                  <c:v>280.41588293139171</c:v>
                </c:pt>
                <c:pt idx="112">
                  <c:v>281.83778747099029</c:v>
                </c:pt>
                <c:pt idx="113">
                  <c:v>281.03289153620096</c:v>
                </c:pt>
                <c:pt idx="114">
                  <c:v>284.35417059837914</c:v>
                </c:pt>
                <c:pt idx="115">
                  <c:v>281.3536700778717</c:v>
                </c:pt>
                <c:pt idx="116">
                  <c:v>277.61045667443739</c:v>
                </c:pt>
                <c:pt idx="117">
                  <c:v>280.25955869413224</c:v>
                </c:pt>
                <c:pt idx="118">
                  <c:v>271.29078783200612</c:v>
                </c:pt>
                <c:pt idx="119">
                  <c:v>284.80811296939896</c:v>
                </c:pt>
                <c:pt idx="120">
                  <c:v>275.99764842001639</c:v>
                </c:pt>
                <c:pt idx="121">
                  <c:v>287.26726215411486</c:v>
                </c:pt>
                <c:pt idx="122">
                  <c:v>287.41530565429082</c:v>
                </c:pt>
                <c:pt idx="123">
                  <c:v>286.09966328775772</c:v>
                </c:pt>
                <c:pt idx="124">
                  <c:v>282.39440745373076</c:v>
                </c:pt>
                <c:pt idx="125">
                  <c:v>286.92084283823931</c:v>
                </c:pt>
                <c:pt idx="126">
                  <c:v>284.44894269012264</c:v>
                </c:pt>
                <c:pt idx="127">
                  <c:v>281.74166899381373</c:v>
                </c:pt>
                <c:pt idx="128">
                  <c:v>281.0443953819605</c:v>
                </c:pt>
                <c:pt idx="129">
                  <c:v>282.71511037736832</c:v>
                </c:pt>
                <c:pt idx="130">
                  <c:v>283.80091700565436</c:v>
                </c:pt>
                <c:pt idx="131">
                  <c:v>287.4474359391819</c:v>
                </c:pt>
                <c:pt idx="132">
                  <c:v>287.86692017371877</c:v>
                </c:pt>
                <c:pt idx="133">
                  <c:v>278.53646321130589</c:v>
                </c:pt>
                <c:pt idx="134">
                  <c:v>284.21338409541465</c:v>
                </c:pt>
                <c:pt idx="135">
                  <c:v>288.11190985635085</c:v>
                </c:pt>
                <c:pt idx="136">
                  <c:v>275.8618681882142</c:v>
                </c:pt>
                <c:pt idx="137">
                  <c:v>279.17287422468701</c:v>
                </c:pt>
                <c:pt idx="138">
                  <c:v>279.56876477681794</c:v>
                </c:pt>
                <c:pt idx="139">
                  <c:v>275.34246121802278</c:v>
                </c:pt>
                <c:pt idx="140">
                  <c:v>283.25022799181306</c:v>
                </c:pt>
                <c:pt idx="141">
                  <c:v>290.91199354854587</c:v>
                </c:pt>
                <c:pt idx="142">
                  <c:v>292.26217250565651</c:v>
                </c:pt>
                <c:pt idx="143">
                  <c:v>295.23661269844786</c:v>
                </c:pt>
                <c:pt idx="144">
                  <c:v>425.58117531805783</c:v>
                </c:pt>
                <c:pt idx="145">
                  <c:v>1971.7383412306644</c:v>
                </c:pt>
                <c:pt idx="146">
                  <c:v>0</c:v>
                </c:pt>
                <c:pt idx="147">
                  <c:v>0</c:v>
                </c:pt>
                <c:pt idx="148">
                  <c:v>0</c:v>
                </c:pt>
                <c:pt idx="149">
                  <c:v>320.63874961778856</c:v>
                </c:pt>
                <c:pt idx="150">
                  <c:v>277.51011605019562</c:v>
                </c:pt>
                <c:pt idx="151">
                  <c:v>280.68506845325476</c:v>
                </c:pt>
                <c:pt idx="152">
                  <c:v>277.01542761090661</c:v>
                </c:pt>
                <c:pt idx="153">
                  <c:v>274.32427744831034</c:v>
                </c:pt>
                <c:pt idx="154">
                  <c:v>274.32562272082896</c:v>
                </c:pt>
                <c:pt idx="155">
                  <c:v>278.23401610154804</c:v>
                </c:pt>
                <c:pt idx="156">
                  <c:v>278.72407715771044</c:v>
                </c:pt>
                <c:pt idx="157">
                  <c:v>277.07167964276096</c:v>
                </c:pt>
                <c:pt idx="158">
                  <c:v>283.15114080526416</c:v>
                </c:pt>
                <c:pt idx="159">
                  <c:v>281.2465940738158</c:v>
                </c:pt>
                <c:pt idx="160">
                  <c:v>284.28403591014307</c:v>
                </c:pt>
                <c:pt idx="161">
                  <c:v>287.416694613461</c:v>
                </c:pt>
                <c:pt idx="162">
                  <c:v>286.92973291542228</c:v>
                </c:pt>
                <c:pt idx="163">
                  <c:v>276.75950241773546</c:v>
                </c:pt>
                <c:pt idx="164">
                  <c:v>273.70570868440473</c:v>
                </c:pt>
                <c:pt idx="165">
                  <c:v>274.74291440493676</c:v>
                </c:pt>
                <c:pt idx="166">
                  <c:v>281.6206259138412</c:v>
                </c:pt>
                <c:pt idx="167">
                  <c:v>280.96043993450769</c:v>
                </c:pt>
                <c:pt idx="168">
                  <c:v>282.16429602750395</c:v>
                </c:pt>
                <c:pt idx="169">
                  <c:v>277.40329019532328</c:v>
                </c:pt>
                <c:pt idx="170">
                  <c:v>284.54927753176207</c:v>
                </c:pt>
                <c:pt idx="171">
                  <c:v>292.87711611225609</c:v>
                </c:pt>
                <c:pt idx="172">
                  <c:v>284.67561857988414</c:v>
                </c:pt>
                <c:pt idx="173">
                  <c:v>287.90630371309055</c:v>
                </c:pt>
                <c:pt idx="174">
                  <c:v>289.73559639944483</c:v>
                </c:pt>
                <c:pt idx="175">
                  <c:v>286.26928404865532</c:v>
                </c:pt>
                <c:pt idx="176">
                  <c:v>293.93598426724054</c:v>
                </c:pt>
                <c:pt idx="177">
                  <c:v>288.57010989218816</c:v>
                </c:pt>
                <c:pt idx="178">
                  <c:v>281.25442327543351</c:v>
                </c:pt>
                <c:pt idx="179">
                  <c:v>288.85248175579136</c:v>
                </c:pt>
                <c:pt idx="180">
                  <c:v>287.53568614680148</c:v>
                </c:pt>
                <c:pt idx="181">
                  <c:v>279.69833640718832</c:v>
                </c:pt>
                <c:pt idx="182">
                  <c:v>287.14881618540301</c:v>
                </c:pt>
                <c:pt idx="183">
                  <c:v>283.60377313841911</c:v>
                </c:pt>
                <c:pt idx="184">
                  <c:v>286.54269971618908</c:v>
                </c:pt>
                <c:pt idx="185">
                  <c:v>285.1147583927094</c:v>
                </c:pt>
                <c:pt idx="186">
                  <c:v>285.03579391044434</c:v>
                </c:pt>
                <c:pt idx="187">
                  <c:v>284.39453088939501</c:v>
                </c:pt>
                <c:pt idx="188">
                  <c:v>286.03704460491815</c:v>
                </c:pt>
                <c:pt idx="189">
                  <c:v>284.20653683115256</c:v>
                </c:pt>
                <c:pt idx="190">
                  <c:v>284.59382854580815</c:v>
                </c:pt>
                <c:pt idx="191">
                  <c:v>286.75674677900236</c:v>
                </c:pt>
                <c:pt idx="192">
                  <c:v>285.71310521690395</c:v>
                </c:pt>
                <c:pt idx="193">
                  <c:v>285.43771657811442</c:v>
                </c:pt>
                <c:pt idx="194">
                  <c:v>286.94778629819291</c:v>
                </c:pt>
                <c:pt idx="195">
                  <c:v>285.47383721913025</c:v>
                </c:pt>
                <c:pt idx="196">
                  <c:v>286.84626558399248</c:v>
                </c:pt>
                <c:pt idx="197">
                  <c:v>284.07340734052309</c:v>
                </c:pt>
                <c:pt idx="198">
                  <c:v>282.87543326321781</c:v>
                </c:pt>
                <c:pt idx="199">
                  <c:v>283.01984897502041</c:v>
                </c:pt>
                <c:pt idx="200">
                  <c:v>287.15256221823211</c:v>
                </c:pt>
                <c:pt idx="201">
                  <c:v>283.27126393716139</c:v>
                </c:pt>
                <c:pt idx="202">
                  <c:v>285.19159311762212</c:v>
                </c:pt>
                <c:pt idx="203">
                  <c:v>285.42718845636341</c:v>
                </c:pt>
                <c:pt idx="204">
                  <c:v>282.63256935860261</c:v>
                </c:pt>
                <c:pt idx="205">
                  <c:v>282.47753154274983</c:v>
                </c:pt>
                <c:pt idx="206">
                  <c:v>290.71386728182938</c:v>
                </c:pt>
                <c:pt idx="207">
                  <c:v>282.99462920982444</c:v>
                </c:pt>
                <c:pt idx="208">
                  <c:v>278.67305791662966</c:v>
                </c:pt>
                <c:pt idx="209">
                  <c:v>286.63312612634115</c:v>
                </c:pt>
                <c:pt idx="210">
                  <c:v>277.30791631479815</c:v>
                </c:pt>
                <c:pt idx="211">
                  <c:v>281.24375880403568</c:v>
                </c:pt>
                <c:pt idx="212">
                  <c:v>279.20515925285667</c:v>
                </c:pt>
                <c:pt idx="213">
                  <c:v>285.32918731701261</c:v>
                </c:pt>
                <c:pt idx="214">
                  <c:v>296.15340284645663</c:v>
                </c:pt>
                <c:pt idx="215">
                  <c:v>285.08713038874282</c:v>
                </c:pt>
                <c:pt idx="216">
                  <c:v>279.51000185510873</c:v>
                </c:pt>
                <c:pt idx="217">
                  <c:v>284.11402845608063</c:v>
                </c:pt>
                <c:pt idx="218">
                  <c:v>278.71838047712185</c:v>
                </c:pt>
                <c:pt idx="219">
                  <c:v>278.33309667283163</c:v>
                </c:pt>
                <c:pt idx="220">
                  <c:v>274.23171463611129</c:v>
                </c:pt>
                <c:pt idx="221">
                  <c:v>280.17270264352362</c:v>
                </c:pt>
                <c:pt idx="222">
                  <c:v>277.61444421728277</c:v>
                </c:pt>
                <c:pt idx="223">
                  <c:v>280.62448328323273</c:v>
                </c:pt>
                <c:pt idx="224">
                  <c:v>274.10124768124138</c:v>
                </c:pt>
                <c:pt idx="225">
                  <c:v>257.99780101349563</c:v>
                </c:pt>
                <c:pt idx="226">
                  <c:v>272.91477670939787</c:v>
                </c:pt>
                <c:pt idx="227">
                  <c:v>271.32045734863675</c:v>
                </c:pt>
                <c:pt idx="228">
                  <c:v>277.31025093215737</c:v>
                </c:pt>
                <c:pt idx="229">
                  <c:v>272.05048253370228</c:v>
                </c:pt>
                <c:pt idx="230">
                  <c:v>280.46053619063264</c:v>
                </c:pt>
                <c:pt idx="231">
                  <c:v>277.6402578259756</c:v>
                </c:pt>
                <c:pt idx="232">
                  <c:v>278.71243397575938</c:v>
                </c:pt>
                <c:pt idx="233">
                  <c:v>280.22903569194034</c:v>
                </c:pt>
                <c:pt idx="234">
                  <c:v>279.73096443371276</c:v>
                </c:pt>
                <c:pt idx="235">
                  <c:v>286.09450762412791</c:v>
                </c:pt>
                <c:pt idx="236">
                  <c:v>283.49987431296711</c:v>
                </c:pt>
                <c:pt idx="237">
                  <c:v>281.53354863771096</c:v>
                </c:pt>
                <c:pt idx="238">
                  <c:v>279.63461047980923</c:v>
                </c:pt>
                <c:pt idx="239">
                  <c:v>282.40042299664719</c:v>
                </c:pt>
                <c:pt idx="240">
                  <c:v>298.40320491652926</c:v>
                </c:pt>
                <c:pt idx="241">
                  <c:v>299.72807940029668</c:v>
                </c:pt>
                <c:pt idx="242">
                  <c:v>299.27271533102157</c:v>
                </c:pt>
                <c:pt idx="243">
                  <c:v>287.48172674954776</c:v>
                </c:pt>
                <c:pt idx="244">
                  <c:v>289.1249355605072</c:v>
                </c:pt>
                <c:pt idx="245">
                  <c:v>276.88025628308321</c:v>
                </c:pt>
                <c:pt idx="246">
                  <c:v>300.54842337576213</c:v>
                </c:pt>
                <c:pt idx="247">
                  <c:v>306.20921416657416</c:v>
                </c:pt>
                <c:pt idx="248">
                  <c:v>283.8738930349341</c:v>
                </c:pt>
                <c:pt idx="249">
                  <c:v>277.40720564963158</c:v>
                </c:pt>
                <c:pt idx="250">
                  <c:v>299.64341768594443</c:v>
                </c:pt>
                <c:pt idx="251">
                  <c:v>309.96382055032245</c:v>
                </c:pt>
                <c:pt idx="252">
                  <c:v>291.16669580683856</c:v>
                </c:pt>
                <c:pt idx="253">
                  <c:v>298.29276532772622</c:v>
                </c:pt>
                <c:pt idx="254">
                  <c:v>291.1904070553968</c:v>
                </c:pt>
                <c:pt idx="255">
                  <c:v>301.17956921096106</c:v>
                </c:pt>
                <c:pt idx="256">
                  <c:v>280.20111540354412</c:v>
                </c:pt>
                <c:pt idx="257">
                  <c:v>282.33665268113862</c:v>
                </c:pt>
                <c:pt idx="258">
                  <c:v>288.44386235234379</c:v>
                </c:pt>
                <c:pt idx="259">
                  <c:v>314.3667891298627</c:v>
                </c:pt>
                <c:pt idx="260">
                  <c:v>239.10012285199537</c:v>
                </c:pt>
                <c:pt idx="261">
                  <c:v>279.96809956854429</c:v>
                </c:pt>
                <c:pt idx="262">
                  <c:v>286.35917555065555</c:v>
                </c:pt>
                <c:pt idx="263">
                  <c:v>278.3768800541302</c:v>
                </c:pt>
                <c:pt idx="264">
                  <c:v>284.15957174884863</c:v>
                </c:pt>
                <c:pt idx="265">
                  <c:v>284.14959920150659</c:v>
                </c:pt>
                <c:pt idx="266">
                  <c:v>291.76442475111457</c:v>
                </c:pt>
                <c:pt idx="267">
                  <c:v>257.32233903263534</c:v>
                </c:pt>
                <c:pt idx="268">
                  <c:v>278.93944500939483</c:v>
                </c:pt>
                <c:pt idx="269">
                  <c:v>286.80059241226047</c:v>
                </c:pt>
                <c:pt idx="270">
                  <c:v>288.71421527608015</c:v>
                </c:pt>
                <c:pt idx="271">
                  <c:v>283.65776444976154</c:v>
                </c:pt>
                <c:pt idx="272">
                  <c:v>277.42774653246727</c:v>
                </c:pt>
                <c:pt idx="273">
                  <c:v>279.94893411135411</c:v>
                </c:pt>
                <c:pt idx="274">
                  <c:v>285.57475587628551</c:v>
                </c:pt>
                <c:pt idx="275">
                  <c:v>289.04181091723945</c:v>
                </c:pt>
                <c:pt idx="276">
                  <c:v>285.92328826982578</c:v>
                </c:pt>
                <c:pt idx="277">
                  <c:v>288.39161844232592</c:v>
                </c:pt>
                <c:pt idx="278">
                  <c:v>299.87078989632289</c:v>
                </c:pt>
                <c:pt idx="279">
                  <c:v>284.89351057538386</c:v>
                </c:pt>
                <c:pt idx="280">
                  <c:v>275.58552388850148</c:v>
                </c:pt>
                <c:pt idx="281">
                  <c:v>280.94331223099073</c:v>
                </c:pt>
                <c:pt idx="282">
                  <c:v>277.98735091860863</c:v>
                </c:pt>
                <c:pt idx="283">
                  <c:v>277.3244340402133</c:v>
                </c:pt>
                <c:pt idx="284">
                  <c:v>276.71560608160678</c:v>
                </c:pt>
                <c:pt idx="285">
                  <c:v>279.64226413281028</c:v>
                </c:pt>
                <c:pt idx="286">
                  <c:v>278.64224833429296</c:v>
                </c:pt>
                <c:pt idx="287">
                  <c:v>281.85346735218957</c:v>
                </c:pt>
                <c:pt idx="288">
                  <c:v>285.73003022062312</c:v>
                </c:pt>
                <c:pt idx="289">
                  <c:v>285.30556529133298</c:v>
                </c:pt>
                <c:pt idx="290">
                  <c:v>285.32676213115008</c:v>
                </c:pt>
                <c:pt idx="291">
                  <c:v>301.81075980561445</c:v>
                </c:pt>
                <c:pt idx="292">
                  <c:v>287.46511480345225</c:v>
                </c:pt>
                <c:pt idx="293">
                  <c:v>290.20460051079749</c:v>
                </c:pt>
                <c:pt idx="294">
                  <c:v>287.32640652743873</c:v>
                </c:pt>
                <c:pt idx="295">
                  <c:v>290.0350603790065</c:v>
                </c:pt>
                <c:pt idx="296">
                  <c:v>283.37537648956754</c:v>
                </c:pt>
                <c:pt idx="297">
                  <c:v>279.97315011863827</c:v>
                </c:pt>
                <c:pt idx="298">
                  <c:v>283.27159813736807</c:v>
                </c:pt>
                <c:pt idx="299">
                  <c:v>282.06091800673869</c:v>
                </c:pt>
                <c:pt idx="300">
                  <c:v>286.88399432149686</c:v>
                </c:pt>
                <c:pt idx="301">
                  <c:v>284.52775506061334</c:v>
                </c:pt>
                <c:pt idx="302">
                  <c:v>284.81197398755819</c:v>
                </c:pt>
                <c:pt idx="303">
                  <c:v>280.42431120064896</c:v>
                </c:pt>
                <c:pt idx="304">
                  <c:v>283.0358097498106</c:v>
                </c:pt>
                <c:pt idx="305">
                  <c:v>274.91439550475172</c:v>
                </c:pt>
                <c:pt idx="306">
                  <c:v>282.38949805698985</c:v>
                </c:pt>
                <c:pt idx="307">
                  <c:v>281.29804236453879</c:v>
                </c:pt>
                <c:pt idx="308">
                  <c:v>274.95821324215126</c:v>
                </c:pt>
                <c:pt idx="309">
                  <c:v>284.94001409146551</c:v>
                </c:pt>
                <c:pt idx="310">
                  <c:v>281.78472064690152</c:v>
                </c:pt>
                <c:pt idx="311">
                  <c:v>280.28624448485232</c:v>
                </c:pt>
                <c:pt idx="312">
                  <c:v>286.84360501695414</c:v>
                </c:pt>
                <c:pt idx="313">
                  <c:v>280.80249736371979</c:v>
                </c:pt>
                <c:pt idx="314">
                  <c:v>283.5116756740008</c:v>
                </c:pt>
                <c:pt idx="315">
                  <c:v>282.97086426949761</c:v>
                </c:pt>
                <c:pt idx="316">
                  <c:v>288.59047386556483</c:v>
                </c:pt>
                <c:pt idx="317">
                  <c:v>284.0849572436814</c:v>
                </c:pt>
                <c:pt idx="318">
                  <c:v>280.14527791037483</c:v>
                </c:pt>
                <c:pt idx="319">
                  <c:v>279.91458628262455</c:v>
                </c:pt>
                <c:pt idx="320">
                  <c:v>285.12897966783066</c:v>
                </c:pt>
                <c:pt idx="321">
                  <c:v>284.30139701689041</c:v>
                </c:pt>
                <c:pt idx="322">
                  <c:v>280.31307450119914</c:v>
                </c:pt>
                <c:pt idx="323">
                  <c:v>284.40357533099109</c:v>
                </c:pt>
                <c:pt idx="324">
                  <c:v>281.14782135494318</c:v>
                </c:pt>
                <c:pt idx="325">
                  <c:v>278.12567567299493</c:v>
                </c:pt>
                <c:pt idx="326">
                  <c:v>275.98971557999027</c:v>
                </c:pt>
                <c:pt idx="327">
                  <c:v>276.7197836099607</c:v>
                </c:pt>
                <c:pt idx="328">
                  <c:v>276.1252085500206</c:v>
                </c:pt>
                <c:pt idx="329">
                  <c:v>280.74805947638242</c:v>
                </c:pt>
                <c:pt idx="330">
                  <c:v>277.96482867533859</c:v>
                </c:pt>
                <c:pt idx="331">
                  <c:v>283.32021751491391</c:v>
                </c:pt>
                <c:pt idx="332">
                  <c:v>280.24516477490181</c:v>
                </c:pt>
                <c:pt idx="333">
                  <c:v>279.51095796047116</c:v>
                </c:pt>
                <c:pt idx="334">
                  <c:v>290.31091834436995</c:v>
                </c:pt>
                <c:pt idx="335">
                  <c:v>265.29353888134006</c:v>
                </c:pt>
                <c:pt idx="336">
                  <c:v>285.03361783071944</c:v>
                </c:pt>
                <c:pt idx="337">
                  <c:v>280.51987515885162</c:v>
                </c:pt>
                <c:pt idx="338">
                  <c:v>279.6732559346741</c:v>
                </c:pt>
                <c:pt idx="339">
                  <c:v>276.54074558214188</c:v>
                </c:pt>
                <c:pt idx="340">
                  <c:v>276.00874433432625</c:v>
                </c:pt>
                <c:pt idx="341">
                  <c:v>273.58129283026722</c:v>
                </c:pt>
                <c:pt idx="342">
                  <c:v>274.78766853286425</c:v>
                </c:pt>
                <c:pt idx="343">
                  <c:v>277.49507275759606</c:v>
                </c:pt>
                <c:pt idx="344">
                  <c:v>277.93588204861692</c:v>
                </c:pt>
                <c:pt idx="345">
                  <c:v>280.90311136609898</c:v>
                </c:pt>
                <c:pt idx="346">
                  <c:v>278.79675866845832</c:v>
                </c:pt>
                <c:pt idx="347">
                  <c:v>276.19300221526464</c:v>
                </c:pt>
                <c:pt idx="348">
                  <c:v>275.74673667060085</c:v>
                </c:pt>
                <c:pt idx="349">
                  <c:v>276.74615558592234</c:v>
                </c:pt>
                <c:pt idx="350">
                  <c:v>276.30297377080183</c:v>
                </c:pt>
                <c:pt idx="351">
                  <c:v>273.9431386643023</c:v>
                </c:pt>
                <c:pt idx="352">
                  <c:v>279.0019973039083</c:v>
                </c:pt>
                <c:pt idx="353">
                  <c:v>275.43193187368001</c:v>
                </c:pt>
                <c:pt idx="354">
                  <c:v>279.47477241103252</c:v>
                </c:pt>
                <c:pt idx="355">
                  <c:v>279.3361041669649</c:v>
                </c:pt>
                <c:pt idx="356">
                  <c:v>280.12921500577113</c:v>
                </c:pt>
                <c:pt idx="357">
                  <c:v>259.77833233074739</c:v>
                </c:pt>
                <c:pt idx="358">
                  <c:v>274.85570225121683</c:v>
                </c:pt>
                <c:pt idx="359">
                  <c:v>278.04464881959075</c:v>
                </c:pt>
                <c:pt idx="360">
                  <c:v>275.85959205952702</c:v>
                </c:pt>
                <c:pt idx="361">
                  <c:v>276.7031178302567</c:v>
                </c:pt>
                <c:pt idx="362">
                  <c:v>278.36371689467012</c:v>
                </c:pt>
                <c:pt idx="363">
                  <c:v>286.05042296620957</c:v>
                </c:pt>
                <c:pt idx="364">
                  <c:v>315.13034177154111</c:v>
                </c:pt>
                <c:pt idx="365">
                  <c:v>250.92583730263595</c:v>
                </c:pt>
                <c:pt idx="366">
                  <c:v>275.47635041685533</c:v>
                </c:pt>
                <c:pt idx="367">
                  <c:v>273.99218307244655</c:v>
                </c:pt>
                <c:pt idx="368">
                  <c:v>267.69332676241152</c:v>
                </c:pt>
                <c:pt idx="369">
                  <c:v>271.06557960610996</c:v>
                </c:pt>
                <c:pt idx="370">
                  <c:v>266.62761040700786</c:v>
                </c:pt>
                <c:pt idx="371">
                  <c:v>270.59638285342953</c:v>
                </c:pt>
                <c:pt idx="372">
                  <c:v>269.51122729810743</c:v>
                </c:pt>
                <c:pt idx="373">
                  <c:v>272.94890947548186</c:v>
                </c:pt>
                <c:pt idx="374">
                  <c:v>275.01836367036981</c:v>
                </c:pt>
                <c:pt idx="375">
                  <c:v>283.49448439521018</c:v>
                </c:pt>
                <c:pt idx="376">
                  <c:v>277.14474620881697</c:v>
                </c:pt>
                <c:pt idx="377">
                  <c:v>277.21098066973286</c:v>
                </c:pt>
                <c:pt idx="378">
                  <c:v>275.56624092488073</c:v>
                </c:pt>
                <c:pt idx="379">
                  <c:v>275.99830592262435</c:v>
                </c:pt>
                <c:pt idx="380">
                  <c:v>268.8216492824638</c:v>
                </c:pt>
                <c:pt idx="381">
                  <c:v>269.67701547121055</c:v>
                </c:pt>
                <c:pt idx="382">
                  <c:v>273.94160881679841</c:v>
                </c:pt>
                <c:pt idx="383">
                  <c:v>277.55218730532954</c:v>
                </c:pt>
                <c:pt idx="384">
                  <c:v>276.6243508801997</c:v>
                </c:pt>
                <c:pt idx="385">
                  <c:v>272.55518287578684</c:v>
                </c:pt>
                <c:pt idx="386">
                  <c:v>271.03358696115674</c:v>
                </c:pt>
                <c:pt idx="387">
                  <c:v>274.51391981612835</c:v>
                </c:pt>
                <c:pt idx="388">
                  <c:v>275.76607605728339</c:v>
                </c:pt>
                <c:pt idx="389">
                  <c:v>270.86992000142902</c:v>
                </c:pt>
                <c:pt idx="390">
                  <c:v>272.65237697917098</c:v>
                </c:pt>
                <c:pt idx="391">
                  <c:v>266.39052100980769</c:v>
                </c:pt>
                <c:pt idx="392">
                  <c:v>271.86219056599327</c:v>
                </c:pt>
                <c:pt idx="393">
                  <c:v>270.642182128218</c:v>
                </c:pt>
                <c:pt idx="394">
                  <c:v>272.17695274591927</c:v>
                </c:pt>
                <c:pt idx="395">
                  <c:v>274.56679440983839</c:v>
                </c:pt>
                <c:pt idx="396">
                  <c:v>278.15068127681445</c:v>
                </c:pt>
                <c:pt idx="397">
                  <c:v>273.06520012560952</c:v>
                </c:pt>
                <c:pt idx="398">
                  <c:v>277.82023508792076</c:v>
                </c:pt>
                <c:pt idx="399">
                  <c:v>275.22275796063207</c:v>
                </c:pt>
                <c:pt idx="400">
                  <c:v>278.37957047825057</c:v>
                </c:pt>
                <c:pt idx="401">
                  <c:v>275.3804985780879</c:v>
                </c:pt>
                <c:pt idx="402">
                  <c:v>281.35031739738724</c:v>
                </c:pt>
                <c:pt idx="403">
                  <c:v>281.78041240328264</c:v>
                </c:pt>
                <c:pt idx="404">
                  <c:v>281.63267436435069</c:v>
                </c:pt>
                <c:pt idx="405">
                  <c:v>281.80145351472765</c:v>
                </c:pt>
                <c:pt idx="406">
                  <c:v>277.22956251317271</c:v>
                </c:pt>
                <c:pt idx="407">
                  <c:v>275.05894191356128</c:v>
                </c:pt>
                <c:pt idx="408">
                  <c:v>281.19644319987935</c:v>
                </c:pt>
                <c:pt idx="409">
                  <c:v>276.02883071135022</c:v>
                </c:pt>
                <c:pt idx="410">
                  <c:v>274.60988619652051</c:v>
                </c:pt>
                <c:pt idx="411">
                  <c:v>272.79536384939354</c:v>
                </c:pt>
                <c:pt idx="412">
                  <c:v>279.82326743039107</c:v>
                </c:pt>
                <c:pt idx="413">
                  <c:v>277.01265574120475</c:v>
                </c:pt>
                <c:pt idx="414">
                  <c:v>274.64317659731046</c:v>
                </c:pt>
                <c:pt idx="415">
                  <c:v>280.65581128747101</c:v>
                </c:pt>
                <c:pt idx="416">
                  <c:v>283.90429190227132</c:v>
                </c:pt>
                <c:pt idx="417">
                  <c:v>280.25080395337204</c:v>
                </c:pt>
                <c:pt idx="418">
                  <c:v>274.3094873909389</c:v>
                </c:pt>
                <c:pt idx="419">
                  <c:v>280.62937426119436</c:v>
                </c:pt>
                <c:pt idx="420">
                  <c:v>280.97639686887157</c:v>
                </c:pt>
                <c:pt idx="421">
                  <c:v>277.26354704507537</c:v>
                </c:pt>
                <c:pt idx="422">
                  <c:v>280.86860495677797</c:v>
                </c:pt>
                <c:pt idx="423">
                  <c:v>276.48528241569443</c:v>
                </c:pt>
                <c:pt idx="424">
                  <c:v>278.94168354786314</c:v>
                </c:pt>
                <c:pt idx="425">
                  <c:v>283.0968730460786</c:v>
                </c:pt>
                <c:pt idx="426">
                  <c:v>278.75448742193635</c:v>
                </c:pt>
                <c:pt idx="427">
                  <c:v>274.20840104597494</c:v>
                </c:pt>
                <c:pt idx="428">
                  <c:v>274.91565444996604</c:v>
                </c:pt>
                <c:pt idx="429">
                  <c:v>280.66491548898398</c:v>
                </c:pt>
                <c:pt idx="430">
                  <c:v>278.17281218772791</c:v>
                </c:pt>
                <c:pt idx="431">
                  <c:v>277.08415610794202</c:v>
                </c:pt>
                <c:pt idx="432">
                  <c:v>274.01279847979799</c:v>
                </c:pt>
                <c:pt idx="433">
                  <c:v>277.98181841662665</c:v>
                </c:pt>
                <c:pt idx="434">
                  <c:v>278.88864804230161</c:v>
                </c:pt>
                <c:pt idx="435">
                  <c:v>275.91339235793976</c:v>
                </c:pt>
                <c:pt idx="436">
                  <c:v>278.97368165513876</c:v>
                </c:pt>
                <c:pt idx="437">
                  <c:v>277.93268492921266</c:v>
                </c:pt>
                <c:pt idx="438">
                  <c:v>282.144854080762</c:v>
                </c:pt>
                <c:pt idx="439">
                  <c:v>279.24372718183827</c:v>
                </c:pt>
                <c:pt idx="440">
                  <c:v>278.11605456632117</c:v>
                </c:pt>
                <c:pt idx="441">
                  <c:v>285.71221499557225</c:v>
                </c:pt>
                <c:pt idx="442">
                  <c:v>276.26912696385068</c:v>
                </c:pt>
                <c:pt idx="443">
                  <c:v>276.5824482495176</c:v>
                </c:pt>
                <c:pt idx="444">
                  <c:v>276.69018572876871</c:v>
                </c:pt>
                <c:pt idx="445">
                  <c:v>270.85523462679419</c:v>
                </c:pt>
                <c:pt idx="446">
                  <c:v>275.58362109336815</c:v>
                </c:pt>
                <c:pt idx="447">
                  <c:v>276.15627685999459</c:v>
                </c:pt>
                <c:pt idx="448">
                  <c:v>280.58540910755823</c:v>
                </c:pt>
                <c:pt idx="449">
                  <c:v>284.13290074548286</c:v>
                </c:pt>
                <c:pt idx="450">
                  <c:v>275.16954857489873</c:v>
                </c:pt>
                <c:pt idx="451">
                  <c:v>276.18777108291465</c:v>
                </c:pt>
                <c:pt idx="452">
                  <c:v>273.97381175903331</c:v>
                </c:pt>
                <c:pt idx="453">
                  <c:v>279.69724047542854</c:v>
                </c:pt>
                <c:pt idx="454">
                  <c:v>278.03026363425408</c:v>
                </c:pt>
                <c:pt idx="455">
                  <c:v>271.89666189127047</c:v>
                </c:pt>
                <c:pt idx="456">
                  <c:v>277.59442260485434</c:v>
                </c:pt>
                <c:pt idx="457">
                  <c:v>285.94550331715016</c:v>
                </c:pt>
                <c:pt idx="458">
                  <c:v>275.64354086318406</c:v>
                </c:pt>
                <c:pt idx="459">
                  <c:v>278.58534476804164</c:v>
                </c:pt>
                <c:pt idx="460">
                  <c:v>273.16609759862683</c:v>
                </c:pt>
                <c:pt idx="461">
                  <c:v>276.08486203623306</c:v>
                </c:pt>
                <c:pt idx="462">
                  <c:v>271.99968405285256</c:v>
                </c:pt>
                <c:pt idx="463">
                  <c:v>266.00764587793162</c:v>
                </c:pt>
                <c:pt idx="464">
                  <c:v>270.78896474569592</c:v>
                </c:pt>
                <c:pt idx="465">
                  <c:v>270.25659898099138</c:v>
                </c:pt>
                <c:pt idx="466">
                  <c:v>276.16985693545462</c:v>
                </c:pt>
                <c:pt idx="467">
                  <c:v>295.74818540513979</c:v>
                </c:pt>
                <c:pt idx="468">
                  <c:v>309.04866577666144</c:v>
                </c:pt>
                <c:pt idx="469">
                  <c:v>277.71418371782693</c:v>
                </c:pt>
                <c:pt idx="470">
                  <c:v>277.27079501813841</c:v>
                </c:pt>
                <c:pt idx="471">
                  <c:v>274.81807635206189</c:v>
                </c:pt>
                <c:pt idx="472">
                  <c:v>278.91318889016077</c:v>
                </c:pt>
                <c:pt idx="473">
                  <c:v>275.78697762053412</c:v>
                </c:pt>
                <c:pt idx="474">
                  <c:v>275.48713192813341</c:v>
                </c:pt>
                <c:pt idx="475">
                  <c:v>280.05592653922884</c:v>
                </c:pt>
                <c:pt idx="476">
                  <c:v>279.33499363718579</c:v>
                </c:pt>
                <c:pt idx="477">
                  <c:v>280.91246753945882</c:v>
                </c:pt>
                <c:pt idx="478">
                  <c:v>272.28844287327661</c:v>
                </c:pt>
                <c:pt idx="479">
                  <c:v>278.05642941879205</c:v>
                </c:pt>
                <c:pt idx="480">
                  <c:v>283.95993231643718</c:v>
                </c:pt>
                <c:pt idx="481">
                  <c:v>285.70774614609377</c:v>
                </c:pt>
                <c:pt idx="482">
                  <c:v>283.68458394416405</c:v>
                </c:pt>
                <c:pt idx="483">
                  <c:v>286.74000978015738</c:v>
                </c:pt>
                <c:pt idx="484">
                  <c:v>280.50768263852444</c:v>
                </c:pt>
                <c:pt idx="485">
                  <c:v>282.14390547960329</c:v>
                </c:pt>
                <c:pt idx="486">
                  <c:v>273.11903327249763</c:v>
                </c:pt>
                <c:pt idx="487">
                  <c:v>278.50637025025071</c:v>
                </c:pt>
                <c:pt idx="488">
                  <c:v>275.22858690961357</c:v>
                </c:pt>
                <c:pt idx="489">
                  <c:v>276.03258636824398</c:v>
                </c:pt>
                <c:pt idx="490">
                  <c:v>273.70081289878692</c:v>
                </c:pt>
                <c:pt idx="491">
                  <c:v>267.28426152869781</c:v>
                </c:pt>
                <c:pt idx="492">
                  <c:v>286.87555173432611</c:v>
                </c:pt>
                <c:pt idx="493">
                  <c:v>289.60728492848023</c:v>
                </c:pt>
                <c:pt idx="494">
                  <c:v>286.3062155627357</c:v>
                </c:pt>
                <c:pt idx="495">
                  <c:v>347.43817126692102</c:v>
                </c:pt>
                <c:pt idx="496">
                  <c:v>361.32925187320802</c:v>
                </c:pt>
                <c:pt idx="497">
                  <c:v>0</c:v>
                </c:pt>
                <c:pt idx="498">
                  <c:v>0</c:v>
                </c:pt>
                <c:pt idx="499">
                  <c:v>268.26435476259553</c:v>
                </c:pt>
                <c:pt idx="500">
                  <c:v>266.76911022063291</c:v>
                </c:pt>
                <c:pt idx="501">
                  <c:v>273.02752397901315</c:v>
                </c:pt>
                <c:pt idx="502">
                  <c:v>273.6270688313133</c:v>
                </c:pt>
                <c:pt idx="503">
                  <c:v>269.39686230660777</c:v>
                </c:pt>
                <c:pt idx="504">
                  <c:v>274.02076326225085</c:v>
                </c:pt>
                <c:pt idx="505">
                  <c:v>264.7073585502136</c:v>
                </c:pt>
                <c:pt idx="506">
                  <c:v>286.39818751779831</c:v>
                </c:pt>
                <c:pt idx="507">
                  <c:v>272.18440325431425</c:v>
                </c:pt>
                <c:pt idx="508">
                  <c:v>275.69049109109142</c:v>
                </c:pt>
                <c:pt idx="509">
                  <c:v>265.2395911867269</c:v>
                </c:pt>
                <c:pt idx="510">
                  <c:v>265.75555866823424</c:v>
                </c:pt>
                <c:pt idx="511">
                  <c:v>270.77823601135628</c:v>
                </c:pt>
                <c:pt idx="512">
                  <c:v>274.96756164460351</c:v>
                </c:pt>
                <c:pt idx="513">
                  <c:v>271.35926098185985</c:v>
                </c:pt>
                <c:pt idx="514">
                  <c:v>272.16819199428016</c:v>
                </c:pt>
                <c:pt idx="515">
                  <c:v>270.0039825008264</c:v>
                </c:pt>
                <c:pt idx="516">
                  <c:v>270.40462357164847</c:v>
                </c:pt>
                <c:pt idx="517">
                  <c:v>269.57550592806467</c:v>
                </c:pt>
                <c:pt idx="518">
                  <c:v>274.06677257814044</c:v>
                </c:pt>
                <c:pt idx="519">
                  <c:v>270.09015304870275</c:v>
                </c:pt>
                <c:pt idx="520">
                  <c:v>271.1795439845182</c:v>
                </c:pt>
                <c:pt idx="521">
                  <c:v>267.04358190595576</c:v>
                </c:pt>
                <c:pt idx="522">
                  <c:v>270.32005726194939</c:v>
                </c:pt>
                <c:pt idx="523">
                  <c:v>271.18226341535967</c:v>
                </c:pt>
                <c:pt idx="524">
                  <c:v>274.35299096240124</c:v>
                </c:pt>
                <c:pt idx="525">
                  <c:v>274.48229197936985</c:v>
                </c:pt>
                <c:pt idx="526">
                  <c:v>275.11703596678717</c:v>
                </c:pt>
                <c:pt idx="527">
                  <c:v>279.22618822408629</c:v>
                </c:pt>
                <c:pt idx="528">
                  <c:v>273.21220973606137</c:v>
                </c:pt>
                <c:pt idx="529">
                  <c:v>277.11376180748732</c:v>
                </c:pt>
                <c:pt idx="530">
                  <c:v>274.96982006781184</c:v>
                </c:pt>
                <c:pt idx="531">
                  <c:v>274.61192650020701</c:v>
                </c:pt>
                <c:pt idx="532">
                  <c:v>279.72337984788203</c:v>
                </c:pt>
                <c:pt idx="533">
                  <c:v>291.02033309210185</c:v>
                </c:pt>
                <c:pt idx="534">
                  <c:v>278.28725247682314</c:v>
                </c:pt>
                <c:pt idx="535">
                  <c:v>272.43341889997794</c:v>
                </c:pt>
                <c:pt idx="536">
                  <c:v>273.00487907841648</c:v>
                </c:pt>
                <c:pt idx="537">
                  <c:v>280.45198075077474</c:v>
                </c:pt>
                <c:pt idx="538">
                  <c:v>279.09887059468792</c:v>
                </c:pt>
                <c:pt idx="539">
                  <c:v>281.03873146433364</c:v>
                </c:pt>
                <c:pt idx="540">
                  <c:v>280.32657896605815</c:v>
                </c:pt>
                <c:pt idx="541">
                  <c:v>281.09553247069255</c:v>
                </c:pt>
                <c:pt idx="542">
                  <c:v>293.0426221778564</c:v>
                </c:pt>
                <c:pt idx="543">
                  <c:v>273.18507275582692</c:v>
                </c:pt>
                <c:pt idx="544">
                  <c:v>284.77550745249641</c:v>
                </c:pt>
                <c:pt idx="545">
                  <c:v>271.01722539135426</c:v>
                </c:pt>
                <c:pt idx="546">
                  <c:v>270.14553993137713</c:v>
                </c:pt>
                <c:pt idx="547">
                  <c:v>277.99762543911322</c:v>
                </c:pt>
                <c:pt idx="548">
                  <c:v>272.24880630767325</c:v>
                </c:pt>
                <c:pt idx="549">
                  <c:v>276.29332901105624</c:v>
                </c:pt>
                <c:pt idx="550">
                  <c:v>274.31615127841815</c:v>
                </c:pt>
                <c:pt idx="551">
                  <c:v>265.14863729547744</c:v>
                </c:pt>
                <c:pt idx="552">
                  <c:v>271.81091455471301</c:v>
                </c:pt>
                <c:pt idx="553">
                  <c:v>273.85978260648312</c:v>
                </c:pt>
                <c:pt idx="554">
                  <c:v>269.92477652489458</c:v>
                </c:pt>
                <c:pt idx="555">
                  <c:v>276.6274602195665</c:v>
                </c:pt>
                <c:pt idx="556">
                  <c:v>275.78778161261459</c:v>
                </c:pt>
                <c:pt idx="557">
                  <c:v>273.71267461339369</c:v>
                </c:pt>
                <c:pt idx="558">
                  <c:v>269.86207655465648</c:v>
                </c:pt>
                <c:pt idx="559">
                  <c:v>269.50675851720439</c:v>
                </c:pt>
                <c:pt idx="560">
                  <c:v>273.61662161953768</c:v>
                </c:pt>
                <c:pt idx="561">
                  <c:v>273.85104964602579</c:v>
                </c:pt>
                <c:pt idx="562">
                  <c:v>276.05469316354856</c:v>
                </c:pt>
                <c:pt idx="563">
                  <c:v>271.5014778157223</c:v>
                </c:pt>
                <c:pt idx="564">
                  <c:v>278.14746353533258</c:v>
                </c:pt>
                <c:pt idx="565">
                  <c:v>280.09580277016119</c:v>
                </c:pt>
                <c:pt idx="566">
                  <c:v>261.81839824794918</c:v>
                </c:pt>
                <c:pt idx="567">
                  <c:v>275.03043409020438</c:v>
                </c:pt>
                <c:pt idx="568">
                  <c:v>283.77885422334577</c:v>
                </c:pt>
                <c:pt idx="569">
                  <c:v>281.11305960701998</c:v>
                </c:pt>
                <c:pt idx="570">
                  <c:v>285.33295245650186</c:v>
                </c:pt>
                <c:pt idx="571">
                  <c:v>279.91050342590995</c:v>
                </c:pt>
                <c:pt idx="572">
                  <c:v>282.00975319840086</c:v>
                </c:pt>
                <c:pt idx="573">
                  <c:v>279.63095760799263</c:v>
                </c:pt>
                <c:pt idx="574">
                  <c:v>278.68668793579616</c:v>
                </c:pt>
                <c:pt idx="575">
                  <c:v>268.84923975652373</c:v>
                </c:pt>
                <c:pt idx="576">
                  <c:v>268.54863071609623</c:v>
                </c:pt>
                <c:pt idx="577">
                  <c:v>266.23246573474864</c:v>
                </c:pt>
                <c:pt idx="578">
                  <c:v>268.35391916983485</c:v>
                </c:pt>
                <c:pt idx="579">
                  <c:v>273.23579248413046</c:v>
                </c:pt>
                <c:pt idx="580">
                  <c:v>274.13000166588381</c:v>
                </c:pt>
                <c:pt idx="581">
                  <c:v>277.63045647778404</c:v>
                </c:pt>
                <c:pt idx="582">
                  <c:v>275.77780903850544</c:v>
                </c:pt>
                <c:pt idx="583">
                  <c:v>268.56533055212572</c:v>
                </c:pt>
                <c:pt idx="584">
                  <c:v>272.7967351868823</c:v>
                </c:pt>
                <c:pt idx="585">
                  <c:v>278.64400977175524</c:v>
                </c:pt>
                <c:pt idx="586">
                  <c:v>276.92638101918362</c:v>
                </c:pt>
                <c:pt idx="587">
                  <c:v>275.49664480439856</c:v>
                </c:pt>
                <c:pt idx="588">
                  <c:v>278.8223187789813</c:v>
                </c:pt>
                <c:pt idx="589">
                  <c:v>274.24147031745974</c:v>
                </c:pt>
                <c:pt idx="590">
                  <c:v>279.90984778646919</c:v>
                </c:pt>
                <c:pt idx="591">
                  <c:v>279.39008341194619</c:v>
                </c:pt>
                <c:pt idx="592">
                  <c:v>278.07328045394445</c:v>
                </c:pt>
                <c:pt idx="593">
                  <c:v>268.64515412236358</c:v>
                </c:pt>
                <c:pt idx="594">
                  <c:v>266.95046585823513</c:v>
                </c:pt>
                <c:pt idx="595">
                  <c:v>270.57668640152406</c:v>
                </c:pt>
                <c:pt idx="596">
                  <c:v>269.82772410736493</c:v>
                </c:pt>
                <c:pt idx="597">
                  <c:v>271.60070300774134</c:v>
                </c:pt>
                <c:pt idx="598">
                  <c:v>278.31109911912063</c:v>
                </c:pt>
                <c:pt idx="599">
                  <c:v>280.96777055168513</c:v>
                </c:pt>
                <c:pt idx="600">
                  <c:v>282.87900873580759</c:v>
                </c:pt>
                <c:pt idx="601">
                  <c:v>289.82259118278319</c:v>
                </c:pt>
                <c:pt idx="602">
                  <c:v>273.18630908903242</c:v>
                </c:pt>
                <c:pt idx="603">
                  <c:v>270.68596255727334</c:v>
                </c:pt>
                <c:pt idx="604">
                  <c:v>268.27243029674139</c:v>
                </c:pt>
                <c:pt idx="605">
                  <c:v>270.71959267616114</c:v>
                </c:pt>
                <c:pt idx="606">
                  <c:v>272.41363843074089</c:v>
                </c:pt>
                <c:pt idx="607">
                  <c:v>291.33190442713908</c:v>
                </c:pt>
                <c:pt idx="608">
                  <c:v>276.03677346412792</c:v>
                </c:pt>
                <c:pt idx="609">
                  <c:v>277.18020439329723</c:v>
                </c:pt>
                <c:pt idx="610">
                  <c:v>279.67543916540819</c:v>
                </c:pt>
                <c:pt idx="611">
                  <c:v>279.03412907952247</c:v>
                </c:pt>
                <c:pt idx="612">
                  <c:v>266.42711615242467</c:v>
                </c:pt>
                <c:pt idx="613">
                  <c:v>277.63578600991696</c:v>
                </c:pt>
                <c:pt idx="614">
                  <c:v>273.77732942875616</c:v>
                </c:pt>
                <c:pt idx="615">
                  <c:v>279.73783389750031</c:v>
                </c:pt>
                <c:pt idx="616">
                  <c:v>281.47951346039201</c:v>
                </c:pt>
                <c:pt idx="617">
                  <c:v>285.15670950772335</c:v>
                </c:pt>
                <c:pt idx="618">
                  <c:v>274.87208887944837</c:v>
                </c:pt>
                <c:pt idx="619">
                  <c:v>277.25504676482728</c:v>
                </c:pt>
                <c:pt idx="620">
                  <c:v>272.61493441219284</c:v>
                </c:pt>
                <c:pt idx="621">
                  <c:v>281.91893243599998</c:v>
                </c:pt>
                <c:pt idx="622">
                  <c:v>272.92086804484336</c:v>
                </c:pt>
                <c:pt idx="623">
                  <c:v>288.97442407658434</c:v>
                </c:pt>
                <c:pt idx="624">
                  <c:v>280.29841699089741</c:v>
                </c:pt>
                <c:pt idx="625">
                  <c:v>298.70050110984596</c:v>
                </c:pt>
                <c:pt idx="626">
                  <c:v>301.52616886933424</c:v>
                </c:pt>
                <c:pt idx="627">
                  <c:v>301.64323984673888</c:v>
                </c:pt>
                <c:pt idx="628">
                  <c:v>304.46118658052637</c:v>
                </c:pt>
                <c:pt idx="629">
                  <c:v>289.36907649378156</c:v>
                </c:pt>
                <c:pt idx="630">
                  <c:v>281.35422074615383</c:v>
                </c:pt>
                <c:pt idx="631">
                  <c:v>284.000385394977</c:v>
                </c:pt>
                <c:pt idx="632">
                  <c:v>276.21321428560577</c:v>
                </c:pt>
                <c:pt idx="633">
                  <c:v>275.99012783525222</c:v>
                </c:pt>
                <c:pt idx="634">
                  <c:v>270.51277100339951</c:v>
                </c:pt>
                <c:pt idx="635">
                  <c:v>276.47923187652088</c:v>
                </c:pt>
                <c:pt idx="636">
                  <c:v>280.20642568906544</c:v>
                </c:pt>
                <c:pt idx="637">
                  <c:v>277.64194386812062</c:v>
                </c:pt>
                <c:pt idx="638">
                  <c:v>276.67513133573527</c:v>
                </c:pt>
                <c:pt idx="639">
                  <c:v>305.48006565550565</c:v>
                </c:pt>
                <c:pt idx="640">
                  <c:v>308.40368872634133</c:v>
                </c:pt>
                <c:pt idx="641">
                  <c:v>357.93546017531708</c:v>
                </c:pt>
                <c:pt idx="642">
                  <c:v>0</c:v>
                </c:pt>
                <c:pt idx="643">
                  <c:v>236.66710277200218</c:v>
                </c:pt>
                <c:pt idx="644">
                  <c:v>289.87543227035167</c:v>
                </c:pt>
                <c:pt idx="645">
                  <c:v>283.25334980894741</c:v>
                </c:pt>
                <c:pt idx="646">
                  <c:v>288.51514824329001</c:v>
                </c:pt>
                <c:pt idx="647">
                  <c:v>289.58929598577072</c:v>
                </c:pt>
                <c:pt idx="648">
                  <c:v>293.67047493212033</c:v>
                </c:pt>
                <c:pt idx="649">
                  <c:v>282.76494960845798</c:v>
                </c:pt>
                <c:pt idx="650">
                  <c:v>284.1481329655611</c:v>
                </c:pt>
                <c:pt idx="651">
                  <c:v>277.25568641638154</c:v>
                </c:pt>
                <c:pt idx="652">
                  <c:v>278.35057008711726</c:v>
                </c:pt>
                <c:pt idx="653">
                  <c:v>274.75629219657355</c:v>
                </c:pt>
                <c:pt idx="654">
                  <c:v>267.51490742845965</c:v>
                </c:pt>
                <c:pt idx="655">
                  <c:v>269.58331931537691</c:v>
                </c:pt>
                <c:pt idx="656">
                  <c:v>280.55802917732967</c:v>
                </c:pt>
                <c:pt idx="657">
                  <c:v>281.90514275533735</c:v>
                </c:pt>
                <c:pt idx="658">
                  <c:v>277.48408807552642</c:v>
                </c:pt>
                <c:pt idx="659">
                  <c:v>288.40063423402387</c:v>
                </c:pt>
                <c:pt idx="660">
                  <c:v>275.996445744722</c:v>
                </c:pt>
                <c:pt idx="661">
                  <c:v>285.37344829866981</c:v>
                </c:pt>
                <c:pt idx="662">
                  <c:v>270.5013036748195</c:v>
                </c:pt>
                <c:pt idx="663">
                  <c:v>272.7626993001777</c:v>
                </c:pt>
                <c:pt idx="664">
                  <c:v>267.16660482105294</c:v>
                </c:pt>
                <c:pt idx="665">
                  <c:v>270.77639573391059</c:v>
                </c:pt>
                <c:pt idx="666">
                  <c:v>279.55362463135123</c:v>
                </c:pt>
                <c:pt idx="667">
                  <c:v>280.14449409618999</c:v>
                </c:pt>
                <c:pt idx="668">
                  <c:v>280.44053046011243</c:v>
                </c:pt>
                <c:pt idx="669">
                  <c:v>293.30959371829715</c:v>
                </c:pt>
                <c:pt idx="670">
                  <c:v>267.64143301452043</c:v>
                </c:pt>
                <c:pt idx="671">
                  <c:v>280.57881215204213</c:v>
                </c:pt>
                <c:pt idx="672">
                  <c:v>275.63094029494766</c:v>
                </c:pt>
                <c:pt idx="673">
                  <c:v>273.66368409368465</c:v>
                </c:pt>
                <c:pt idx="674">
                  <c:v>278.75915260208262</c:v>
                </c:pt>
                <c:pt idx="675">
                  <c:v>275.3267138965216</c:v>
                </c:pt>
                <c:pt idx="676">
                  <c:v>275.84503244840937</c:v>
                </c:pt>
                <c:pt idx="677">
                  <c:v>278.43870425921875</c:v>
                </c:pt>
                <c:pt idx="678">
                  <c:v>273.11488586713415</c:v>
                </c:pt>
                <c:pt idx="679">
                  <c:v>285.68468927904053</c:v>
                </c:pt>
                <c:pt idx="680">
                  <c:v>277.18066460274315</c:v>
                </c:pt>
                <c:pt idx="681">
                  <c:v>282.92866550344024</c:v>
                </c:pt>
                <c:pt idx="682">
                  <c:v>285.74301846187336</c:v>
                </c:pt>
                <c:pt idx="683">
                  <c:v>267.19676455807007</c:v>
                </c:pt>
                <c:pt idx="684">
                  <c:v>295.89354032051153</c:v>
                </c:pt>
                <c:pt idx="685">
                  <c:v>268.10424621982156</c:v>
                </c:pt>
                <c:pt idx="686">
                  <c:v>276.07598466400509</c:v>
                </c:pt>
                <c:pt idx="687">
                  <c:v>275.22579658854522</c:v>
                </c:pt>
                <c:pt idx="688">
                  <c:v>272.23333783112491</c:v>
                </c:pt>
                <c:pt idx="689">
                  <c:v>273.71381026500853</c:v>
                </c:pt>
                <c:pt idx="690">
                  <c:v>273.22793743954833</c:v>
                </c:pt>
                <c:pt idx="691">
                  <c:v>268.98364067414752</c:v>
                </c:pt>
                <c:pt idx="692">
                  <c:v>276.7552713682187</c:v>
                </c:pt>
                <c:pt idx="693">
                  <c:v>275.66113251348554</c:v>
                </c:pt>
                <c:pt idx="694">
                  <c:v>269.76399654827446</c:v>
                </c:pt>
                <c:pt idx="695">
                  <c:v>274.84524090082868</c:v>
                </c:pt>
                <c:pt idx="696">
                  <c:v>273.46092657846282</c:v>
                </c:pt>
                <c:pt idx="697">
                  <c:v>274.8931955820824</c:v>
                </c:pt>
                <c:pt idx="698">
                  <c:v>271.67432420580724</c:v>
                </c:pt>
                <c:pt idx="699">
                  <c:v>268.130456056296</c:v>
                </c:pt>
                <c:pt idx="700">
                  <c:v>268.3593323299275</c:v>
                </c:pt>
                <c:pt idx="701">
                  <c:v>264.75225045624586</c:v>
                </c:pt>
                <c:pt idx="702">
                  <c:v>273.51557698536101</c:v>
                </c:pt>
                <c:pt idx="703">
                  <c:v>270.14883072673524</c:v>
                </c:pt>
                <c:pt idx="704">
                  <c:v>270.61763366114519</c:v>
                </c:pt>
                <c:pt idx="705">
                  <c:v>268.81850357304495</c:v>
                </c:pt>
                <c:pt idx="706">
                  <c:v>268.74929375824343</c:v>
                </c:pt>
                <c:pt idx="707">
                  <c:v>269.67219224628514</c:v>
                </c:pt>
                <c:pt idx="708">
                  <c:v>283.57004201365385</c:v>
                </c:pt>
                <c:pt idx="709">
                  <c:v>271.5630703190501</c:v>
                </c:pt>
                <c:pt idx="710">
                  <c:v>270.33143841459116</c:v>
                </c:pt>
                <c:pt idx="711">
                  <c:v>266.96247000820006</c:v>
                </c:pt>
                <c:pt idx="712">
                  <c:v>272.26037038189929</c:v>
                </c:pt>
                <c:pt idx="713">
                  <c:v>271.86130243536172</c:v>
                </c:pt>
                <c:pt idx="714">
                  <c:v>264.12446829985004</c:v>
                </c:pt>
                <c:pt idx="715">
                  <c:v>268.52672663467831</c:v>
                </c:pt>
                <c:pt idx="716">
                  <c:v>266.92930381803387</c:v>
                </c:pt>
                <c:pt idx="717">
                  <c:v>271.63887801075509</c:v>
                </c:pt>
                <c:pt idx="718">
                  <c:v>264.15436586910528</c:v>
                </c:pt>
                <c:pt idx="719">
                  <c:v>269.04026908432979</c:v>
                </c:pt>
                <c:pt idx="720">
                  <c:v>251.78170297752331</c:v>
                </c:pt>
                <c:pt idx="721">
                  <c:v>270.71379572269655</c:v>
                </c:pt>
                <c:pt idx="722">
                  <c:v>272.22262191296886</c:v>
                </c:pt>
                <c:pt idx="723">
                  <c:v>276.07803941912471</c:v>
                </c:pt>
                <c:pt idx="724">
                  <c:v>292.7979552729912</c:v>
                </c:pt>
                <c:pt idx="725">
                  <c:v>385.68512274786099</c:v>
                </c:pt>
                <c:pt idx="726">
                  <c:v>222.87328401299101</c:v>
                </c:pt>
                <c:pt idx="727">
                  <c:v>277.04376049955238</c:v>
                </c:pt>
                <c:pt idx="728">
                  <c:v>271.1954234309153</c:v>
                </c:pt>
                <c:pt idx="729">
                  <c:v>267.38101729569644</c:v>
                </c:pt>
                <c:pt idx="730">
                  <c:v>267.14917163057339</c:v>
                </c:pt>
                <c:pt idx="731">
                  <c:v>272.54258379691316</c:v>
                </c:pt>
                <c:pt idx="732">
                  <c:v>273.16005526039714</c:v>
                </c:pt>
                <c:pt idx="733">
                  <c:v>268.68470164656742</c:v>
                </c:pt>
                <c:pt idx="734">
                  <c:v>268.81522834823045</c:v>
                </c:pt>
                <c:pt idx="735">
                  <c:v>269.31227424491613</c:v>
                </c:pt>
                <c:pt idx="736">
                  <c:v>274.1959098144539</c:v>
                </c:pt>
                <c:pt idx="737">
                  <c:v>273.32755179392711</c:v>
                </c:pt>
                <c:pt idx="738">
                  <c:v>273.64059613981078</c:v>
                </c:pt>
                <c:pt idx="739">
                  <c:v>275.512762473061</c:v>
                </c:pt>
                <c:pt idx="740">
                  <c:v>272.2738954045933</c:v>
                </c:pt>
                <c:pt idx="741">
                  <c:v>270.88389182711637</c:v>
                </c:pt>
                <c:pt idx="742">
                  <c:v>280.39479934535223</c:v>
                </c:pt>
                <c:pt idx="743">
                  <c:v>269.5347836392292</c:v>
                </c:pt>
                <c:pt idx="744">
                  <c:v>267.28220484386964</c:v>
                </c:pt>
                <c:pt idx="745">
                  <c:v>265.89944147537028</c:v>
                </c:pt>
                <c:pt idx="746">
                  <c:v>266.25255006810676</c:v>
                </c:pt>
                <c:pt idx="747">
                  <c:v>268.05564473777429</c:v>
                </c:pt>
                <c:pt idx="748">
                  <c:v>266.59184856961804</c:v>
                </c:pt>
                <c:pt idx="749">
                  <c:v>269.53531229555585</c:v>
                </c:pt>
                <c:pt idx="750">
                  <c:v>267.2818380233939</c:v>
                </c:pt>
                <c:pt idx="751">
                  <c:v>263.71493392319837</c:v>
                </c:pt>
                <c:pt idx="752">
                  <c:v>256.65261780276421</c:v>
                </c:pt>
                <c:pt idx="753">
                  <c:v>270.93691897648557</c:v>
                </c:pt>
                <c:pt idx="754">
                  <c:v>266.06268401774616</c:v>
                </c:pt>
                <c:pt idx="755">
                  <c:v>265.52886065518612</c:v>
                </c:pt>
                <c:pt idx="756">
                  <c:v>268.49257925899349</c:v>
                </c:pt>
                <c:pt idx="757">
                  <c:v>264.48289104337118</c:v>
                </c:pt>
                <c:pt idx="758">
                  <c:v>271.91422987407566</c:v>
                </c:pt>
                <c:pt idx="759">
                  <c:v>272.0566644545969</c:v>
                </c:pt>
                <c:pt idx="760">
                  <c:v>269.75241025746402</c:v>
                </c:pt>
                <c:pt idx="761">
                  <c:v>275.02452600022627</c:v>
                </c:pt>
                <c:pt idx="762">
                  <c:v>274.55239009816921</c:v>
                </c:pt>
                <c:pt idx="763">
                  <c:v>268.43651211332474</c:v>
                </c:pt>
                <c:pt idx="764">
                  <c:v>270.00295446836401</c:v>
                </c:pt>
                <c:pt idx="765">
                  <c:v>274.93183626766859</c:v>
                </c:pt>
                <c:pt idx="766">
                  <c:v>266.64614640121988</c:v>
                </c:pt>
                <c:pt idx="767">
                  <c:v>268.99733462534982</c:v>
                </c:pt>
                <c:pt idx="768">
                  <c:v>268.74657576326877</c:v>
                </c:pt>
                <c:pt idx="769">
                  <c:v>268.81881402372937</c:v>
                </c:pt>
                <c:pt idx="770">
                  <c:v>271.65691820351742</c:v>
                </c:pt>
                <c:pt idx="771">
                  <c:v>270.34724806965835</c:v>
                </c:pt>
                <c:pt idx="772">
                  <c:v>264.76814218766822</c:v>
                </c:pt>
                <c:pt idx="773">
                  <c:v>267.67776680485179</c:v>
                </c:pt>
                <c:pt idx="774">
                  <c:v>266.95803545267165</c:v>
                </c:pt>
                <c:pt idx="775">
                  <c:v>268.26104687203315</c:v>
                </c:pt>
                <c:pt idx="776">
                  <c:v>265.18879907421899</c:v>
                </c:pt>
                <c:pt idx="777">
                  <c:v>266.61016056422852</c:v>
                </c:pt>
                <c:pt idx="778">
                  <c:v>265.57095120757356</c:v>
                </c:pt>
                <c:pt idx="779">
                  <c:v>261.59400642217406</c:v>
                </c:pt>
                <c:pt idx="780">
                  <c:v>263.66330969279579</c:v>
                </c:pt>
                <c:pt idx="781">
                  <c:v>264.79804277403036</c:v>
                </c:pt>
                <c:pt idx="782">
                  <c:v>265.86801762747643</c:v>
                </c:pt>
                <c:pt idx="783">
                  <c:v>266.54747680117725</c:v>
                </c:pt>
                <c:pt idx="784">
                  <c:v>272.15424026077017</c:v>
                </c:pt>
                <c:pt idx="785">
                  <c:v>274.83880399920724</c:v>
                </c:pt>
                <c:pt idx="786">
                  <c:v>270.33452862736556</c:v>
                </c:pt>
                <c:pt idx="787">
                  <c:v>270.87293063527397</c:v>
                </c:pt>
                <c:pt idx="788">
                  <c:v>277.78592262580935</c:v>
                </c:pt>
                <c:pt idx="789">
                  <c:v>267.3604729008656</c:v>
                </c:pt>
                <c:pt idx="790">
                  <c:v>269.94173587134298</c:v>
                </c:pt>
                <c:pt idx="791">
                  <c:v>257.79206726563245</c:v>
                </c:pt>
                <c:pt idx="792">
                  <c:v>262.69717078407143</c:v>
                </c:pt>
                <c:pt idx="793">
                  <c:v>268.51213626094204</c:v>
                </c:pt>
                <c:pt idx="794">
                  <c:v>267.01184914525015</c:v>
                </c:pt>
                <c:pt idx="795">
                  <c:v>265.38628840762215</c:v>
                </c:pt>
                <c:pt idx="796">
                  <c:v>269.41425601374215</c:v>
                </c:pt>
                <c:pt idx="797">
                  <c:v>272.49150674261591</c:v>
                </c:pt>
                <c:pt idx="798">
                  <c:v>269.83892088136383</c:v>
                </c:pt>
                <c:pt idx="799">
                  <c:v>269.89187353098487</c:v>
                </c:pt>
                <c:pt idx="800">
                  <c:v>273.06921630369254</c:v>
                </c:pt>
                <c:pt idx="801">
                  <c:v>268.92289799857963</c:v>
                </c:pt>
                <c:pt idx="802">
                  <c:v>274.91424267199727</c:v>
                </c:pt>
                <c:pt idx="803">
                  <c:v>277.30402270369177</c:v>
                </c:pt>
                <c:pt idx="804">
                  <c:v>268.13886537312271</c:v>
                </c:pt>
                <c:pt idx="805">
                  <c:v>280.55765247724128</c:v>
                </c:pt>
                <c:pt idx="806">
                  <c:v>278.02961408689953</c:v>
                </c:pt>
                <c:pt idx="807">
                  <c:v>269.18113541818593</c:v>
                </c:pt>
                <c:pt idx="808">
                  <c:v>274.71736816457781</c:v>
                </c:pt>
                <c:pt idx="809">
                  <c:v>277.1199608367682</c:v>
                </c:pt>
                <c:pt idx="810">
                  <c:v>274.76416712437288</c:v>
                </c:pt>
                <c:pt idx="811">
                  <c:v>267.66219632570596</c:v>
                </c:pt>
                <c:pt idx="812">
                  <c:v>275.23978573111685</c:v>
                </c:pt>
                <c:pt idx="813">
                  <c:v>271.98690113540681</c:v>
                </c:pt>
                <c:pt idx="814">
                  <c:v>270.08821947753279</c:v>
                </c:pt>
                <c:pt idx="815">
                  <c:v>266.43992607622317</c:v>
                </c:pt>
                <c:pt idx="816">
                  <c:v>267.66607427369456</c:v>
                </c:pt>
                <c:pt idx="817">
                  <c:v>270.11322085516849</c:v>
                </c:pt>
                <c:pt idx="818">
                  <c:v>272.64227768595129</c:v>
                </c:pt>
                <c:pt idx="819">
                  <c:v>275.26835282005095</c:v>
                </c:pt>
                <c:pt idx="820">
                  <c:v>275.32828129538302</c:v>
                </c:pt>
                <c:pt idx="821">
                  <c:v>275.05122929495872</c:v>
                </c:pt>
                <c:pt idx="822">
                  <c:v>273.41003735719403</c:v>
                </c:pt>
                <c:pt idx="823">
                  <c:v>281.90078462656072</c:v>
                </c:pt>
                <c:pt idx="824">
                  <c:v>276.47282550302816</c:v>
                </c:pt>
                <c:pt idx="825">
                  <c:v>290.65080644669092</c:v>
                </c:pt>
                <c:pt idx="826">
                  <c:v>279.74248941396911</c:v>
                </c:pt>
                <c:pt idx="827">
                  <c:v>282.4577374048223</c:v>
                </c:pt>
                <c:pt idx="828">
                  <c:v>284.53676863792282</c:v>
                </c:pt>
                <c:pt idx="829">
                  <c:v>287.63563899910616</c:v>
                </c:pt>
                <c:pt idx="830">
                  <c:v>285.67683259265391</c:v>
                </c:pt>
                <c:pt idx="831">
                  <c:v>287.77782436440691</c:v>
                </c:pt>
                <c:pt idx="832">
                  <c:v>278.24043413737104</c:v>
                </c:pt>
                <c:pt idx="833">
                  <c:v>282.20351521846999</c:v>
                </c:pt>
                <c:pt idx="834">
                  <c:v>284.59106800797952</c:v>
                </c:pt>
                <c:pt idx="835">
                  <c:v>270.17051694813665</c:v>
                </c:pt>
                <c:pt idx="836">
                  <c:v>274.48014912418932</c:v>
                </c:pt>
                <c:pt idx="837">
                  <c:v>275.00868143255991</c:v>
                </c:pt>
                <c:pt idx="838">
                  <c:v>272.86170355956858</c:v>
                </c:pt>
                <c:pt idx="839">
                  <c:v>275.80265834166244</c:v>
                </c:pt>
                <c:pt idx="840">
                  <c:v>277.89980268204124</c:v>
                </c:pt>
                <c:pt idx="841">
                  <c:v>277.28283110865777</c:v>
                </c:pt>
                <c:pt idx="842">
                  <c:v>277.52699890677195</c:v>
                </c:pt>
                <c:pt idx="843">
                  <c:v>278.83376609110519</c:v>
                </c:pt>
                <c:pt idx="844">
                  <c:v>281.50685087138254</c:v>
                </c:pt>
                <c:pt idx="845">
                  <c:v>274.00667569417089</c:v>
                </c:pt>
                <c:pt idx="846">
                  <c:v>292.13253166952416</c:v>
                </c:pt>
                <c:pt idx="847">
                  <c:v>278.1653118094946</c:v>
                </c:pt>
                <c:pt idx="848">
                  <c:v>273.20625422426792</c:v>
                </c:pt>
                <c:pt idx="849">
                  <c:v>280.68058705013289</c:v>
                </c:pt>
                <c:pt idx="850">
                  <c:v>274.31262480147279</c:v>
                </c:pt>
                <c:pt idx="851">
                  <c:v>272.14391826023586</c:v>
                </c:pt>
                <c:pt idx="852">
                  <c:v>284.04780926754574</c:v>
                </c:pt>
                <c:pt idx="853">
                  <c:v>274.09998813323841</c:v>
                </c:pt>
                <c:pt idx="854">
                  <c:v>279.74327849019869</c:v>
                </c:pt>
                <c:pt idx="855">
                  <c:v>275.47806312846592</c:v>
                </c:pt>
                <c:pt idx="856">
                  <c:v>277.9976402922041</c:v>
                </c:pt>
                <c:pt idx="857">
                  <c:v>280.96680716032768</c:v>
                </c:pt>
                <c:pt idx="858">
                  <c:v>279.56840809944174</c:v>
                </c:pt>
                <c:pt idx="859">
                  <c:v>279.14523780146419</c:v>
                </c:pt>
                <c:pt idx="860">
                  <c:v>284.45366825293138</c:v>
                </c:pt>
                <c:pt idx="861">
                  <c:v>297.72040360571077</c:v>
                </c:pt>
                <c:pt idx="862">
                  <c:v>228.71893280802078</c:v>
                </c:pt>
                <c:pt idx="863">
                  <c:v>275.71564304074718</c:v>
                </c:pt>
                <c:pt idx="864">
                  <c:v>306.63091377180479</c:v>
                </c:pt>
                <c:pt idx="865">
                  <c:v>302.33919523466773</c:v>
                </c:pt>
                <c:pt idx="866">
                  <c:v>270.33733025422055</c:v>
                </c:pt>
                <c:pt idx="867">
                  <c:v>281.12505473384817</c:v>
                </c:pt>
                <c:pt idx="868">
                  <c:v>287.60551160234718</c:v>
                </c:pt>
                <c:pt idx="869">
                  <c:v>285.22371997001528</c:v>
                </c:pt>
                <c:pt idx="870">
                  <c:v>276.50359036436691</c:v>
                </c:pt>
                <c:pt idx="871">
                  <c:v>281.53098994909556</c:v>
                </c:pt>
                <c:pt idx="872">
                  <c:v>273.4259907202196</c:v>
                </c:pt>
                <c:pt idx="873">
                  <c:v>275.6855271200244</c:v>
                </c:pt>
                <c:pt idx="874">
                  <c:v>275.08808140033295</c:v>
                </c:pt>
                <c:pt idx="875">
                  <c:v>277.67362957103876</c:v>
                </c:pt>
                <c:pt idx="876">
                  <c:v>274.71925954831579</c:v>
                </c:pt>
                <c:pt idx="877">
                  <c:v>275.13123865894249</c:v>
                </c:pt>
                <c:pt idx="878">
                  <c:v>274.40273697037844</c:v>
                </c:pt>
                <c:pt idx="879">
                  <c:v>275.29493247666255</c:v>
                </c:pt>
                <c:pt idx="880">
                  <c:v>275.70149165350415</c:v>
                </c:pt>
                <c:pt idx="881">
                  <c:v>275.28477969451296</c:v>
                </c:pt>
                <c:pt idx="882">
                  <c:v>280.07777841631605</c:v>
                </c:pt>
                <c:pt idx="883">
                  <c:v>275.1689181555447</c:v>
                </c:pt>
                <c:pt idx="884">
                  <c:v>281.21039590644614</c:v>
                </c:pt>
                <c:pt idx="885">
                  <c:v>278.29717136833949</c:v>
                </c:pt>
                <c:pt idx="886">
                  <c:v>281.46497579797426</c:v>
                </c:pt>
                <c:pt idx="887">
                  <c:v>276.87815692870709</c:v>
                </c:pt>
                <c:pt idx="888">
                  <c:v>276.36770392909</c:v>
                </c:pt>
                <c:pt idx="889">
                  <c:v>270.68566813238624</c:v>
                </c:pt>
                <c:pt idx="890">
                  <c:v>274.39418286345085</c:v>
                </c:pt>
                <c:pt idx="891">
                  <c:v>271.86132833819136</c:v>
                </c:pt>
                <c:pt idx="892">
                  <c:v>276.16234233715261</c:v>
                </c:pt>
                <c:pt idx="893">
                  <c:v>272.67336830402462</c:v>
                </c:pt>
                <c:pt idx="894">
                  <c:v>270.87674458943764</c:v>
                </c:pt>
                <c:pt idx="895">
                  <c:v>271.08373538604337</c:v>
                </c:pt>
                <c:pt idx="896">
                  <c:v>272.34144334846417</c:v>
                </c:pt>
                <c:pt idx="897">
                  <c:v>273.76595314261647</c:v>
                </c:pt>
                <c:pt idx="898">
                  <c:v>276.05091259759297</c:v>
                </c:pt>
                <c:pt idx="899">
                  <c:v>276.40761978686146</c:v>
                </c:pt>
                <c:pt idx="900">
                  <c:v>273.61536254043403</c:v>
                </c:pt>
                <c:pt idx="901">
                  <c:v>274.77729063382105</c:v>
                </c:pt>
                <c:pt idx="902">
                  <c:v>268.94443847786124</c:v>
                </c:pt>
                <c:pt idx="903">
                  <c:v>268.185717191545</c:v>
                </c:pt>
                <c:pt idx="904">
                  <c:v>272.7684103885141</c:v>
                </c:pt>
                <c:pt idx="905">
                  <c:v>276.31032434133556</c:v>
                </c:pt>
                <c:pt idx="906">
                  <c:v>272.41387404756063</c:v>
                </c:pt>
                <c:pt idx="907">
                  <c:v>275.92454422812443</c:v>
                </c:pt>
                <c:pt idx="908">
                  <c:v>272.23978353379357</c:v>
                </c:pt>
                <c:pt idx="909">
                  <c:v>272.60186180355299</c:v>
                </c:pt>
                <c:pt idx="910">
                  <c:v>273.65204616028916</c:v>
                </c:pt>
                <c:pt idx="911">
                  <c:v>275.71264610967762</c:v>
                </c:pt>
                <c:pt idx="912">
                  <c:v>273.83543860759289</c:v>
                </c:pt>
                <c:pt idx="913">
                  <c:v>271.31002247957099</c:v>
                </c:pt>
                <c:pt idx="914">
                  <c:v>275.17197737916001</c:v>
                </c:pt>
                <c:pt idx="915">
                  <c:v>272.46777397349547</c:v>
                </c:pt>
                <c:pt idx="916">
                  <c:v>276.47804466411822</c:v>
                </c:pt>
                <c:pt idx="917">
                  <c:v>275.42449363050184</c:v>
                </c:pt>
                <c:pt idx="918">
                  <c:v>278.2239301646714</c:v>
                </c:pt>
                <c:pt idx="919">
                  <c:v>281.87373138465182</c:v>
                </c:pt>
                <c:pt idx="920">
                  <c:v>279.26800484404475</c:v>
                </c:pt>
                <c:pt idx="921">
                  <c:v>273.62874832336604</c:v>
                </c:pt>
                <c:pt idx="922">
                  <c:v>281.66702248820184</c:v>
                </c:pt>
                <c:pt idx="923">
                  <c:v>286.38304613868149</c:v>
                </c:pt>
                <c:pt idx="924">
                  <c:v>278.82333270770039</c:v>
                </c:pt>
                <c:pt idx="925">
                  <c:v>273.59130063992257</c:v>
                </c:pt>
                <c:pt idx="926">
                  <c:v>270.07365854896011</c:v>
                </c:pt>
                <c:pt idx="927">
                  <c:v>269.4733615454345</c:v>
                </c:pt>
                <c:pt idx="928">
                  <c:v>271.85594569778425</c:v>
                </c:pt>
                <c:pt idx="929">
                  <c:v>268.66266972500728</c:v>
                </c:pt>
                <c:pt idx="930">
                  <c:v>272.49282539267836</c:v>
                </c:pt>
                <c:pt idx="931">
                  <c:v>279.30593960352951</c:v>
                </c:pt>
                <c:pt idx="932">
                  <c:v>277.56981406232876</c:v>
                </c:pt>
                <c:pt idx="933">
                  <c:v>273.85538000403471</c:v>
                </c:pt>
                <c:pt idx="934">
                  <c:v>274.0829037240735</c:v>
                </c:pt>
                <c:pt idx="935">
                  <c:v>273.00661105167887</c:v>
                </c:pt>
                <c:pt idx="936">
                  <c:v>269.7376262960039</c:v>
                </c:pt>
                <c:pt idx="937">
                  <c:v>275.70973736113353</c:v>
                </c:pt>
                <c:pt idx="938">
                  <c:v>277.24118408020638</c:v>
                </c:pt>
                <c:pt idx="939">
                  <c:v>268.73689381846441</c:v>
                </c:pt>
                <c:pt idx="940">
                  <c:v>272.5044771785723</c:v>
                </c:pt>
                <c:pt idx="941">
                  <c:v>273.00504402040099</c:v>
                </c:pt>
                <c:pt idx="942">
                  <c:v>271.48672703599141</c:v>
                </c:pt>
                <c:pt idx="943">
                  <c:v>271.96323580293324</c:v>
                </c:pt>
                <c:pt idx="944">
                  <c:v>268.9571335508374</c:v>
                </c:pt>
                <c:pt idx="945">
                  <c:v>275.94023912212981</c:v>
                </c:pt>
                <c:pt idx="946">
                  <c:v>276.47051210620691</c:v>
                </c:pt>
                <c:pt idx="947">
                  <c:v>278.42235083031596</c:v>
                </c:pt>
                <c:pt idx="948">
                  <c:v>277.26807597722097</c:v>
                </c:pt>
                <c:pt idx="949">
                  <c:v>279.05555396586647</c:v>
                </c:pt>
                <c:pt idx="950">
                  <c:v>277.78158837419085</c:v>
                </c:pt>
                <c:pt idx="951">
                  <c:v>276.419802153864</c:v>
                </c:pt>
                <c:pt idx="952">
                  <c:v>271.90256715388705</c:v>
                </c:pt>
                <c:pt idx="953">
                  <c:v>273.2993871069599</c:v>
                </c:pt>
                <c:pt idx="954">
                  <c:v>271.83677370623036</c:v>
                </c:pt>
                <c:pt idx="955">
                  <c:v>280.58338315024901</c:v>
                </c:pt>
                <c:pt idx="956">
                  <c:v>388.75059641408143</c:v>
                </c:pt>
                <c:pt idx="957">
                  <c:v>241.36540664134566</c:v>
                </c:pt>
                <c:pt idx="958">
                  <c:v>286.93205770452607</c:v>
                </c:pt>
                <c:pt idx="959">
                  <c:v>273.38443051234447</c:v>
                </c:pt>
                <c:pt idx="960">
                  <c:v>275.610852843609</c:v>
                </c:pt>
                <c:pt idx="961">
                  <c:v>273.83111826272489</c:v>
                </c:pt>
                <c:pt idx="962">
                  <c:v>269.76142856453191</c:v>
                </c:pt>
                <c:pt idx="963">
                  <c:v>276.47734638369718</c:v>
                </c:pt>
                <c:pt idx="964">
                  <c:v>274.78071316808018</c:v>
                </c:pt>
                <c:pt idx="965">
                  <c:v>272.52386610162671</c:v>
                </c:pt>
                <c:pt idx="966">
                  <c:v>270.46568287743764</c:v>
                </c:pt>
                <c:pt idx="967">
                  <c:v>270.09725544621153</c:v>
                </c:pt>
                <c:pt idx="968">
                  <c:v>272.78367173778724</c:v>
                </c:pt>
                <c:pt idx="969">
                  <c:v>273.11191743743234</c:v>
                </c:pt>
                <c:pt idx="970">
                  <c:v>267.74972255441412</c:v>
                </c:pt>
                <c:pt idx="971">
                  <c:v>273.59238753247598</c:v>
                </c:pt>
                <c:pt idx="972">
                  <c:v>269.36486880229938</c:v>
                </c:pt>
                <c:pt idx="973">
                  <c:v>270.40263682847421</c:v>
                </c:pt>
                <c:pt idx="974">
                  <c:v>277.69350790659962</c:v>
                </c:pt>
                <c:pt idx="975">
                  <c:v>272.07262409567841</c:v>
                </c:pt>
                <c:pt idx="976">
                  <c:v>273.34262098739134</c:v>
                </c:pt>
                <c:pt idx="977">
                  <c:v>270.14501849869851</c:v>
                </c:pt>
                <c:pt idx="978">
                  <c:v>275.12679448033327</c:v>
                </c:pt>
                <c:pt idx="979">
                  <c:v>272.21750276750231</c:v>
                </c:pt>
                <c:pt idx="980">
                  <c:v>276.1162898827107</c:v>
                </c:pt>
                <c:pt idx="981">
                  <c:v>275.32598019618183</c:v>
                </c:pt>
                <c:pt idx="982">
                  <c:v>275.54607374056741</c:v>
                </c:pt>
                <c:pt idx="983">
                  <c:v>276.82133840550125</c:v>
                </c:pt>
                <c:pt idx="984">
                  <c:v>278.71345564098351</c:v>
                </c:pt>
                <c:pt idx="985">
                  <c:v>281.92628789692594</c:v>
                </c:pt>
                <c:pt idx="986">
                  <c:v>284.42452149998803</c:v>
                </c:pt>
                <c:pt idx="987">
                  <c:v>282.56894734334867</c:v>
                </c:pt>
                <c:pt idx="988">
                  <c:v>273.43445429100404</c:v>
                </c:pt>
                <c:pt idx="989">
                  <c:v>277.88045427117299</c:v>
                </c:pt>
                <c:pt idx="990">
                  <c:v>280.33877373828511</c:v>
                </c:pt>
                <c:pt idx="991">
                  <c:v>277.54356476632654</c:v>
                </c:pt>
                <c:pt idx="992">
                  <c:v>275.12213669775565</c:v>
                </c:pt>
                <c:pt idx="993">
                  <c:v>273.52209554500996</c:v>
                </c:pt>
                <c:pt idx="994">
                  <c:v>275.73361620043488</c:v>
                </c:pt>
                <c:pt idx="995">
                  <c:v>273.92984607265328</c:v>
                </c:pt>
                <c:pt idx="996">
                  <c:v>276.12731723480738</c:v>
                </c:pt>
                <c:pt idx="997">
                  <c:v>282.30085886939537</c:v>
                </c:pt>
                <c:pt idx="998">
                  <c:v>247.229627968974</c:v>
                </c:pt>
                <c:pt idx="999">
                  <c:v>275.17315716096437</c:v>
                </c:pt>
                <c:pt idx="1000">
                  <c:v>275.53194314826828</c:v>
                </c:pt>
                <c:pt idx="1001">
                  <c:v>283.9760714008778</c:v>
                </c:pt>
                <c:pt idx="1002">
                  <c:v>275.76203568345977</c:v>
                </c:pt>
                <c:pt idx="1003">
                  <c:v>274.56032135614862</c:v>
                </c:pt>
                <c:pt idx="1004">
                  <c:v>280.31108568682396</c:v>
                </c:pt>
                <c:pt idx="1005">
                  <c:v>278.21640228083595</c:v>
                </c:pt>
                <c:pt idx="1006">
                  <c:v>282.15652122454708</c:v>
                </c:pt>
                <c:pt idx="1007">
                  <c:v>277.75452320042825</c:v>
                </c:pt>
                <c:pt idx="1008">
                  <c:v>284.50503605959307</c:v>
                </c:pt>
                <c:pt idx="1009">
                  <c:v>273.89222398244772</c:v>
                </c:pt>
                <c:pt idx="1010">
                  <c:v>279.08633356030191</c:v>
                </c:pt>
                <c:pt idx="1011">
                  <c:v>284.27180594812808</c:v>
                </c:pt>
                <c:pt idx="1012">
                  <c:v>283.36575932783853</c:v>
                </c:pt>
                <c:pt idx="1013">
                  <c:v>277.39636659023904</c:v>
                </c:pt>
                <c:pt idx="1014">
                  <c:v>267.57255000990313</c:v>
                </c:pt>
                <c:pt idx="1015">
                  <c:v>273.41347538731179</c:v>
                </c:pt>
                <c:pt idx="1016">
                  <c:v>275.23607424315912</c:v>
                </c:pt>
                <c:pt idx="1017">
                  <c:v>275.97189479569545</c:v>
                </c:pt>
                <c:pt idx="1018">
                  <c:v>273.62256686020305</c:v>
                </c:pt>
                <c:pt idx="1019">
                  <c:v>273.15454505856235</c:v>
                </c:pt>
                <c:pt idx="1020">
                  <c:v>276.81376166822042</c:v>
                </c:pt>
                <c:pt idx="1021">
                  <c:v>278.91225402523969</c:v>
                </c:pt>
                <c:pt idx="1022">
                  <c:v>277.79481460330965</c:v>
                </c:pt>
                <c:pt idx="1023">
                  <c:v>274.73796388920289</c:v>
                </c:pt>
                <c:pt idx="1024">
                  <c:v>272.9359687770617</c:v>
                </c:pt>
                <c:pt idx="1025">
                  <c:v>271.32312182669875</c:v>
                </c:pt>
                <c:pt idx="1026">
                  <c:v>284.10584139073205</c:v>
                </c:pt>
                <c:pt idx="1027">
                  <c:v>270.73471271195626</c:v>
                </c:pt>
                <c:pt idx="1028">
                  <c:v>290.74141155968982</c:v>
                </c:pt>
                <c:pt idx="1029">
                  <c:v>289.67403009297175</c:v>
                </c:pt>
                <c:pt idx="1030">
                  <c:v>299.41834111872174</c:v>
                </c:pt>
                <c:pt idx="1031">
                  <c:v>289.10824207670748</c:v>
                </c:pt>
                <c:pt idx="1032">
                  <c:v>284.14092719903078</c:v>
                </c:pt>
                <c:pt idx="1033">
                  <c:v>276.47145680037772</c:v>
                </c:pt>
                <c:pt idx="1034">
                  <c:v>270.80093538234212</c:v>
                </c:pt>
                <c:pt idx="1035">
                  <c:v>264.76962184661204</c:v>
                </c:pt>
                <c:pt idx="1036">
                  <c:v>286.02293146108877</c:v>
                </c:pt>
                <c:pt idx="1037">
                  <c:v>272.11479567840843</c:v>
                </c:pt>
                <c:pt idx="1038">
                  <c:v>274.17049267363598</c:v>
                </c:pt>
                <c:pt idx="1039">
                  <c:v>275.7280042574929</c:v>
                </c:pt>
                <c:pt idx="1040">
                  <c:v>279.56213294760937</c:v>
                </c:pt>
                <c:pt idx="1041">
                  <c:v>267.71807688309502</c:v>
                </c:pt>
                <c:pt idx="1042">
                  <c:v>278.76990243579326</c:v>
                </c:pt>
                <c:pt idx="1043">
                  <c:v>305.15456479521197</c:v>
                </c:pt>
                <c:pt idx="1044">
                  <c:v>280.43293439943193</c:v>
                </c:pt>
                <c:pt idx="1045">
                  <c:v>273.36650034530305</c:v>
                </c:pt>
                <c:pt idx="1046">
                  <c:v>273.06475416284104</c:v>
                </c:pt>
                <c:pt idx="1047">
                  <c:v>270.60882921010568</c:v>
                </c:pt>
                <c:pt idx="1048">
                  <c:v>274.64490155037458</c:v>
                </c:pt>
                <c:pt idx="1049">
                  <c:v>274.6326786362265</c:v>
                </c:pt>
                <c:pt idx="1050">
                  <c:v>277.7075308323025</c:v>
                </c:pt>
                <c:pt idx="1051">
                  <c:v>272.29948118440257</c:v>
                </c:pt>
                <c:pt idx="1052">
                  <c:v>272.11666125637589</c:v>
                </c:pt>
                <c:pt idx="1053">
                  <c:v>274.40112433874015</c:v>
                </c:pt>
                <c:pt idx="1054">
                  <c:v>282.95618267061366</c:v>
                </c:pt>
                <c:pt idx="1055">
                  <c:v>280.52798534499959</c:v>
                </c:pt>
                <c:pt idx="1056">
                  <c:v>276.19152732554608</c:v>
                </c:pt>
                <c:pt idx="1057">
                  <c:v>267.02492388469364</c:v>
                </c:pt>
                <c:pt idx="1058">
                  <c:v>276.51945361648768</c:v>
                </c:pt>
                <c:pt idx="1059">
                  <c:v>274.36958750519386</c:v>
                </c:pt>
                <c:pt idx="1060">
                  <c:v>261.0591888021163</c:v>
                </c:pt>
                <c:pt idx="1061">
                  <c:v>267.03892281325443</c:v>
                </c:pt>
                <c:pt idx="1062">
                  <c:v>267.94204857672003</c:v>
                </c:pt>
                <c:pt idx="1063">
                  <c:v>274.08981217297412</c:v>
                </c:pt>
                <c:pt idx="1064">
                  <c:v>274.10120479460295</c:v>
                </c:pt>
                <c:pt idx="1065">
                  <c:v>273.24514955779784</c:v>
                </c:pt>
                <c:pt idx="1066">
                  <c:v>274.056867550128</c:v>
                </c:pt>
                <c:pt idx="1067">
                  <c:v>272.04773076938034</c:v>
                </c:pt>
                <c:pt idx="1068">
                  <c:v>274.76215456016348</c:v>
                </c:pt>
                <c:pt idx="1069">
                  <c:v>275.45107610162836</c:v>
                </c:pt>
                <c:pt idx="1070">
                  <c:v>273.78202369570124</c:v>
                </c:pt>
                <c:pt idx="1071">
                  <c:v>272.61579513570859</c:v>
                </c:pt>
                <c:pt idx="1072">
                  <c:v>274.23647046829808</c:v>
                </c:pt>
                <c:pt idx="1073">
                  <c:v>271.66007015175069</c:v>
                </c:pt>
                <c:pt idx="1074">
                  <c:v>272.51481096316843</c:v>
                </c:pt>
                <c:pt idx="1075">
                  <c:v>265.82173626099654</c:v>
                </c:pt>
                <c:pt idx="1076">
                  <c:v>279.40419758058442</c:v>
                </c:pt>
                <c:pt idx="1077">
                  <c:v>272.46132943399493</c:v>
                </c:pt>
                <c:pt idx="1078">
                  <c:v>273.80018129295172</c:v>
                </c:pt>
                <c:pt idx="1079">
                  <c:v>267.1843723382658</c:v>
                </c:pt>
                <c:pt idx="1080">
                  <c:v>270.27768975658284</c:v>
                </c:pt>
                <c:pt idx="1081">
                  <c:v>275.9988897850526</c:v>
                </c:pt>
                <c:pt idx="1082">
                  <c:v>274.01694225814879</c:v>
                </c:pt>
                <c:pt idx="1083">
                  <c:v>275.08772298923327</c:v>
                </c:pt>
                <c:pt idx="1084">
                  <c:v>298.09698697465274</c:v>
                </c:pt>
                <c:pt idx="1085">
                  <c:v>283.02869772448275</c:v>
                </c:pt>
                <c:pt idx="1086">
                  <c:v>262.47661023615524</c:v>
                </c:pt>
                <c:pt idx="1087">
                  <c:v>273.26963422422591</c:v>
                </c:pt>
                <c:pt idx="1088">
                  <c:v>264.22266628716329</c:v>
                </c:pt>
                <c:pt idx="1089">
                  <c:v>264.84611379001615</c:v>
                </c:pt>
                <c:pt idx="1090">
                  <c:v>266.47512858644893</c:v>
                </c:pt>
                <c:pt idx="1091">
                  <c:v>267.31691765308381</c:v>
                </c:pt>
                <c:pt idx="1092">
                  <c:v>269.53999358713554</c:v>
                </c:pt>
                <c:pt idx="1093">
                  <c:v>267.02102653367172</c:v>
                </c:pt>
                <c:pt idx="1094">
                  <c:v>269.77798130657447</c:v>
                </c:pt>
                <c:pt idx="1095">
                  <c:v>273.64901323931872</c:v>
                </c:pt>
              </c:numCache>
            </c:numRef>
          </c:yVal>
          <c:smooth val="0"/>
          <c:extLst>
            <c:ext xmlns:c16="http://schemas.microsoft.com/office/drawing/2014/chart" uri="{C3380CC4-5D6E-409C-BE32-E72D297353CC}">
              <c16:uniqueId val="{00000000-9DD2-4300-A3E0-3021459DDEE4}"/>
            </c:ext>
          </c:extLst>
        </c:ser>
        <c:dLbls>
          <c:showLegendKey val="0"/>
          <c:showVal val="0"/>
          <c:showCatName val="0"/>
          <c:showSerName val="0"/>
          <c:showPercent val="0"/>
          <c:showBubbleSize val="0"/>
        </c:dLbls>
        <c:axId val="1326877279"/>
        <c:axId val="1326872703"/>
      </c:scatterChart>
      <c:valAx>
        <c:axId val="1326877279"/>
        <c:scaling>
          <c:orientation val="minMax"/>
          <c:max val="47"/>
          <c:min val="44"/>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72703"/>
        <c:crosses val="autoZero"/>
        <c:crossBetween val="midCat"/>
        <c:majorUnit val="0.5"/>
      </c:valAx>
      <c:valAx>
        <c:axId val="1326872703"/>
        <c:scaling>
          <c:orientation val="minMax"/>
          <c:max val="290"/>
          <c:min val="265"/>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77279"/>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smtClean="0">
                <a:effectLst/>
              </a:rPr>
              <a:t>O</a:t>
            </a:r>
            <a:r>
              <a:rPr lang="en-US" sz="1400" b="0" i="0" u="none" strike="noStrike" baseline="-25000" dirty="0" smtClean="0">
                <a:effectLst/>
              </a:rPr>
              <a:t>2</a:t>
            </a:r>
            <a:r>
              <a:rPr lang="en-US" dirty="0" smtClean="0"/>
              <a:t> (Nm3)</a:t>
            </a:r>
            <a:r>
              <a:rPr lang="en-US" baseline="0" dirty="0" smtClean="0"/>
              <a:t> v/s Input Energy(Kcal)</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V$1:$AV$2</c:f>
              <c:strCache>
                <c:ptCount val="2"/>
                <c:pt idx="0">
                  <c:v>O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F$3:$AF$1131</c:f>
              <c:numCache>
                <c:formatCode>0.00</c:formatCode>
                <c:ptCount val="1129"/>
                <c:pt idx="0">
                  <c:v>3636725.2757284632</c:v>
                </c:pt>
                <c:pt idx="1">
                  <c:v>3599554.9799319329</c:v>
                </c:pt>
                <c:pt idx="2">
                  <c:v>3609808.3459291705</c:v>
                </c:pt>
                <c:pt idx="3">
                  <c:v>3572360.5549783679</c:v>
                </c:pt>
                <c:pt idx="4">
                  <c:v>3607894.8230633144</c:v>
                </c:pt>
                <c:pt idx="5">
                  <c:v>3631294.8665722902</c:v>
                </c:pt>
                <c:pt idx="6">
                  <c:v>3739678.0390270962</c:v>
                </c:pt>
                <c:pt idx="7">
                  <c:v>3632784.0637022671</c:v>
                </c:pt>
                <c:pt idx="8">
                  <c:v>3629483.9254891337</c:v>
                </c:pt>
                <c:pt idx="9">
                  <c:v>3642200.5912040924</c:v>
                </c:pt>
                <c:pt idx="10">
                  <c:v>3608023.7351989979</c:v>
                </c:pt>
                <c:pt idx="11">
                  <c:v>3628947.982823391</c:v>
                </c:pt>
                <c:pt idx="12">
                  <c:v>3651156.1117609339</c:v>
                </c:pt>
                <c:pt idx="13">
                  <c:v>3731198.7660904517</c:v>
                </c:pt>
                <c:pt idx="14">
                  <c:v>3668005.1057057073</c:v>
                </c:pt>
                <c:pt idx="15">
                  <c:v>3615147.7832901292</c:v>
                </c:pt>
                <c:pt idx="16">
                  <c:v>3614153.1898455266</c:v>
                </c:pt>
                <c:pt idx="17">
                  <c:v>3686126.3295556107</c:v>
                </c:pt>
                <c:pt idx="18">
                  <c:v>3700858.2046743003</c:v>
                </c:pt>
                <c:pt idx="19">
                  <c:v>3655977.3044621851</c:v>
                </c:pt>
                <c:pt idx="20">
                  <c:v>3640996.8800112549</c:v>
                </c:pt>
                <c:pt idx="21">
                  <c:v>3614227.2552205171</c:v>
                </c:pt>
                <c:pt idx="22">
                  <c:v>3618793.6185410097</c:v>
                </c:pt>
                <c:pt idx="23">
                  <c:v>3657911.5781089212</c:v>
                </c:pt>
                <c:pt idx="24">
                  <c:v>2067115.5445801036</c:v>
                </c:pt>
                <c:pt idx="25">
                  <c:v>2104954.2204692462</c:v>
                </c:pt>
                <c:pt idx="26">
                  <c:v>3730395.3996310416</c:v>
                </c:pt>
                <c:pt idx="27">
                  <c:v>3724426.4708718224</c:v>
                </c:pt>
                <c:pt idx="28">
                  <c:v>3664540.9017959628</c:v>
                </c:pt>
                <c:pt idx="29">
                  <c:v>3708425.514343671</c:v>
                </c:pt>
                <c:pt idx="30">
                  <c:v>3699632.0017941617</c:v>
                </c:pt>
                <c:pt idx="31">
                  <c:v>3634956.3075154615</c:v>
                </c:pt>
                <c:pt idx="32">
                  <c:v>3666547.7633475489</c:v>
                </c:pt>
                <c:pt idx="33">
                  <c:v>3667470.1227976852</c:v>
                </c:pt>
                <c:pt idx="34">
                  <c:v>3728347.5408095159</c:v>
                </c:pt>
                <c:pt idx="35">
                  <c:v>1971566.1121476039</c:v>
                </c:pt>
                <c:pt idx="36">
                  <c:v>2011153.4021329361</c:v>
                </c:pt>
                <c:pt idx="37">
                  <c:v>3696983.6360937878</c:v>
                </c:pt>
                <c:pt idx="38">
                  <c:v>3663536.3503362406</c:v>
                </c:pt>
                <c:pt idx="39">
                  <c:v>3676599.2978546266</c:v>
                </c:pt>
                <c:pt idx="40">
                  <c:v>3655525.3015373917</c:v>
                </c:pt>
                <c:pt idx="41">
                  <c:v>3709708.4756910126</c:v>
                </c:pt>
                <c:pt idx="42">
                  <c:v>3763070.5293486952</c:v>
                </c:pt>
                <c:pt idx="43">
                  <c:v>3817618.5428384836</c:v>
                </c:pt>
                <c:pt idx="44">
                  <c:v>3831417.5072102337</c:v>
                </c:pt>
                <c:pt idx="45">
                  <c:v>4766912.1219277252</c:v>
                </c:pt>
                <c:pt idx="46">
                  <c:v>4398069.9828176191</c:v>
                </c:pt>
                <c:pt idx="47">
                  <c:v>3782653.0755211646</c:v>
                </c:pt>
                <c:pt idx="48">
                  <c:v>3723489.0856501549</c:v>
                </c:pt>
                <c:pt idx="49">
                  <c:v>3711459.0600004941</c:v>
                </c:pt>
                <c:pt idx="50">
                  <c:v>3737754.4592644833</c:v>
                </c:pt>
                <c:pt idx="51">
                  <c:v>3732002.5293831024</c:v>
                </c:pt>
                <c:pt idx="52">
                  <c:v>3718384.8066014205</c:v>
                </c:pt>
                <c:pt idx="53">
                  <c:v>3661072.3587299935</c:v>
                </c:pt>
                <c:pt idx="54">
                  <c:v>3661628.4411358815</c:v>
                </c:pt>
                <c:pt idx="55">
                  <c:v>3659070.0137464642</c:v>
                </c:pt>
                <c:pt idx="56">
                  <c:v>3650612.1582813361</c:v>
                </c:pt>
                <c:pt idx="57">
                  <c:v>3734074.8030980215</c:v>
                </c:pt>
                <c:pt idx="58">
                  <c:v>3706243.1065658219</c:v>
                </c:pt>
                <c:pt idx="59">
                  <c:v>3716571.5204224302</c:v>
                </c:pt>
                <c:pt idx="60">
                  <c:v>3633669.5626494614</c:v>
                </c:pt>
                <c:pt idx="61">
                  <c:v>3653873.5911605889</c:v>
                </c:pt>
                <c:pt idx="62">
                  <c:v>3638118.9616075978</c:v>
                </c:pt>
                <c:pt idx="63">
                  <c:v>3637074.4066561386</c:v>
                </c:pt>
                <c:pt idx="64">
                  <c:v>3672912.8248326103</c:v>
                </c:pt>
                <c:pt idx="65">
                  <c:v>3650980.9015184711</c:v>
                </c:pt>
                <c:pt idx="66">
                  <c:v>3658136.1498483303</c:v>
                </c:pt>
                <c:pt idx="67">
                  <c:v>3689569.3040010771</c:v>
                </c:pt>
                <c:pt idx="68">
                  <c:v>3742871.3103459394</c:v>
                </c:pt>
                <c:pt idx="69">
                  <c:v>3779953.5952627645</c:v>
                </c:pt>
                <c:pt idx="70">
                  <c:v>3699046.8494161796</c:v>
                </c:pt>
                <c:pt idx="71">
                  <c:v>3724418.8214752376</c:v>
                </c:pt>
                <c:pt idx="72">
                  <c:v>3694732.1851235051</c:v>
                </c:pt>
                <c:pt idx="73">
                  <c:v>3642520.8305090512</c:v>
                </c:pt>
                <c:pt idx="74">
                  <c:v>3675551.442976844</c:v>
                </c:pt>
                <c:pt idx="75">
                  <c:v>3658364.8784052231</c:v>
                </c:pt>
                <c:pt idx="76">
                  <c:v>3633247.3003638159</c:v>
                </c:pt>
                <c:pt idx="77">
                  <c:v>3621774.389869872</c:v>
                </c:pt>
                <c:pt idx="78">
                  <c:v>3636894.9299929021</c:v>
                </c:pt>
                <c:pt idx="79">
                  <c:v>3638636.9833716066</c:v>
                </c:pt>
                <c:pt idx="80">
                  <c:v>3625281.9145060657</c:v>
                </c:pt>
                <c:pt idx="81">
                  <c:v>3671913.86306663</c:v>
                </c:pt>
                <c:pt idx="82">
                  <c:v>3652550.3242538101</c:v>
                </c:pt>
                <c:pt idx="83">
                  <c:v>3671228.9705203655</c:v>
                </c:pt>
                <c:pt idx="84">
                  <c:v>3741563.5259570447</c:v>
                </c:pt>
                <c:pt idx="85">
                  <c:v>3718969.0228939303</c:v>
                </c:pt>
                <c:pt idx="86">
                  <c:v>3695943.3136921288</c:v>
                </c:pt>
                <c:pt idx="87">
                  <c:v>3668945.8497910914</c:v>
                </c:pt>
                <c:pt idx="88">
                  <c:v>3659784.7781994231</c:v>
                </c:pt>
                <c:pt idx="89">
                  <c:v>3663501.822771227</c:v>
                </c:pt>
                <c:pt idx="90">
                  <c:v>3662326.1323074368</c:v>
                </c:pt>
                <c:pt idx="91">
                  <c:v>3671968.9706553263</c:v>
                </c:pt>
                <c:pt idx="92">
                  <c:v>3662841.4806098449</c:v>
                </c:pt>
                <c:pt idx="93">
                  <c:v>3602338.165188645</c:v>
                </c:pt>
                <c:pt idx="94">
                  <c:v>3658206.4339472251</c:v>
                </c:pt>
                <c:pt idx="95">
                  <c:v>3666016.5607227753</c:v>
                </c:pt>
                <c:pt idx="96">
                  <c:v>3652381.3162052343</c:v>
                </c:pt>
                <c:pt idx="97">
                  <c:v>3692220.8624967672</c:v>
                </c:pt>
                <c:pt idx="98">
                  <c:v>3659516.5391145428</c:v>
                </c:pt>
                <c:pt idx="99">
                  <c:v>3715317.5701302122</c:v>
                </c:pt>
                <c:pt idx="100">
                  <c:v>3688610.0193220093</c:v>
                </c:pt>
                <c:pt idx="101">
                  <c:v>3655394.5727618202</c:v>
                </c:pt>
                <c:pt idx="102">
                  <c:v>3658043.5272280029</c:v>
                </c:pt>
                <c:pt idx="103">
                  <c:v>3661054.2088660044</c:v>
                </c:pt>
                <c:pt idx="104">
                  <c:v>3710501.6164808851</c:v>
                </c:pt>
                <c:pt idx="105">
                  <c:v>3741788.6065936033</c:v>
                </c:pt>
                <c:pt idx="106">
                  <c:v>3696415.5349200452</c:v>
                </c:pt>
                <c:pt idx="107">
                  <c:v>3660611.5576120899</c:v>
                </c:pt>
                <c:pt idx="108">
                  <c:v>3672086.0232971478</c:v>
                </c:pt>
                <c:pt idx="109">
                  <c:v>3691158.9899610025</c:v>
                </c:pt>
                <c:pt idx="110">
                  <c:v>3641332.5140728797</c:v>
                </c:pt>
                <c:pt idx="111">
                  <c:v>3672675.3506024573</c:v>
                </c:pt>
                <c:pt idx="112">
                  <c:v>3697834.9903338463</c:v>
                </c:pt>
                <c:pt idx="113">
                  <c:v>3742394.8376688915</c:v>
                </c:pt>
                <c:pt idx="114">
                  <c:v>3688444.064316263</c:v>
                </c:pt>
                <c:pt idx="115">
                  <c:v>3708067.4196261321</c:v>
                </c:pt>
                <c:pt idx="116">
                  <c:v>3667288.5402063034</c:v>
                </c:pt>
                <c:pt idx="117">
                  <c:v>3697720.44036204</c:v>
                </c:pt>
                <c:pt idx="118">
                  <c:v>3671128.6331191212</c:v>
                </c:pt>
                <c:pt idx="119">
                  <c:v>3726047.9222088717</c:v>
                </c:pt>
                <c:pt idx="120">
                  <c:v>3677741.3213894633</c:v>
                </c:pt>
                <c:pt idx="121">
                  <c:v>3736855.9217521888</c:v>
                </c:pt>
                <c:pt idx="122">
                  <c:v>3730909.1368409409</c:v>
                </c:pt>
                <c:pt idx="123">
                  <c:v>3706576.1701108688</c:v>
                </c:pt>
                <c:pt idx="124">
                  <c:v>3702341.238797198</c:v>
                </c:pt>
                <c:pt idx="125">
                  <c:v>3699785.0516473888</c:v>
                </c:pt>
                <c:pt idx="126">
                  <c:v>3652185.3826875016</c:v>
                </c:pt>
                <c:pt idx="127">
                  <c:v>3628744.819542313</c:v>
                </c:pt>
                <c:pt idx="128">
                  <c:v>3692888.1130849286</c:v>
                </c:pt>
                <c:pt idx="129">
                  <c:v>3646966.392910263</c:v>
                </c:pt>
                <c:pt idx="130">
                  <c:v>3638788.3158924533</c:v>
                </c:pt>
                <c:pt idx="131">
                  <c:v>3721601.4956998886</c:v>
                </c:pt>
                <c:pt idx="132">
                  <c:v>3693408.3198319995</c:v>
                </c:pt>
                <c:pt idx="133">
                  <c:v>3696552.383513567</c:v>
                </c:pt>
                <c:pt idx="134">
                  <c:v>3733638.3820162015</c:v>
                </c:pt>
                <c:pt idx="135">
                  <c:v>3704615.3290334647</c:v>
                </c:pt>
                <c:pt idx="136">
                  <c:v>3634863.7577509475</c:v>
                </c:pt>
                <c:pt idx="137">
                  <c:v>3702807.8384281695</c:v>
                </c:pt>
                <c:pt idx="138">
                  <c:v>3709652.1775636706</c:v>
                </c:pt>
                <c:pt idx="139">
                  <c:v>3692684.2984749009</c:v>
                </c:pt>
                <c:pt idx="140">
                  <c:v>3770277.1727890298</c:v>
                </c:pt>
                <c:pt idx="141">
                  <c:v>3938967.0457082535</c:v>
                </c:pt>
                <c:pt idx="142">
                  <c:v>4102785.6661544088</c:v>
                </c:pt>
                <c:pt idx="143">
                  <c:v>4142154.7922206162</c:v>
                </c:pt>
                <c:pt idx="144">
                  <c:v>5747129.4791646376</c:v>
                </c:pt>
                <c:pt idx="145">
                  <c:v>0</c:v>
                </c:pt>
                <c:pt idx="146">
                  <c:v>0</c:v>
                </c:pt>
                <c:pt idx="147">
                  <c:v>0</c:v>
                </c:pt>
                <c:pt idx="148">
                  <c:v>0</c:v>
                </c:pt>
                <c:pt idx="149">
                  <c:v>0</c:v>
                </c:pt>
                <c:pt idx="150">
                  <c:v>4167294.3332040203</c:v>
                </c:pt>
                <c:pt idx="151">
                  <c:v>3716449.3523203256</c:v>
                </c:pt>
                <c:pt idx="152">
                  <c:v>3629393.7869651434</c:v>
                </c:pt>
                <c:pt idx="153">
                  <c:v>3640764.8191606831</c:v>
                </c:pt>
                <c:pt idx="154">
                  <c:v>2061144.5371636748</c:v>
                </c:pt>
                <c:pt idx="155">
                  <c:v>3678633.9659623951</c:v>
                </c:pt>
                <c:pt idx="156">
                  <c:v>3669018.546475023</c:v>
                </c:pt>
                <c:pt idx="157">
                  <c:v>3669555.5372643913</c:v>
                </c:pt>
                <c:pt idx="158">
                  <c:v>3702001.4951343806</c:v>
                </c:pt>
                <c:pt idx="159">
                  <c:v>3714913.8022081279</c:v>
                </c:pt>
                <c:pt idx="160">
                  <c:v>3723786.7010964141</c:v>
                </c:pt>
                <c:pt idx="161">
                  <c:v>3769431.4268661458</c:v>
                </c:pt>
                <c:pt idx="162">
                  <c:v>3766308.6494619241</c:v>
                </c:pt>
                <c:pt idx="163">
                  <c:v>3709442.4138614866</c:v>
                </c:pt>
                <c:pt idx="164">
                  <c:v>3644106.9598706351</c:v>
                </c:pt>
                <c:pt idx="165">
                  <c:v>3644509.2044297834</c:v>
                </c:pt>
                <c:pt idx="166">
                  <c:v>3693774.2881647763</c:v>
                </c:pt>
                <c:pt idx="167">
                  <c:v>3689438.4555126685</c:v>
                </c:pt>
                <c:pt idx="168">
                  <c:v>3703498.5298011703</c:v>
                </c:pt>
                <c:pt idx="169">
                  <c:v>3675112.0159442625</c:v>
                </c:pt>
                <c:pt idx="170">
                  <c:v>3758562.2158194091</c:v>
                </c:pt>
                <c:pt idx="171">
                  <c:v>3786971.2699658391</c:v>
                </c:pt>
                <c:pt idx="172">
                  <c:v>3758724.3091260022</c:v>
                </c:pt>
                <c:pt idx="173">
                  <c:v>3768268.2416939391</c:v>
                </c:pt>
                <c:pt idx="174">
                  <c:v>3762814.6993430876</c:v>
                </c:pt>
                <c:pt idx="175">
                  <c:v>3800361.6710024192</c:v>
                </c:pt>
                <c:pt idx="176">
                  <c:v>3859480.9931617328</c:v>
                </c:pt>
                <c:pt idx="177">
                  <c:v>3871045.5903360192</c:v>
                </c:pt>
                <c:pt idx="178">
                  <c:v>3754128.7550232434</c:v>
                </c:pt>
                <c:pt idx="179">
                  <c:v>3791698.1228064895</c:v>
                </c:pt>
                <c:pt idx="180">
                  <c:v>3721497.9210363138</c:v>
                </c:pt>
                <c:pt idx="181">
                  <c:v>3698189.2533857063</c:v>
                </c:pt>
                <c:pt idx="182">
                  <c:v>3691084.0470527764</c:v>
                </c:pt>
                <c:pt idx="183">
                  <c:v>3696726.0298118521</c:v>
                </c:pt>
                <c:pt idx="184">
                  <c:v>3729636.0766733508</c:v>
                </c:pt>
                <c:pt idx="185">
                  <c:v>3733006.8746337695</c:v>
                </c:pt>
                <c:pt idx="186">
                  <c:v>3735669.988498576</c:v>
                </c:pt>
                <c:pt idx="187">
                  <c:v>3740910.3762075203</c:v>
                </c:pt>
                <c:pt idx="188">
                  <c:v>3716130.5434619058</c:v>
                </c:pt>
                <c:pt idx="189">
                  <c:v>3707286.9232113524</c:v>
                </c:pt>
                <c:pt idx="190">
                  <c:v>3729966.0945485346</c:v>
                </c:pt>
                <c:pt idx="191">
                  <c:v>3736315.9036329403</c:v>
                </c:pt>
                <c:pt idx="192">
                  <c:v>3687333.9632061655</c:v>
                </c:pt>
                <c:pt idx="193">
                  <c:v>3703374.1284489939</c:v>
                </c:pt>
                <c:pt idx="194">
                  <c:v>3720946.494933316</c:v>
                </c:pt>
                <c:pt idx="195">
                  <c:v>3729422.0923228357</c:v>
                </c:pt>
                <c:pt idx="196">
                  <c:v>3719113.5650787279</c:v>
                </c:pt>
                <c:pt idx="197">
                  <c:v>3705789.587576746</c:v>
                </c:pt>
                <c:pt idx="198">
                  <c:v>3707743.6707377704</c:v>
                </c:pt>
                <c:pt idx="199">
                  <c:v>3685870.0503740995</c:v>
                </c:pt>
                <c:pt idx="200">
                  <c:v>3756800.6604999644</c:v>
                </c:pt>
                <c:pt idx="201">
                  <c:v>3768648.7891474529</c:v>
                </c:pt>
                <c:pt idx="202">
                  <c:v>3759583.6874081902</c:v>
                </c:pt>
                <c:pt idx="203">
                  <c:v>3741459.00726688</c:v>
                </c:pt>
                <c:pt idx="204">
                  <c:v>3694993.6504276358</c:v>
                </c:pt>
                <c:pt idx="205">
                  <c:v>3721759.3402429842</c:v>
                </c:pt>
                <c:pt idx="206">
                  <c:v>3773209.4865708719</c:v>
                </c:pt>
                <c:pt idx="207">
                  <c:v>3760246.1823556679</c:v>
                </c:pt>
                <c:pt idx="208">
                  <c:v>3691879.4947398058</c:v>
                </c:pt>
                <c:pt idx="209">
                  <c:v>3698722.3140867674</c:v>
                </c:pt>
                <c:pt idx="210">
                  <c:v>3685768.9078071811</c:v>
                </c:pt>
                <c:pt idx="211">
                  <c:v>3748923.1580553418</c:v>
                </c:pt>
                <c:pt idx="212">
                  <c:v>3755958.0733039551</c:v>
                </c:pt>
                <c:pt idx="213">
                  <c:v>3746103.6309745843</c:v>
                </c:pt>
                <c:pt idx="214">
                  <c:v>3817097.0892792898</c:v>
                </c:pt>
                <c:pt idx="215">
                  <c:v>3723295.5996033084</c:v>
                </c:pt>
                <c:pt idx="216">
                  <c:v>3682509.1627454371</c:v>
                </c:pt>
                <c:pt idx="217">
                  <c:v>3762143.6063095434</c:v>
                </c:pt>
                <c:pt idx="218">
                  <c:v>3707676.6149299266</c:v>
                </c:pt>
                <c:pt idx="219">
                  <c:v>3920264.177571109</c:v>
                </c:pt>
                <c:pt idx="220">
                  <c:v>3649315.3106658524</c:v>
                </c:pt>
                <c:pt idx="221">
                  <c:v>3704865.497024578</c:v>
                </c:pt>
                <c:pt idx="222">
                  <c:v>3686856.5203808215</c:v>
                </c:pt>
                <c:pt idx="223">
                  <c:v>3679534.1368863997</c:v>
                </c:pt>
                <c:pt idx="224">
                  <c:v>3649334.9687494626</c:v>
                </c:pt>
                <c:pt idx="225">
                  <c:v>3643437.2015950712</c:v>
                </c:pt>
                <c:pt idx="226">
                  <c:v>3690416.6935861153</c:v>
                </c:pt>
                <c:pt idx="227">
                  <c:v>3644749.8507941798</c:v>
                </c:pt>
                <c:pt idx="228">
                  <c:v>3687455.9099363135</c:v>
                </c:pt>
                <c:pt idx="229">
                  <c:v>3650770.0271825194</c:v>
                </c:pt>
                <c:pt idx="230">
                  <c:v>3721607.3025792367</c:v>
                </c:pt>
                <c:pt idx="231">
                  <c:v>3705676.4040733106</c:v>
                </c:pt>
                <c:pt idx="232">
                  <c:v>3757062.5169323245</c:v>
                </c:pt>
                <c:pt idx="233">
                  <c:v>3703509.2070043148</c:v>
                </c:pt>
                <c:pt idx="234">
                  <c:v>3705596.0566618401</c:v>
                </c:pt>
                <c:pt idx="235">
                  <c:v>3771943.2208844493</c:v>
                </c:pt>
                <c:pt idx="236">
                  <c:v>3744716.7240195214</c:v>
                </c:pt>
                <c:pt idx="237">
                  <c:v>3715696.3914244641</c:v>
                </c:pt>
                <c:pt idx="238">
                  <c:v>3753631.698519737</c:v>
                </c:pt>
                <c:pt idx="239">
                  <c:v>3727391.2507520607</c:v>
                </c:pt>
                <c:pt idx="240">
                  <c:v>3865590.3652158324</c:v>
                </c:pt>
                <c:pt idx="241">
                  <c:v>3903220.0098123299</c:v>
                </c:pt>
                <c:pt idx="242">
                  <c:v>3872417.4789317017</c:v>
                </c:pt>
                <c:pt idx="243">
                  <c:v>3861639.8248256748</c:v>
                </c:pt>
                <c:pt idx="244">
                  <c:v>3845251.0409187214</c:v>
                </c:pt>
                <c:pt idx="245">
                  <c:v>3948463.1037023501</c:v>
                </c:pt>
                <c:pt idx="246">
                  <c:v>4105791.7185303001</c:v>
                </c:pt>
                <c:pt idx="247">
                  <c:v>4143424.1988708377</c:v>
                </c:pt>
                <c:pt idx="248">
                  <c:v>3901973.7734034783</c:v>
                </c:pt>
                <c:pt idx="249">
                  <c:v>3898191.7790111681</c:v>
                </c:pt>
                <c:pt idx="250">
                  <c:v>3869709.2853047326</c:v>
                </c:pt>
                <c:pt idx="251">
                  <c:v>3962326.5466504879</c:v>
                </c:pt>
                <c:pt idx="252">
                  <c:v>3790035.2551633446</c:v>
                </c:pt>
                <c:pt idx="253">
                  <c:v>3814184.0971022774</c:v>
                </c:pt>
                <c:pt idx="254">
                  <c:v>3763950.401129507</c:v>
                </c:pt>
                <c:pt idx="255">
                  <c:v>3824299.606065982</c:v>
                </c:pt>
                <c:pt idx="256">
                  <c:v>3661608.2685144963</c:v>
                </c:pt>
                <c:pt idx="257">
                  <c:v>3667546.5077548227</c:v>
                </c:pt>
                <c:pt idx="258">
                  <c:v>3818706.9477761118</c:v>
                </c:pt>
                <c:pt idx="259">
                  <c:v>4204905.6071573971</c:v>
                </c:pt>
                <c:pt idx="260">
                  <c:v>4081387.9237215933</c:v>
                </c:pt>
                <c:pt idx="261">
                  <c:v>3867257.9562039562</c:v>
                </c:pt>
                <c:pt idx="262">
                  <c:v>3798485.1100451718</c:v>
                </c:pt>
                <c:pt idx="263">
                  <c:v>3815795.3870961405</c:v>
                </c:pt>
                <c:pt idx="264">
                  <c:v>3775326.3174497639</c:v>
                </c:pt>
                <c:pt idx="265">
                  <c:v>3764667.8261745851</c:v>
                </c:pt>
                <c:pt idx="266">
                  <c:v>3791165.2281378414</c:v>
                </c:pt>
                <c:pt idx="267">
                  <c:v>3924292.1689248369</c:v>
                </c:pt>
                <c:pt idx="268">
                  <c:v>3684841.3644898566</c:v>
                </c:pt>
                <c:pt idx="269">
                  <c:v>3684968.8197544408</c:v>
                </c:pt>
                <c:pt idx="270">
                  <c:v>3720522.530591168</c:v>
                </c:pt>
                <c:pt idx="271">
                  <c:v>3702392.6078846101</c:v>
                </c:pt>
                <c:pt idx="272">
                  <c:v>3675581.5493206545</c:v>
                </c:pt>
                <c:pt idx="273">
                  <c:v>3685831.592385924</c:v>
                </c:pt>
                <c:pt idx="274">
                  <c:v>3704622.4946993706</c:v>
                </c:pt>
                <c:pt idx="275">
                  <c:v>3731221.6866677571</c:v>
                </c:pt>
                <c:pt idx="276">
                  <c:v>3763709.8492120123</c:v>
                </c:pt>
                <c:pt idx="277">
                  <c:v>3772162.0011707107</c:v>
                </c:pt>
                <c:pt idx="278">
                  <c:v>3801849.8357984577</c:v>
                </c:pt>
                <c:pt idx="279">
                  <c:v>3711084.9501617914</c:v>
                </c:pt>
                <c:pt idx="280">
                  <c:v>3655901.0119506735</c:v>
                </c:pt>
                <c:pt idx="281">
                  <c:v>3656455.4581023459</c:v>
                </c:pt>
                <c:pt idx="282">
                  <c:v>3644035.2463784008</c:v>
                </c:pt>
                <c:pt idx="283">
                  <c:v>3667199.3912167046</c:v>
                </c:pt>
                <c:pt idx="284">
                  <c:v>3676724.4887682111</c:v>
                </c:pt>
                <c:pt idx="285">
                  <c:v>3718290.4355708444</c:v>
                </c:pt>
                <c:pt idx="286">
                  <c:v>3714443.8648923039</c:v>
                </c:pt>
                <c:pt idx="287">
                  <c:v>3732371.3691629856</c:v>
                </c:pt>
                <c:pt idx="288">
                  <c:v>3726182.4661783688</c:v>
                </c:pt>
                <c:pt idx="289">
                  <c:v>3789501.3246811186</c:v>
                </c:pt>
                <c:pt idx="290">
                  <c:v>3733885.4920488056</c:v>
                </c:pt>
                <c:pt idx="291">
                  <c:v>3822365.4319939176</c:v>
                </c:pt>
                <c:pt idx="292">
                  <c:v>3780428.1301562828</c:v>
                </c:pt>
                <c:pt idx="293">
                  <c:v>3809680.9757660627</c:v>
                </c:pt>
                <c:pt idx="294">
                  <c:v>3737369.9724313794</c:v>
                </c:pt>
                <c:pt idx="295">
                  <c:v>3704395.3039466352</c:v>
                </c:pt>
                <c:pt idx="296">
                  <c:v>3719525.4871688983</c:v>
                </c:pt>
                <c:pt idx="297">
                  <c:v>3723177.1232115421</c:v>
                </c:pt>
                <c:pt idx="298">
                  <c:v>3734501.7641911712</c:v>
                </c:pt>
                <c:pt idx="299">
                  <c:v>3777186.3165651788</c:v>
                </c:pt>
                <c:pt idx="300">
                  <c:v>3817047.0000808779</c:v>
                </c:pt>
                <c:pt idx="301">
                  <c:v>3750386.2894230718</c:v>
                </c:pt>
                <c:pt idx="302">
                  <c:v>3696375.8629378416</c:v>
                </c:pt>
                <c:pt idx="303">
                  <c:v>3707233.3383737267</c:v>
                </c:pt>
                <c:pt idx="304">
                  <c:v>3711823.1842924794</c:v>
                </c:pt>
                <c:pt idx="305">
                  <c:v>3651292.160003528</c:v>
                </c:pt>
                <c:pt idx="306">
                  <c:v>3693993.345481223</c:v>
                </c:pt>
                <c:pt idx="307">
                  <c:v>3720917.0257890676</c:v>
                </c:pt>
                <c:pt idx="308">
                  <c:v>3697268.9972696234</c:v>
                </c:pt>
                <c:pt idx="309">
                  <c:v>3704535.5667748856</c:v>
                </c:pt>
                <c:pt idx="310">
                  <c:v>3729044.5643403176</c:v>
                </c:pt>
                <c:pt idx="311">
                  <c:v>3693922.7696115319</c:v>
                </c:pt>
                <c:pt idx="312">
                  <c:v>3723437.9286002466</c:v>
                </c:pt>
                <c:pt idx="313">
                  <c:v>3727084.0648371959</c:v>
                </c:pt>
                <c:pt idx="314">
                  <c:v>3695351.8645677748</c:v>
                </c:pt>
                <c:pt idx="315">
                  <c:v>3702608.7918420411</c:v>
                </c:pt>
                <c:pt idx="316">
                  <c:v>3734377.5123805818</c:v>
                </c:pt>
                <c:pt idx="317">
                  <c:v>3744922.2107153302</c:v>
                </c:pt>
                <c:pt idx="318">
                  <c:v>3704791.8045828999</c:v>
                </c:pt>
                <c:pt idx="319">
                  <c:v>3685190.1744057187</c:v>
                </c:pt>
                <c:pt idx="320">
                  <c:v>3711161.0875091525</c:v>
                </c:pt>
                <c:pt idx="321">
                  <c:v>3678160.6665367484</c:v>
                </c:pt>
                <c:pt idx="322">
                  <c:v>3677061.8030221816</c:v>
                </c:pt>
                <c:pt idx="323">
                  <c:v>3686472.7405427988</c:v>
                </c:pt>
                <c:pt idx="324">
                  <c:v>3701081.8259653375</c:v>
                </c:pt>
                <c:pt idx="325">
                  <c:v>3657648.9326240332</c:v>
                </c:pt>
                <c:pt idx="326">
                  <c:v>3633947.6603104435</c:v>
                </c:pt>
                <c:pt idx="327">
                  <c:v>3615897.3878599135</c:v>
                </c:pt>
                <c:pt idx="328">
                  <c:v>3642460.1792038986</c:v>
                </c:pt>
                <c:pt idx="329">
                  <c:v>3655009.3633453092</c:v>
                </c:pt>
                <c:pt idx="330">
                  <c:v>3657588.18482946</c:v>
                </c:pt>
                <c:pt idx="331">
                  <c:v>3683913.8865420441</c:v>
                </c:pt>
                <c:pt idx="332">
                  <c:v>3678423.5963021531</c:v>
                </c:pt>
                <c:pt idx="333">
                  <c:v>3704605.0122211296</c:v>
                </c:pt>
                <c:pt idx="334">
                  <c:v>3948191.4938426269</c:v>
                </c:pt>
                <c:pt idx="335">
                  <c:v>3955327.9698025719</c:v>
                </c:pt>
                <c:pt idx="336">
                  <c:v>3698556.6276805112</c:v>
                </c:pt>
                <c:pt idx="337">
                  <c:v>3676058.4480851446</c:v>
                </c:pt>
                <c:pt idx="338">
                  <c:v>3643393.6039735656</c:v>
                </c:pt>
                <c:pt idx="339">
                  <c:v>3644250.1515839528</c:v>
                </c:pt>
                <c:pt idx="340">
                  <c:v>3642103.539085804</c:v>
                </c:pt>
                <c:pt idx="341">
                  <c:v>3608849.227214518</c:v>
                </c:pt>
                <c:pt idx="342">
                  <c:v>3672319.5272597992</c:v>
                </c:pt>
                <c:pt idx="343">
                  <c:v>3625928.5804126505</c:v>
                </c:pt>
                <c:pt idx="344">
                  <c:v>3632609.8503650771</c:v>
                </c:pt>
                <c:pt idx="345">
                  <c:v>3659201.4222905627</c:v>
                </c:pt>
                <c:pt idx="346">
                  <c:v>3652526.962174247</c:v>
                </c:pt>
                <c:pt idx="347">
                  <c:v>3628875.8466845029</c:v>
                </c:pt>
                <c:pt idx="348">
                  <c:v>3640695.0222209892</c:v>
                </c:pt>
                <c:pt idx="349">
                  <c:v>3633746.7557035936</c:v>
                </c:pt>
                <c:pt idx="350">
                  <c:v>3636899.9431807194</c:v>
                </c:pt>
                <c:pt idx="351">
                  <c:v>3594652.6336951652</c:v>
                </c:pt>
                <c:pt idx="352">
                  <c:v>3686041.3390832921</c:v>
                </c:pt>
                <c:pt idx="353">
                  <c:v>3686885.8182151685</c:v>
                </c:pt>
                <c:pt idx="354">
                  <c:v>3688878.7107534674</c:v>
                </c:pt>
                <c:pt idx="355">
                  <c:v>3709278.6678328933</c:v>
                </c:pt>
                <c:pt idx="356">
                  <c:v>3750650.9221443334</c:v>
                </c:pt>
                <c:pt idx="357">
                  <c:v>3699081.5642934102</c:v>
                </c:pt>
                <c:pt idx="358">
                  <c:v>3660487.4838165324</c:v>
                </c:pt>
                <c:pt idx="359">
                  <c:v>3664851.1088759312</c:v>
                </c:pt>
                <c:pt idx="360">
                  <c:v>3625748.2166036959</c:v>
                </c:pt>
                <c:pt idx="361">
                  <c:v>3621836.0278160996</c:v>
                </c:pt>
                <c:pt idx="362">
                  <c:v>3670232.9047827497</c:v>
                </c:pt>
                <c:pt idx="363">
                  <c:v>3753354.055068803</c:v>
                </c:pt>
                <c:pt idx="364">
                  <c:v>4134413.8008570843</c:v>
                </c:pt>
                <c:pt idx="365">
                  <c:v>3988123.189050925</c:v>
                </c:pt>
                <c:pt idx="366">
                  <c:v>3743431.9691233067</c:v>
                </c:pt>
                <c:pt idx="367">
                  <c:v>3633422.7316317395</c:v>
                </c:pt>
                <c:pt idx="368">
                  <c:v>3654284.4071141123</c:v>
                </c:pt>
                <c:pt idx="369">
                  <c:v>3607594.7946793297</c:v>
                </c:pt>
                <c:pt idx="370">
                  <c:v>3583042.8566776002</c:v>
                </c:pt>
                <c:pt idx="371">
                  <c:v>3581993.9759687386</c:v>
                </c:pt>
                <c:pt idx="372">
                  <c:v>3557823.5671005915</c:v>
                </c:pt>
                <c:pt idx="373">
                  <c:v>3595029.7896923572</c:v>
                </c:pt>
                <c:pt idx="374">
                  <c:v>3642799.9883324504</c:v>
                </c:pt>
                <c:pt idx="375">
                  <c:v>3650829.905768048</c:v>
                </c:pt>
                <c:pt idx="376">
                  <c:v>3666798.1982251615</c:v>
                </c:pt>
                <c:pt idx="377">
                  <c:v>3679868.576276599</c:v>
                </c:pt>
                <c:pt idx="378">
                  <c:v>3662094.727597273</c:v>
                </c:pt>
                <c:pt idx="379">
                  <c:v>3664554.1396126081</c:v>
                </c:pt>
                <c:pt idx="380">
                  <c:v>3585423.3394696452</c:v>
                </c:pt>
                <c:pt idx="381">
                  <c:v>3554495.3400537949</c:v>
                </c:pt>
                <c:pt idx="382">
                  <c:v>3601522.9988637357</c:v>
                </c:pt>
                <c:pt idx="383">
                  <c:v>3615864.0856795022</c:v>
                </c:pt>
                <c:pt idx="384">
                  <c:v>3586995.5852566515</c:v>
                </c:pt>
                <c:pt idx="385">
                  <c:v>3555291.029168406</c:v>
                </c:pt>
                <c:pt idx="386">
                  <c:v>3586014.848778402</c:v>
                </c:pt>
                <c:pt idx="387">
                  <c:v>3653887.9700747924</c:v>
                </c:pt>
                <c:pt idx="388">
                  <c:v>3600577.9923743638</c:v>
                </c:pt>
                <c:pt idx="389">
                  <c:v>3628883.3648341754</c:v>
                </c:pt>
                <c:pt idx="390">
                  <c:v>3628654.9477779646</c:v>
                </c:pt>
                <c:pt idx="391">
                  <c:v>3607247.6073492495</c:v>
                </c:pt>
                <c:pt idx="392">
                  <c:v>3612252.8374453555</c:v>
                </c:pt>
                <c:pt idx="393">
                  <c:v>3658321.3051502225</c:v>
                </c:pt>
                <c:pt idx="394">
                  <c:v>3608914.1191104641</c:v>
                </c:pt>
                <c:pt idx="395">
                  <c:v>3644441.8853893545</c:v>
                </c:pt>
                <c:pt idx="396">
                  <c:v>3634927.7563199606</c:v>
                </c:pt>
                <c:pt idx="397">
                  <c:v>3639972.7066302844</c:v>
                </c:pt>
                <c:pt idx="398">
                  <c:v>3660828.2592340694</c:v>
                </c:pt>
                <c:pt idx="399">
                  <c:v>3669979.7847752683</c:v>
                </c:pt>
                <c:pt idx="400">
                  <c:v>3659123.014905863</c:v>
                </c:pt>
                <c:pt idx="401">
                  <c:v>3633842.8887970494</c:v>
                </c:pt>
                <c:pt idx="402">
                  <c:v>3659028.8608642672</c:v>
                </c:pt>
                <c:pt idx="403">
                  <c:v>3690526.8057534806</c:v>
                </c:pt>
                <c:pt idx="404">
                  <c:v>3706697.9330843999</c:v>
                </c:pt>
                <c:pt idx="405">
                  <c:v>3719077.8544107671</c:v>
                </c:pt>
                <c:pt idx="406">
                  <c:v>3681375.404209069</c:v>
                </c:pt>
                <c:pt idx="407">
                  <c:v>3654667.8598599164</c:v>
                </c:pt>
                <c:pt idx="408">
                  <c:v>3698796.2474135263</c:v>
                </c:pt>
                <c:pt idx="409">
                  <c:v>3655150.8608984132</c:v>
                </c:pt>
                <c:pt idx="410">
                  <c:v>3671842.8781750104</c:v>
                </c:pt>
                <c:pt idx="411">
                  <c:v>3616759.4406998493</c:v>
                </c:pt>
                <c:pt idx="412">
                  <c:v>3688018.3810129059</c:v>
                </c:pt>
                <c:pt idx="413">
                  <c:v>3700136.8340838058</c:v>
                </c:pt>
                <c:pt idx="414">
                  <c:v>3664989.3738982552</c:v>
                </c:pt>
                <c:pt idx="415">
                  <c:v>3722642.3826119169</c:v>
                </c:pt>
                <c:pt idx="416">
                  <c:v>3790666.7622880135</c:v>
                </c:pt>
                <c:pt idx="417">
                  <c:v>3689051.2451085998</c:v>
                </c:pt>
                <c:pt idx="418">
                  <c:v>3669920.1164108329</c:v>
                </c:pt>
                <c:pt idx="419">
                  <c:v>3703064.3826568411</c:v>
                </c:pt>
                <c:pt idx="420">
                  <c:v>3698919.4570424738</c:v>
                </c:pt>
                <c:pt idx="421">
                  <c:v>3714816.3239380275</c:v>
                </c:pt>
                <c:pt idx="422">
                  <c:v>3716650.4363285024</c:v>
                </c:pt>
                <c:pt idx="423">
                  <c:v>3692659.9518451928</c:v>
                </c:pt>
                <c:pt idx="424">
                  <c:v>3708476.9252023986</c:v>
                </c:pt>
                <c:pt idx="425">
                  <c:v>3700607.3174472624</c:v>
                </c:pt>
                <c:pt idx="426">
                  <c:v>3650787.5358751444</c:v>
                </c:pt>
                <c:pt idx="427">
                  <c:v>3611731.9511851394</c:v>
                </c:pt>
                <c:pt idx="428">
                  <c:v>3635747.7853839495</c:v>
                </c:pt>
                <c:pt idx="429">
                  <c:v>3644553.0513900607</c:v>
                </c:pt>
                <c:pt idx="430">
                  <c:v>3686395.1874423157</c:v>
                </c:pt>
                <c:pt idx="431">
                  <c:v>3674301.6141573167</c:v>
                </c:pt>
                <c:pt idx="432">
                  <c:v>3669684.7293889667</c:v>
                </c:pt>
                <c:pt idx="433">
                  <c:v>3691793.7637911825</c:v>
                </c:pt>
                <c:pt idx="434">
                  <c:v>3712162.5497196256</c:v>
                </c:pt>
                <c:pt idx="435">
                  <c:v>3705142.6387856877</c:v>
                </c:pt>
                <c:pt idx="436">
                  <c:v>3686170.171614293</c:v>
                </c:pt>
                <c:pt idx="437">
                  <c:v>3676549.083186748</c:v>
                </c:pt>
                <c:pt idx="438">
                  <c:v>3669480.1729459474</c:v>
                </c:pt>
                <c:pt idx="439">
                  <c:v>3668559.1263510007</c:v>
                </c:pt>
                <c:pt idx="440">
                  <c:v>3718954.7337733763</c:v>
                </c:pt>
                <c:pt idx="441">
                  <c:v>3735514.663099735</c:v>
                </c:pt>
                <c:pt idx="442">
                  <c:v>3705071.1401171004</c:v>
                </c:pt>
                <c:pt idx="443">
                  <c:v>3656317.1425593831</c:v>
                </c:pt>
                <c:pt idx="444">
                  <c:v>3632969.3618134474</c:v>
                </c:pt>
                <c:pt idx="445">
                  <c:v>3597130.8608157686</c:v>
                </c:pt>
                <c:pt idx="446">
                  <c:v>3661508.9468650185</c:v>
                </c:pt>
                <c:pt idx="447">
                  <c:v>3682604.9325159988</c:v>
                </c:pt>
                <c:pt idx="448">
                  <c:v>3696444.2417502953</c:v>
                </c:pt>
                <c:pt idx="449">
                  <c:v>3701243.8306324212</c:v>
                </c:pt>
                <c:pt idx="450">
                  <c:v>3664440.5103301425</c:v>
                </c:pt>
                <c:pt idx="451">
                  <c:v>3654707.2161941691</c:v>
                </c:pt>
                <c:pt idx="452">
                  <c:v>3622596.0992038636</c:v>
                </c:pt>
                <c:pt idx="453">
                  <c:v>3689292.3271366674</c:v>
                </c:pt>
                <c:pt idx="454">
                  <c:v>3635444.1138908109</c:v>
                </c:pt>
                <c:pt idx="455">
                  <c:v>3595092.1144610494</c:v>
                </c:pt>
                <c:pt idx="456">
                  <c:v>3656060.5658649611</c:v>
                </c:pt>
                <c:pt idx="457">
                  <c:v>3693438.5213370067</c:v>
                </c:pt>
                <c:pt idx="458">
                  <c:v>3648973.3328490551</c:v>
                </c:pt>
                <c:pt idx="459">
                  <c:v>3653622.5612404635</c:v>
                </c:pt>
                <c:pt idx="460">
                  <c:v>3665961.4106624578</c:v>
                </c:pt>
                <c:pt idx="461">
                  <c:v>3659491.0607427857</c:v>
                </c:pt>
                <c:pt idx="462">
                  <c:v>3340668.1526251789</c:v>
                </c:pt>
                <c:pt idx="463">
                  <c:v>3351765.2636037883</c:v>
                </c:pt>
                <c:pt idx="464">
                  <c:v>3650121.4869452044</c:v>
                </c:pt>
                <c:pt idx="465">
                  <c:v>3684695.3083238164</c:v>
                </c:pt>
                <c:pt idx="466">
                  <c:v>3688119.1175969434</c:v>
                </c:pt>
                <c:pt idx="467">
                  <c:v>3936751.7128517688</c:v>
                </c:pt>
                <c:pt idx="468">
                  <c:v>5206522.2524066102</c:v>
                </c:pt>
                <c:pt idx="469">
                  <c:v>3838149.8800654882</c:v>
                </c:pt>
                <c:pt idx="470">
                  <c:v>3688691.9102313463</c:v>
                </c:pt>
                <c:pt idx="471">
                  <c:v>3654363.8626488564</c:v>
                </c:pt>
                <c:pt idx="472">
                  <c:v>3695193.5581568168</c:v>
                </c:pt>
                <c:pt idx="473">
                  <c:v>3690825.6777496589</c:v>
                </c:pt>
                <c:pt idx="474">
                  <c:v>3696027.4593807873</c:v>
                </c:pt>
                <c:pt idx="475">
                  <c:v>3702756.4350137832</c:v>
                </c:pt>
                <c:pt idx="476">
                  <c:v>3709784.9294887148</c:v>
                </c:pt>
                <c:pt idx="477">
                  <c:v>3682050.4938918343</c:v>
                </c:pt>
                <c:pt idx="478">
                  <c:v>3625813.4604493221</c:v>
                </c:pt>
                <c:pt idx="479">
                  <c:v>3680293.0521925976</c:v>
                </c:pt>
                <c:pt idx="480">
                  <c:v>3664707.4721694877</c:v>
                </c:pt>
                <c:pt idx="481">
                  <c:v>3684179.8035747712</c:v>
                </c:pt>
                <c:pt idx="482">
                  <c:v>3724492.4000904351</c:v>
                </c:pt>
                <c:pt idx="483">
                  <c:v>3743280.6519854683</c:v>
                </c:pt>
                <c:pt idx="484">
                  <c:v>3725447.0558664831</c:v>
                </c:pt>
                <c:pt idx="485">
                  <c:v>3689889.5792254671</c:v>
                </c:pt>
                <c:pt idx="486">
                  <c:v>3652206.7336364719</c:v>
                </c:pt>
                <c:pt idx="487">
                  <c:v>2086425.0997618143</c:v>
                </c:pt>
                <c:pt idx="488">
                  <c:v>3661950.8262995216</c:v>
                </c:pt>
                <c:pt idx="489">
                  <c:v>3692083.5533377118</c:v>
                </c:pt>
                <c:pt idx="490">
                  <c:v>3706940.3892593007</c:v>
                </c:pt>
                <c:pt idx="491">
                  <c:v>3729447.8960556188</c:v>
                </c:pt>
                <c:pt idx="492">
                  <c:v>3876630.669076493</c:v>
                </c:pt>
                <c:pt idx="493">
                  <c:v>4142158.1892598378</c:v>
                </c:pt>
                <c:pt idx="494">
                  <c:v>4094978.4704505433</c:v>
                </c:pt>
                <c:pt idx="495">
                  <c:v>0</c:v>
                </c:pt>
                <c:pt idx="496">
                  <c:v>0</c:v>
                </c:pt>
                <c:pt idx="497">
                  <c:v>0</c:v>
                </c:pt>
                <c:pt idx="498">
                  <c:v>0</c:v>
                </c:pt>
                <c:pt idx="499">
                  <c:v>3700446.1131983148</c:v>
                </c:pt>
                <c:pt idx="500">
                  <c:v>3659486.1478092554</c:v>
                </c:pt>
                <c:pt idx="501">
                  <c:v>3693223.3216828094</c:v>
                </c:pt>
                <c:pt idx="502">
                  <c:v>3688508.6664255382</c:v>
                </c:pt>
                <c:pt idx="503">
                  <c:v>3673614.0625678105</c:v>
                </c:pt>
                <c:pt idx="504">
                  <c:v>3693636.7564973184</c:v>
                </c:pt>
                <c:pt idx="505">
                  <c:v>3676266.1782992417</c:v>
                </c:pt>
                <c:pt idx="506">
                  <c:v>4248876.683102645</c:v>
                </c:pt>
                <c:pt idx="507">
                  <c:v>3724718.8120445791</c:v>
                </c:pt>
                <c:pt idx="508">
                  <c:v>3720443.4550039372</c:v>
                </c:pt>
                <c:pt idx="509">
                  <c:v>-4961637.790944987</c:v>
                </c:pt>
                <c:pt idx="510">
                  <c:v>3677493.0328095243</c:v>
                </c:pt>
                <c:pt idx="511">
                  <c:v>3661165.8507190696</c:v>
                </c:pt>
                <c:pt idx="512">
                  <c:v>3640230.1834119768</c:v>
                </c:pt>
                <c:pt idx="513">
                  <c:v>3645430.7235766049</c:v>
                </c:pt>
                <c:pt idx="514">
                  <c:v>3669629.3192763887</c:v>
                </c:pt>
                <c:pt idx="515">
                  <c:v>3677231.1307232277</c:v>
                </c:pt>
                <c:pt idx="516">
                  <c:v>3658200.6343605001</c:v>
                </c:pt>
                <c:pt idx="517">
                  <c:v>3689915.3580221967</c:v>
                </c:pt>
                <c:pt idx="518">
                  <c:v>3736401.19560656</c:v>
                </c:pt>
                <c:pt idx="519">
                  <c:v>3642466.6123736924</c:v>
                </c:pt>
                <c:pt idx="520">
                  <c:v>3646782.2345295683</c:v>
                </c:pt>
                <c:pt idx="521">
                  <c:v>3635233.005845421</c:v>
                </c:pt>
                <c:pt idx="522">
                  <c:v>3654666.2712653521</c:v>
                </c:pt>
                <c:pt idx="523">
                  <c:v>3689290.1546467943</c:v>
                </c:pt>
                <c:pt idx="524">
                  <c:v>3601599.5011667097</c:v>
                </c:pt>
                <c:pt idx="525">
                  <c:v>3659628.1067988081</c:v>
                </c:pt>
                <c:pt idx="526">
                  <c:v>3710842.6475754869</c:v>
                </c:pt>
                <c:pt idx="527">
                  <c:v>3732218.1433916474</c:v>
                </c:pt>
                <c:pt idx="528">
                  <c:v>3614365.5836847471</c:v>
                </c:pt>
                <c:pt idx="529">
                  <c:v>3718992.2243309049</c:v>
                </c:pt>
                <c:pt idx="530">
                  <c:v>3707930.734290007</c:v>
                </c:pt>
                <c:pt idx="531">
                  <c:v>3739210.6293844287</c:v>
                </c:pt>
                <c:pt idx="532">
                  <c:v>3702036.8766566366</c:v>
                </c:pt>
                <c:pt idx="533">
                  <c:v>3714869.8359335195</c:v>
                </c:pt>
                <c:pt idx="534">
                  <c:v>3646806.366507228</c:v>
                </c:pt>
                <c:pt idx="535">
                  <c:v>3622200.8655438367</c:v>
                </c:pt>
                <c:pt idx="536">
                  <c:v>3625631.6779499887</c:v>
                </c:pt>
                <c:pt idx="537">
                  <c:v>3680019.2169000292</c:v>
                </c:pt>
                <c:pt idx="538">
                  <c:v>3641643.7774745701</c:v>
                </c:pt>
                <c:pt idx="539">
                  <c:v>3683623.2987995949</c:v>
                </c:pt>
                <c:pt idx="540">
                  <c:v>3736576.0005041347</c:v>
                </c:pt>
                <c:pt idx="541">
                  <c:v>3842612.0710050701</c:v>
                </c:pt>
                <c:pt idx="542">
                  <c:v>3818667.005405759</c:v>
                </c:pt>
                <c:pt idx="543">
                  <c:v>3768280.862548708</c:v>
                </c:pt>
                <c:pt idx="544">
                  <c:v>-6172531.9290571921</c:v>
                </c:pt>
                <c:pt idx="545">
                  <c:v>3682456.6080840947</c:v>
                </c:pt>
                <c:pt idx="546">
                  <c:v>2068810.3438764871</c:v>
                </c:pt>
                <c:pt idx="547">
                  <c:v>3682135.678760855</c:v>
                </c:pt>
                <c:pt idx="548">
                  <c:v>3615805.2647941024</c:v>
                </c:pt>
                <c:pt idx="549">
                  <c:v>3735542.7410755977</c:v>
                </c:pt>
                <c:pt idx="550">
                  <c:v>3628963.9510026276</c:v>
                </c:pt>
                <c:pt idx="551">
                  <c:v>3598523.3958037649</c:v>
                </c:pt>
                <c:pt idx="552">
                  <c:v>3607465.8250857661</c:v>
                </c:pt>
                <c:pt idx="553">
                  <c:v>3622834.6219607731</c:v>
                </c:pt>
                <c:pt idx="554">
                  <c:v>3603109.3081439296</c:v>
                </c:pt>
                <c:pt idx="555">
                  <c:v>3638576.8946834411</c:v>
                </c:pt>
                <c:pt idx="556">
                  <c:v>3623633.0275033456</c:v>
                </c:pt>
                <c:pt idx="557">
                  <c:v>3630076.4723848258</c:v>
                </c:pt>
                <c:pt idx="558">
                  <c:v>3628249.9477520497</c:v>
                </c:pt>
                <c:pt idx="559">
                  <c:v>3602264.5621348815</c:v>
                </c:pt>
                <c:pt idx="560">
                  <c:v>3595817.2565001459</c:v>
                </c:pt>
                <c:pt idx="561">
                  <c:v>3565169.8270278405</c:v>
                </c:pt>
                <c:pt idx="562">
                  <c:v>3674946.1132218922</c:v>
                </c:pt>
                <c:pt idx="563">
                  <c:v>3640334.1801313674</c:v>
                </c:pt>
                <c:pt idx="564">
                  <c:v>3691345.4998305012</c:v>
                </c:pt>
                <c:pt idx="565">
                  <c:v>3718926.8995448644</c:v>
                </c:pt>
                <c:pt idx="566">
                  <c:v>3685163.6941819089</c:v>
                </c:pt>
                <c:pt idx="567">
                  <c:v>3679480.364919581</c:v>
                </c:pt>
                <c:pt idx="568">
                  <c:v>3772873.277752927</c:v>
                </c:pt>
                <c:pt idx="569">
                  <c:v>3718305.2088421006</c:v>
                </c:pt>
                <c:pt idx="570">
                  <c:v>3818916.9796670824</c:v>
                </c:pt>
                <c:pt idx="571">
                  <c:v>3715527.5684714569</c:v>
                </c:pt>
                <c:pt idx="572">
                  <c:v>3681120.9373589191</c:v>
                </c:pt>
                <c:pt idx="573">
                  <c:v>3705188.1047710995</c:v>
                </c:pt>
                <c:pt idx="574">
                  <c:v>3684104.5379978349</c:v>
                </c:pt>
                <c:pt idx="575">
                  <c:v>3659187.7156986175</c:v>
                </c:pt>
                <c:pt idx="576">
                  <c:v>3666075.3329896503</c:v>
                </c:pt>
                <c:pt idx="577">
                  <c:v>3634208.7142972858</c:v>
                </c:pt>
                <c:pt idx="578">
                  <c:v>3663605.4850922115</c:v>
                </c:pt>
                <c:pt idx="579">
                  <c:v>3698807.7023041458</c:v>
                </c:pt>
                <c:pt idx="580">
                  <c:v>3756926.6221079677</c:v>
                </c:pt>
                <c:pt idx="581">
                  <c:v>3760015.1702037146</c:v>
                </c:pt>
                <c:pt idx="582">
                  <c:v>3647591.7315788744</c:v>
                </c:pt>
                <c:pt idx="583">
                  <c:v>3654839.5759690362</c:v>
                </c:pt>
                <c:pt idx="584">
                  <c:v>3694076.4052876998</c:v>
                </c:pt>
                <c:pt idx="585">
                  <c:v>3666314.4351101462</c:v>
                </c:pt>
                <c:pt idx="586">
                  <c:v>3713612.8328369739</c:v>
                </c:pt>
                <c:pt idx="587">
                  <c:v>3688328.3994842255</c:v>
                </c:pt>
                <c:pt idx="588">
                  <c:v>3652196.3725284571</c:v>
                </c:pt>
                <c:pt idx="589">
                  <c:v>3654186.8910241141</c:v>
                </c:pt>
                <c:pt idx="590">
                  <c:v>3717581.771662679</c:v>
                </c:pt>
                <c:pt idx="591">
                  <c:v>3661284.0319679971</c:v>
                </c:pt>
                <c:pt idx="592">
                  <c:v>3647655.1932711639</c:v>
                </c:pt>
                <c:pt idx="593">
                  <c:v>3623003.1940825302</c:v>
                </c:pt>
                <c:pt idx="594">
                  <c:v>3595391.6272807722</c:v>
                </c:pt>
                <c:pt idx="595">
                  <c:v>3607818.9212504458</c:v>
                </c:pt>
                <c:pt idx="596">
                  <c:v>3627167.9326615119</c:v>
                </c:pt>
                <c:pt idx="597">
                  <c:v>3606749.6035337015</c:v>
                </c:pt>
                <c:pt idx="598">
                  <c:v>3617731.169807863</c:v>
                </c:pt>
                <c:pt idx="599">
                  <c:v>3662150.9647308351</c:v>
                </c:pt>
                <c:pt idx="600">
                  <c:v>3724199.0175945899</c:v>
                </c:pt>
                <c:pt idx="601">
                  <c:v>3769206.579839664</c:v>
                </c:pt>
                <c:pt idx="602">
                  <c:v>3699495.382167378</c:v>
                </c:pt>
                <c:pt idx="603">
                  <c:v>3694377.8550601457</c:v>
                </c:pt>
                <c:pt idx="604">
                  <c:v>3652947.7834223378</c:v>
                </c:pt>
                <c:pt idx="605">
                  <c:v>3600511.6849533557</c:v>
                </c:pt>
                <c:pt idx="606">
                  <c:v>3610141.2577171139</c:v>
                </c:pt>
                <c:pt idx="607">
                  <c:v>3842614.9000693331</c:v>
                </c:pt>
                <c:pt idx="608">
                  <c:v>3648582.4017058173</c:v>
                </c:pt>
                <c:pt idx="609">
                  <c:v>3653652.9589765929</c:v>
                </c:pt>
                <c:pt idx="610">
                  <c:v>3709635.4827888245</c:v>
                </c:pt>
                <c:pt idx="611">
                  <c:v>3724221.2568875318</c:v>
                </c:pt>
                <c:pt idx="612">
                  <c:v>3737809.419317327</c:v>
                </c:pt>
                <c:pt idx="613">
                  <c:v>3628466.8587987898</c:v>
                </c:pt>
                <c:pt idx="614">
                  <c:v>3648019.7705774591</c:v>
                </c:pt>
                <c:pt idx="615">
                  <c:v>3676798.1416418827</c:v>
                </c:pt>
                <c:pt idx="616">
                  <c:v>3727785.8184262607</c:v>
                </c:pt>
                <c:pt idx="617">
                  <c:v>3686462.7674146136</c:v>
                </c:pt>
                <c:pt idx="618">
                  <c:v>3632717.5918277921</c:v>
                </c:pt>
                <c:pt idx="619">
                  <c:v>3613530.0332793933</c:v>
                </c:pt>
                <c:pt idx="620">
                  <c:v>3605241.9976825765</c:v>
                </c:pt>
                <c:pt idx="621">
                  <c:v>3679816.4234414413</c:v>
                </c:pt>
                <c:pt idx="622">
                  <c:v>3678191.7787003927</c:v>
                </c:pt>
                <c:pt idx="623">
                  <c:v>3777853.2117816317</c:v>
                </c:pt>
                <c:pt idx="624">
                  <c:v>3785651.9911466017</c:v>
                </c:pt>
                <c:pt idx="625">
                  <c:v>3874295.6208527749</c:v>
                </c:pt>
                <c:pt idx="626">
                  <c:v>3906666.3843235914</c:v>
                </c:pt>
                <c:pt idx="627">
                  <c:v>3976349.876177351</c:v>
                </c:pt>
                <c:pt idx="628">
                  <c:v>4024383.7344670901</c:v>
                </c:pt>
                <c:pt idx="629">
                  <c:v>3803675.1744933478</c:v>
                </c:pt>
                <c:pt idx="630">
                  <c:v>3736114.8868515054</c:v>
                </c:pt>
                <c:pt idx="631">
                  <c:v>3685787.562964458</c:v>
                </c:pt>
                <c:pt idx="632">
                  <c:v>3630217.5566190253</c:v>
                </c:pt>
                <c:pt idx="633">
                  <c:v>3629790.8241286529</c:v>
                </c:pt>
                <c:pt idx="634">
                  <c:v>3583231.500593516</c:v>
                </c:pt>
                <c:pt idx="635">
                  <c:v>3602817.3708087532</c:v>
                </c:pt>
                <c:pt idx="636">
                  <c:v>3625896.2085811161</c:v>
                </c:pt>
                <c:pt idx="637">
                  <c:v>3628924.5405856776</c:v>
                </c:pt>
                <c:pt idx="638">
                  <c:v>3713394.2608207925</c:v>
                </c:pt>
                <c:pt idx="639">
                  <c:v>3923334.1805568156</c:v>
                </c:pt>
                <c:pt idx="640">
                  <c:v>4062606.076578171</c:v>
                </c:pt>
                <c:pt idx="641">
                  <c:v>4851752.1996231508</c:v>
                </c:pt>
                <c:pt idx="642">
                  <c:v>0</c:v>
                </c:pt>
                <c:pt idx="643">
                  <c:v>4071427.0864306646</c:v>
                </c:pt>
                <c:pt idx="644">
                  <c:v>3876786.392423457</c:v>
                </c:pt>
                <c:pt idx="645">
                  <c:v>3771290.0006539086</c:v>
                </c:pt>
                <c:pt idx="646">
                  <c:v>3824610.0311394553</c:v>
                </c:pt>
                <c:pt idx="647">
                  <c:v>3871823.8931887681</c:v>
                </c:pt>
                <c:pt idx="648">
                  <c:v>3836075.4335187371</c:v>
                </c:pt>
                <c:pt idx="649">
                  <c:v>3741321.6431415505</c:v>
                </c:pt>
                <c:pt idx="650">
                  <c:v>3709316.4682983859</c:v>
                </c:pt>
                <c:pt idx="651">
                  <c:v>1470218.1531592936</c:v>
                </c:pt>
                <c:pt idx="652">
                  <c:v>3678681.5681159468</c:v>
                </c:pt>
                <c:pt idx="653">
                  <c:v>3640983.136561058</c:v>
                </c:pt>
                <c:pt idx="654">
                  <c:v>3661759.7338164118</c:v>
                </c:pt>
                <c:pt idx="655">
                  <c:v>3953289.3594493363</c:v>
                </c:pt>
                <c:pt idx="656">
                  <c:v>3691055.6229645787</c:v>
                </c:pt>
                <c:pt idx="657">
                  <c:v>3700254.249769649</c:v>
                </c:pt>
                <c:pt idx="658">
                  <c:v>3678674.3233136386</c:v>
                </c:pt>
                <c:pt idx="659">
                  <c:v>3794847.6502025537</c:v>
                </c:pt>
                <c:pt idx="660">
                  <c:v>3635534.8913542372</c:v>
                </c:pt>
                <c:pt idx="661">
                  <c:v>3669356.5812452594</c:v>
                </c:pt>
                <c:pt idx="662">
                  <c:v>3609945.2533591921</c:v>
                </c:pt>
                <c:pt idx="663">
                  <c:v>3618292.5435141306</c:v>
                </c:pt>
                <c:pt idx="664">
                  <c:v>3591704.6661603721</c:v>
                </c:pt>
                <c:pt idx="665">
                  <c:v>3614727.9336109734</c:v>
                </c:pt>
                <c:pt idx="666">
                  <c:v>3684860.1525410851</c:v>
                </c:pt>
                <c:pt idx="667">
                  <c:v>3666434.6279493328</c:v>
                </c:pt>
                <c:pt idx="668">
                  <c:v>3671720.7251799842</c:v>
                </c:pt>
                <c:pt idx="669">
                  <c:v>3874005.3523075967</c:v>
                </c:pt>
                <c:pt idx="670">
                  <c:v>3623264.5314965495</c:v>
                </c:pt>
                <c:pt idx="671">
                  <c:v>3646508.7111337106</c:v>
                </c:pt>
                <c:pt idx="672">
                  <c:v>3637917.4136453513</c:v>
                </c:pt>
                <c:pt idx="673">
                  <c:v>3621040.4902793751</c:v>
                </c:pt>
                <c:pt idx="674">
                  <c:v>3646437.9814882553</c:v>
                </c:pt>
                <c:pt idx="675">
                  <c:v>3605093.0172629058</c:v>
                </c:pt>
                <c:pt idx="676">
                  <c:v>3637495.0748960306</c:v>
                </c:pt>
                <c:pt idx="677">
                  <c:v>3687030.6232301327</c:v>
                </c:pt>
                <c:pt idx="678">
                  <c:v>3633236.0740191704</c:v>
                </c:pt>
                <c:pt idx="679">
                  <c:v>3718546.7436960489</c:v>
                </c:pt>
                <c:pt idx="680">
                  <c:v>3675044.5498466669</c:v>
                </c:pt>
                <c:pt idx="681">
                  <c:v>3765417.2600946939</c:v>
                </c:pt>
                <c:pt idx="682">
                  <c:v>3732188.7205449794</c:v>
                </c:pt>
                <c:pt idx="683">
                  <c:v>3594329.9688735586</c:v>
                </c:pt>
                <c:pt idx="684">
                  <c:v>3689943.4454148542</c:v>
                </c:pt>
                <c:pt idx="685">
                  <c:v>3575315.5550178336</c:v>
                </c:pt>
                <c:pt idx="686">
                  <c:v>3607417.5282478337</c:v>
                </c:pt>
                <c:pt idx="687">
                  <c:v>3610903.1030927766</c:v>
                </c:pt>
                <c:pt idx="688">
                  <c:v>3591622.6869104193</c:v>
                </c:pt>
                <c:pt idx="689">
                  <c:v>3616109.761091698</c:v>
                </c:pt>
                <c:pt idx="690">
                  <c:v>3622118.7415608126</c:v>
                </c:pt>
                <c:pt idx="691">
                  <c:v>3643964.6980587007</c:v>
                </c:pt>
                <c:pt idx="692">
                  <c:v>3662259.9941988075</c:v>
                </c:pt>
                <c:pt idx="693">
                  <c:v>3631989.8856723844</c:v>
                </c:pt>
                <c:pt idx="694">
                  <c:v>3630564.6670911233</c:v>
                </c:pt>
                <c:pt idx="695">
                  <c:v>3614056.1045126542</c:v>
                </c:pt>
                <c:pt idx="696">
                  <c:v>3637397.9856939325</c:v>
                </c:pt>
                <c:pt idx="697">
                  <c:v>3645852.0043525388</c:v>
                </c:pt>
                <c:pt idx="698">
                  <c:v>3609581.4436051901</c:v>
                </c:pt>
                <c:pt idx="699">
                  <c:v>3612956.8749102145</c:v>
                </c:pt>
                <c:pt idx="700">
                  <c:v>3622245.8526733569</c:v>
                </c:pt>
                <c:pt idx="701">
                  <c:v>3731188.0381086352</c:v>
                </c:pt>
                <c:pt idx="702">
                  <c:v>3677210.3762309728</c:v>
                </c:pt>
                <c:pt idx="703">
                  <c:v>3615938.8661044752</c:v>
                </c:pt>
                <c:pt idx="704">
                  <c:v>3611108.3742654352</c:v>
                </c:pt>
                <c:pt idx="705">
                  <c:v>3628113.0971612842</c:v>
                </c:pt>
                <c:pt idx="706">
                  <c:v>3650147.2449585726</c:v>
                </c:pt>
                <c:pt idx="707">
                  <c:v>3623959.5020079562</c:v>
                </c:pt>
                <c:pt idx="708">
                  <c:v>3766578.8159533581</c:v>
                </c:pt>
                <c:pt idx="709">
                  <c:v>3676914.0745962816</c:v>
                </c:pt>
                <c:pt idx="710">
                  <c:v>3647268.6723015639</c:v>
                </c:pt>
                <c:pt idx="711">
                  <c:v>3622566.7439112361</c:v>
                </c:pt>
                <c:pt idx="712">
                  <c:v>3743764.6015594895</c:v>
                </c:pt>
                <c:pt idx="713">
                  <c:v>3713792.5051042642</c:v>
                </c:pt>
                <c:pt idx="714">
                  <c:v>3634158.6610432109</c:v>
                </c:pt>
                <c:pt idx="715">
                  <c:v>3693859.1901509948</c:v>
                </c:pt>
                <c:pt idx="716">
                  <c:v>3673204.3302552598</c:v>
                </c:pt>
                <c:pt idx="717">
                  <c:v>3677065.8598120636</c:v>
                </c:pt>
                <c:pt idx="718">
                  <c:v>3610912.2629001266</c:v>
                </c:pt>
                <c:pt idx="719">
                  <c:v>3646408.3931604768</c:v>
                </c:pt>
                <c:pt idx="720">
                  <c:v>3643301.4255538895</c:v>
                </c:pt>
                <c:pt idx="721">
                  <c:v>3684721.3365953295</c:v>
                </c:pt>
                <c:pt idx="722">
                  <c:v>3719118.8107427726</c:v>
                </c:pt>
                <c:pt idx="723">
                  <c:v>3724140.7313695466</c:v>
                </c:pt>
                <c:pt idx="724">
                  <c:v>3851268.5061163264</c:v>
                </c:pt>
                <c:pt idx="725">
                  <c:v>5757126.3302742653</c:v>
                </c:pt>
                <c:pt idx="726">
                  <c:v>4140371.3673973745</c:v>
                </c:pt>
                <c:pt idx="727">
                  <c:v>3729637.8561532297</c:v>
                </c:pt>
                <c:pt idx="728">
                  <c:v>3645381.5424524397</c:v>
                </c:pt>
                <c:pt idx="729">
                  <c:v>3637175.4154399568</c:v>
                </c:pt>
                <c:pt idx="730">
                  <c:v>3637535.3308072137</c:v>
                </c:pt>
                <c:pt idx="731">
                  <c:v>3654140.6558778724</c:v>
                </c:pt>
                <c:pt idx="732">
                  <c:v>3676576.6774422331</c:v>
                </c:pt>
                <c:pt idx="733">
                  <c:v>3639708.5271471082</c:v>
                </c:pt>
                <c:pt idx="734">
                  <c:v>3639346.7928042742</c:v>
                </c:pt>
                <c:pt idx="735">
                  <c:v>3640668.1548764776</c:v>
                </c:pt>
                <c:pt idx="736">
                  <c:v>3653500.7936642081</c:v>
                </c:pt>
                <c:pt idx="737">
                  <c:v>3645657.8718412863</c:v>
                </c:pt>
                <c:pt idx="738">
                  <c:v>3670338.0020210063</c:v>
                </c:pt>
                <c:pt idx="739">
                  <c:v>3685247.710985716</c:v>
                </c:pt>
                <c:pt idx="740">
                  <c:v>3642510.5249135443</c:v>
                </c:pt>
                <c:pt idx="741">
                  <c:v>3634778.9147374076</c:v>
                </c:pt>
                <c:pt idx="742">
                  <c:v>3637627.8635277282</c:v>
                </c:pt>
                <c:pt idx="743">
                  <c:v>3612384.0950483098</c:v>
                </c:pt>
                <c:pt idx="744">
                  <c:v>3606394.5492920447</c:v>
                </c:pt>
                <c:pt idx="745">
                  <c:v>3600251.708377209</c:v>
                </c:pt>
                <c:pt idx="746">
                  <c:v>3621345.2117182659</c:v>
                </c:pt>
                <c:pt idx="747">
                  <c:v>3641599.8059822326</c:v>
                </c:pt>
                <c:pt idx="748">
                  <c:v>3643048.7616350176</c:v>
                </c:pt>
                <c:pt idx="749">
                  <c:v>3624139.0335773807</c:v>
                </c:pt>
                <c:pt idx="750">
                  <c:v>3622621.8200669619</c:v>
                </c:pt>
                <c:pt idx="751">
                  <c:v>3638377.0452356962</c:v>
                </c:pt>
                <c:pt idx="752">
                  <c:v>3514882.5523535102</c:v>
                </c:pt>
                <c:pt idx="753">
                  <c:v>3624861.0238068942</c:v>
                </c:pt>
                <c:pt idx="754">
                  <c:v>3604764.249867938</c:v>
                </c:pt>
                <c:pt idx="755">
                  <c:v>3616127.9868312413</c:v>
                </c:pt>
                <c:pt idx="756">
                  <c:v>3654007.7446591477</c:v>
                </c:pt>
                <c:pt idx="757">
                  <c:v>3620495.326402083</c:v>
                </c:pt>
                <c:pt idx="758">
                  <c:v>3653980.5894235275</c:v>
                </c:pt>
                <c:pt idx="759">
                  <c:v>3655208.0092684473</c:v>
                </c:pt>
                <c:pt idx="760">
                  <c:v>3640291.5817767065</c:v>
                </c:pt>
                <c:pt idx="761">
                  <c:v>3666709.3822438889</c:v>
                </c:pt>
                <c:pt idx="762">
                  <c:v>3669300.1525760219</c:v>
                </c:pt>
                <c:pt idx="763">
                  <c:v>3633868.1435675644</c:v>
                </c:pt>
                <c:pt idx="764">
                  <c:v>3648737.2984718266</c:v>
                </c:pt>
                <c:pt idx="765">
                  <c:v>3692931.1168041239</c:v>
                </c:pt>
                <c:pt idx="766">
                  <c:v>3637072.3613587329</c:v>
                </c:pt>
                <c:pt idx="767">
                  <c:v>3699445.1200464373</c:v>
                </c:pt>
                <c:pt idx="768">
                  <c:v>3644047.4442910976</c:v>
                </c:pt>
                <c:pt idx="769">
                  <c:v>3719265.4995304029</c:v>
                </c:pt>
                <c:pt idx="770">
                  <c:v>3718846.6758432044</c:v>
                </c:pt>
                <c:pt idx="771">
                  <c:v>3662250.0065988312</c:v>
                </c:pt>
                <c:pt idx="772">
                  <c:v>3658113.4150723917</c:v>
                </c:pt>
                <c:pt idx="773">
                  <c:v>3630127.8066167245</c:v>
                </c:pt>
                <c:pt idx="774">
                  <c:v>3657077.9430307932</c:v>
                </c:pt>
                <c:pt idx="775">
                  <c:v>3642665.8351536263</c:v>
                </c:pt>
                <c:pt idx="776">
                  <c:v>3635490.3696315694</c:v>
                </c:pt>
                <c:pt idx="777">
                  <c:v>3660564.9222102794</c:v>
                </c:pt>
                <c:pt idx="778">
                  <c:v>3667056.522581826</c:v>
                </c:pt>
                <c:pt idx="779">
                  <c:v>3654642.6888724114</c:v>
                </c:pt>
                <c:pt idx="780">
                  <c:v>3642625.6757026897</c:v>
                </c:pt>
                <c:pt idx="781">
                  <c:v>3664754.3928707056</c:v>
                </c:pt>
                <c:pt idx="782">
                  <c:v>3662703.5419851067</c:v>
                </c:pt>
                <c:pt idx="783">
                  <c:v>3658502.60928895</c:v>
                </c:pt>
                <c:pt idx="784">
                  <c:v>3687500.085457772</c:v>
                </c:pt>
                <c:pt idx="785">
                  <c:v>3667781.8459592224</c:v>
                </c:pt>
                <c:pt idx="786">
                  <c:v>3668153.8827422475</c:v>
                </c:pt>
                <c:pt idx="787">
                  <c:v>3677204.7752403133</c:v>
                </c:pt>
                <c:pt idx="788">
                  <c:v>3790090.6304478385</c:v>
                </c:pt>
                <c:pt idx="789">
                  <c:v>4206411.4369665263</c:v>
                </c:pt>
                <c:pt idx="790">
                  <c:v>3705159.1731871874</c:v>
                </c:pt>
                <c:pt idx="791">
                  <c:v>3651748.3671598528</c:v>
                </c:pt>
                <c:pt idx="792">
                  <c:v>3668815.0870468169</c:v>
                </c:pt>
                <c:pt idx="793">
                  <c:v>3681756.2025096719</c:v>
                </c:pt>
                <c:pt idx="794">
                  <c:v>3657462.320398889</c:v>
                </c:pt>
                <c:pt idx="795">
                  <c:v>3661321.8249154775</c:v>
                </c:pt>
                <c:pt idx="796">
                  <c:v>3680461.3912110785</c:v>
                </c:pt>
                <c:pt idx="797">
                  <c:v>3668338.1226931964</c:v>
                </c:pt>
                <c:pt idx="798">
                  <c:v>3670618.7449826323</c:v>
                </c:pt>
                <c:pt idx="799">
                  <c:v>3683671.4801278296</c:v>
                </c:pt>
                <c:pt idx="800">
                  <c:v>3683149.4878078252</c:v>
                </c:pt>
                <c:pt idx="801">
                  <c:v>3659433.7610721444</c:v>
                </c:pt>
                <c:pt idx="802">
                  <c:v>3690221.4029123602</c:v>
                </c:pt>
                <c:pt idx="803">
                  <c:v>3678327.6070757867</c:v>
                </c:pt>
                <c:pt idx="804">
                  <c:v>3668104.8581583444</c:v>
                </c:pt>
                <c:pt idx="805">
                  <c:v>3713421.2403006577</c:v>
                </c:pt>
                <c:pt idx="806">
                  <c:v>3712954.7261228608</c:v>
                </c:pt>
                <c:pt idx="807">
                  <c:v>3689203.2362948707</c:v>
                </c:pt>
                <c:pt idx="808">
                  <c:v>3693494.2952502621</c:v>
                </c:pt>
                <c:pt idx="809">
                  <c:v>3701088.7758852206</c:v>
                </c:pt>
                <c:pt idx="810">
                  <c:v>3715479.8248049361</c:v>
                </c:pt>
                <c:pt idx="811">
                  <c:v>3711175.8203770421</c:v>
                </c:pt>
                <c:pt idx="812">
                  <c:v>3727528.6512058983</c:v>
                </c:pt>
                <c:pt idx="813">
                  <c:v>3737176.3980018725</c:v>
                </c:pt>
                <c:pt idx="814">
                  <c:v>3707229.2633800688</c:v>
                </c:pt>
                <c:pt idx="815">
                  <c:v>3725590.4953520377</c:v>
                </c:pt>
                <c:pt idx="816">
                  <c:v>3697863.5605390156</c:v>
                </c:pt>
                <c:pt idx="817">
                  <c:v>3671762.6952151819</c:v>
                </c:pt>
                <c:pt idx="818">
                  <c:v>3688883.6043852516</c:v>
                </c:pt>
                <c:pt idx="819">
                  <c:v>3713226.2927391105</c:v>
                </c:pt>
                <c:pt idx="820">
                  <c:v>3675119.5370815587</c:v>
                </c:pt>
                <c:pt idx="821">
                  <c:v>3787983.9533278383</c:v>
                </c:pt>
                <c:pt idx="822">
                  <c:v>3776731.8620300521</c:v>
                </c:pt>
                <c:pt idx="823">
                  <c:v>3776849.4910402186</c:v>
                </c:pt>
                <c:pt idx="824">
                  <c:v>3732671.6961311791</c:v>
                </c:pt>
                <c:pt idx="825">
                  <c:v>3796395.2574250381</c:v>
                </c:pt>
                <c:pt idx="826">
                  <c:v>3785178.7838524268</c:v>
                </c:pt>
                <c:pt idx="827">
                  <c:v>3800066.1391615206</c:v>
                </c:pt>
                <c:pt idx="828">
                  <c:v>3825929.7417898746</c:v>
                </c:pt>
                <c:pt idx="829">
                  <c:v>3791645.5781815113</c:v>
                </c:pt>
                <c:pt idx="830">
                  <c:v>3810789.3419257067</c:v>
                </c:pt>
                <c:pt idx="831">
                  <c:v>3818025.8651256962</c:v>
                </c:pt>
                <c:pt idx="832">
                  <c:v>3806014.3712212378</c:v>
                </c:pt>
                <c:pt idx="833">
                  <c:v>3797887.6275236844</c:v>
                </c:pt>
                <c:pt idx="834">
                  <c:v>3768023.1501992941</c:v>
                </c:pt>
                <c:pt idx="835">
                  <c:v>3672682.5632161782</c:v>
                </c:pt>
                <c:pt idx="836">
                  <c:v>3687670.5017248769</c:v>
                </c:pt>
                <c:pt idx="837">
                  <c:v>3692154.1688780133</c:v>
                </c:pt>
                <c:pt idx="838">
                  <c:v>3683075.902854952</c:v>
                </c:pt>
                <c:pt idx="839">
                  <c:v>3675111.4697114262</c:v>
                </c:pt>
                <c:pt idx="840">
                  <c:v>3708927.2922060848</c:v>
                </c:pt>
                <c:pt idx="841">
                  <c:v>3727390.4936235351</c:v>
                </c:pt>
                <c:pt idx="842">
                  <c:v>3694601.0100125787</c:v>
                </c:pt>
                <c:pt idx="843">
                  <c:v>3711555.4734243462</c:v>
                </c:pt>
                <c:pt idx="844">
                  <c:v>3707543.5146371271</c:v>
                </c:pt>
                <c:pt idx="845">
                  <c:v>3704629.2014139919</c:v>
                </c:pt>
                <c:pt idx="846">
                  <c:v>3754722.4185187914</c:v>
                </c:pt>
                <c:pt idx="847">
                  <c:v>3707896.4616734716</c:v>
                </c:pt>
                <c:pt idx="848">
                  <c:v>3679144.2911062962</c:v>
                </c:pt>
                <c:pt idx="849">
                  <c:v>3732307.7755670622</c:v>
                </c:pt>
                <c:pt idx="850">
                  <c:v>3698452.2352426848</c:v>
                </c:pt>
                <c:pt idx="851">
                  <c:v>3681377.6547717107</c:v>
                </c:pt>
                <c:pt idx="852">
                  <c:v>3769600.5865163868</c:v>
                </c:pt>
                <c:pt idx="853">
                  <c:v>3704992.0112693985</c:v>
                </c:pt>
                <c:pt idx="854">
                  <c:v>3715732.5118163573</c:v>
                </c:pt>
                <c:pt idx="855">
                  <c:v>3703310.9904605383</c:v>
                </c:pt>
                <c:pt idx="856">
                  <c:v>3746083.5429053935</c:v>
                </c:pt>
                <c:pt idx="857">
                  <c:v>3735795.6819595913</c:v>
                </c:pt>
                <c:pt idx="858">
                  <c:v>3728334.7098276168</c:v>
                </c:pt>
                <c:pt idx="859">
                  <c:v>3771526.5589603987</c:v>
                </c:pt>
                <c:pt idx="860">
                  <c:v>3862135.6263651145</c:v>
                </c:pt>
                <c:pt idx="861">
                  <c:v>4386849.6703926707</c:v>
                </c:pt>
                <c:pt idx="862">
                  <c:v>3946422.2455985467</c:v>
                </c:pt>
                <c:pt idx="863">
                  <c:v>3708626.4795250506</c:v>
                </c:pt>
                <c:pt idx="864">
                  <c:v>4081897.6938968776</c:v>
                </c:pt>
                <c:pt idx="865">
                  <c:v>4047431.4092726614</c:v>
                </c:pt>
                <c:pt idx="866">
                  <c:v>3677004.1556558334</c:v>
                </c:pt>
                <c:pt idx="867">
                  <c:v>3717342.349032958</c:v>
                </c:pt>
                <c:pt idx="868">
                  <c:v>3765406.3909821822</c:v>
                </c:pt>
                <c:pt idx="869">
                  <c:v>3703465.2541257935</c:v>
                </c:pt>
                <c:pt idx="870">
                  <c:v>3669774.8548583668</c:v>
                </c:pt>
                <c:pt idx="871">
                  <c:v>3680264.8763283254</c:v>
                </c:pt>
                <c:pt idx="872">
                  <c:v>3697701.6626395509</c:v>
                </c:pt>
                <c:pt idx="873">
                  <c:v>3702178.9447810366</c:v>
                </c:pt>
                <c:pt idx="874">
                  <c:v>3696448.8646370233</c:v>
                </c:pt>
                <c:pt idx="875">
                  <c:v>3714340.5504712895</c:v>
                </c:pt>
                <c:pt idx="876">
                  <c:v>3713265.9954590783</c:v>
                </c:pt>
                <c:pt idx="877">
                  <c:v>3697650.6553229275</c:v>
                </c:pt>
                <c:pt idx="878">
                  <c:v>3688674.7602596264</c:v>
                </c:pt>
                <c:pt idx="879">
                  <c:v>3690424.2638454949</c:v>
                </c:pt>
                <c:pt idx="880">
                  <c:v>3691528.3959414186</c:v>
                </c:pt>
                <c:pt idx="881">
                  <c:v>3685615.8514136383</c:v>
                </c:pt>
                <c:pt idx="882">
                  <c:v>3715596.8753809095</c:v>
                </c:pt>
                <c:pt idx="883">
                  <c:v>3647543.6229033065</c:v>
                </c:pt>
                <c:pt idx="884">
                  <c:v>3688955.6060671369</c:v>
                </c:pt>
                <c:pt idx="885">
                  <c:v>3691464.8398134382</c:v>
                </c:pt>
                <c:pt idx="886">
                  <c:v>3714991.7279012557</c:v>
                </c:pt>
                <c:pt idx="887">
                  <c:v>3681185.3292143024</c:v>
                </c:pt>
                <c:pt idx="888">
                  <c:v>3711965.6109429328</c:v>
                </c:pt>
                <c:pt idx="889">
                  <c:v>3705710.4179355763</c:v>
                </c:pt>
                <c:pt idx="890">
                  <c:v>3710269.6265019584</c:v>
                </c:pt>
                <c:pt idx="891">
                  <c:v>3725818.6556040552</c:v>
                </c:pt>
                <c:pt idx="892">
                  <c:v>3718782.9952162993</c:v>
                </c:pt>
                <c:pt idx="893">
                  <c:v>3704974.4489610335</c:v>
                </c:pt>
                <c:pt idx="894">
                  <c:v>3703780.5622214796</c:v>
                </c:pt>
                <c:pt idx="895">
                  <c:v>3717776.9662749371</c:v>
                </c:pt>
                <c:pt idx="896">
                  <c:v>3707093.8172255154</c:v>
                </c:pt>
                <c:pt idx="897">
                  <c:v>3726517.5818861891</c:v>
                </c:pt>
                <c:pt idx="898">
                  <c:v>3728739.9924189388</c:v>
                </c:pt>
                <c:pt idx="899">
                  <c:v>3687236.286276957</c:v>
                </c:pt>
                <c:pt idx="900">
                  <c:v>3717037.7997783595</c:v>
                </c:pt>
                <c:pt idx="901">
                  <c:v>3738127.3850876745</c:v>
                </c:pt>
                <c:pt idx="902">
                  <c:v>3710536.7569742533</c:v>
                </c:pt>
                <c:pt idx="903">
                  <c:v>3701322.8639952261</c:v>
                </c:pt>
                <c:pt idx="904">
                  <c:v>3724893.1086500161</c:v>
                </c:pt>
                <c:pt idx="905">
                  <c:v>3752475.1190606654</c:v>
                </c:pt>
                <c:pt idx="906">
                  <c:v>3753738.8867805586</c:v>
                </c:pt>
                <c:pt idx="907">
                  <c:v>3755481.6718188007</c:v>
                </c:pt>
                <c:pt idx="908">
                  <c:v>3742181.604593704</c:v>
                </c:pt>
                <c:pt idx="909">
                  <c:v>3765546.2920497782</c:v>
                </c:pt>
                <c:pt idx="910">
                  <c:v>3720328.0058140764</c:v>
                </c:pt>
                <c:pt idx="911">
                  <c:v>3732911.64039431</c:v>
                </c:pt>
                <c:pt idx="912">
                  <c:v>3711460.7544507659</c:v>
                </c:pt>
                <c:pt idx="913">
                  <c:v>3675490.6166668343</c:v>
                </c:pt>
                <c:pt idx="914">
                  <c:v>3701000.965396638</c:v>
                </c:pt>
                <c:pt idx="915">
                  <c:v>3697351.5174043658</c:v>
                </c:pt>
                <c:pt idx="916">
                  <c:v>3714825.6075882073</c:v>
                </c:pt>
                <c:pt idx="917">
                  <c:v>3679615.2784529254</c:v>
                </c:pt>
                <c:pt idx="918">
                  <c:v>3740400.3331733742</c:v>
                </c:pt>
                <c:pt idx="919">
                  <c:v>3747438.0635605869</c:v>
                </c:pt>
                <c:pt idx="920">
                  <c:v>3744381.1646536356</c:v>
                </c:pt>
                <c:pt idx="921">
                  <c:v>3724360.963967727</c:v>
                </c:pt>
                <c:pt idx="922">
                  <c:v>3780161.3737595226</c:v>
                </c:pt>
                <c:pt idx="923">
                  <c:v>3846288.6451594648</c:v>
                </c:pt>
                <c:pt idx="924">
                  <c:v>3760293.4902569382</c:v>
                </c:pt>
                <c:pt idx="925">
                  <c:v>3778646.3072122619</c:v>
                </c:pt>
                <c:pt idx="926">
                  <c:v>3752026.2406191458</c:v>
                </c:pt>
                <c:pt idx="927">
                  <c:v>3702822.2964430694</c:v>
                </c:pt>
                <c:pt idx="928">
                  <c:v>3713978.8582867435</c:v>
                </c:pt>
                <c:pt idx="929">
                  <c:v>3750632.2551810089</c:v>
                </c:pt>
                <c:pt idx="930">
                  <c:v>3673242.8698172844</c:v>
                </c:pt>
                <c:pt idx="931">
                  <c:v>3737411.5087132957</c:v>
                </c:pt>
                <c:pt idx="932">
                  <c:v>3745583.289455561</c:v>
                </c:pt>
                <c:pt idx="933">
                  <c:v>3679798.1267425204</c:v>
                </c:pt>
                <c:pt idx="934">
                  <c:v>3716044.9857155317</c:v>
                </c:pt>
                <c:pt idx="935">
                  <c:v>3737312.379824827</c:v>
                </c:pt>
                <c:pt idx="936">
                  <c:v>3655534.3866953477</c:v>
                </c:pt>
                <c:pt idx="937">
                  <c:v>3569060.4662296865</c:v>
                </c:pt>
                <c:pt idx="938">
                  <c:v>3555166.5899819108</c:v>
                </c:pt>
                <c:pt idx="939">
                  <c:v>3650327.2267355421</c:v>
                </c:pt>
                <c:pt idx="940">
                  <c:v>3671973.1305261124</c:v>
                </c:pt>
                <c:pt idx="941">
                  <c:v>3669395.3369584423</c:v>
                </c:pt>
                <c:pt idx="942">
                  <c:v>3679910.9302317854</c:v>
                </c:pt>
                <c:pt idx="943">
                  <c:v>3698033.7188439448</c:v>
                </c:pt>
                <c:pt idx="944">
                  <c:v>3700866.062712084</c:v>
                </c:pt>
                <c:pt idx="945">
                  <c:v>3732255.7440634016</c:v>
                </c:pt>
                <c:pt idx="946">
                  <c:v>3667655.2847811719</c:v>
                </c:pt>
                <c:pt idx="947">
                  <c:v>3691317.7871990423</c:v>
                </c:pt>
                <c:pt idx="948">
                  <c:v>3740983.3380097998</c:v>
                </c:pt>
                <c:pt idx="949">
                  <c:v>3738640.5586858001</c:v>
                </c:pt>
                <c:pt idx="950">
                  <c:v>3723426.9430773668</c:v>
                </c:pt>
                <c:pt idx="951">
                  <c:v>3718148.5550578348</c:v>
                </c:pt>
                <c:pt idx="952">
                  <c:v>3710523.2421166645</c:v>
                </c:pt>
                <c:pt idx="953">
                  <c:v>3702975.0127695389</c:v>
                </c:pt>
                <c:pt idx="954">
                  <c:v>3733995.6976067233</c:v>
                </c:pt>
                <c:pt idx="955">
                  <c:v>3967624.7859702501</c:v>
                </c:pt>
                <c:pt idx="956">
                  <c:v>5852023.359255353</c:v>
                </c:pt>
                <c:pt idx="957">
                  <c:v>5372503.4523484455</c:v>
                </c:pt>
                <c:pt idx="958">
                  <c:v>4004404.4181912597</c:v>
                </c:pt>
                <c:pt idx="959">
                  <c:v>3731577.8489217153</c:v>
                </c:pt>
                <c:pt idx="960">
                  <c:v>3761818.5260174335</c:v>
                </c:pt>
                <c:pt idx="961">
                  <c:v>3714724.1912598382</c:v>
                </c:pt>
                <c:pt idx="962">
                  <c:v>3721226.1331877685</c:v>
                </c:pt>
                <c:pt idx="963">
                  <c:v>3766754.9151034569</c:v>
                </c:pt>
                <c:pt idx="964">
                  <c:v>3752265.8399867285</c:v>
                </c:pt>
                <c:pt idx="965">
                  <c:v>3718558.0631863843</c:v>
                </c:pt>
                <c:pt idx="966">
                  <c:v>3669072.6915674796</c:v>
                </c:pt>
                <c:pt idx="967">
                  <c:v>3666427.3660838003</c:v>
                </c:pt>
                <c:pt idx="968">
                  <c:v>3668662.2806165544</c:v>
                </c:pt>
                <c:pt idx="969">
                  <c:v>3685354.4448047248</c:v>
                </c:pt>
                <c:pt idx="970">
                  <c:v>3680920.4411483831</c:v>
                </c:pt>
                <c:pt idx="971">
                  <c:v>3693069.2128043212</c:v>
                </c:pt>
                <c:pt idx="972">
                  <c:v>3668409.8971689786</c:v>
                </c:pt>
                <c:pt idx="973">
                  <c:v>3678042.6528663863</c:v>
                </c:pt>
                <c:pt idx="974">
                  <c:v>3698617.7047994817</c:v>
                </c:pt>
                <c:pt idx="975">
                  <c:v>3683446.0417502197</c:v>
                </c:pt>
                <c:pt idx="976">
                  <c:v>3697592.5403996082</c:v>
                </c:pt>
                <c:pt idx="977">
                  <c:v>3694909.3307339209</c:v>
                </c:pt>
                <c:pt idx="978">
                  <c:v>3718421.4542843211</c:v>
                </c:pt>
                <c:pt idx="979">
                  <c:v>3701937.9341428108</c:v>
                </c:pt>
                <c:pt idx="980">
                  <c:v>3690977.0217726175</c:v>
                </c:pt>
                <c:pt idx="981">
                  <c:v>3725633.9766778424</c:v>
                </c:pt>
                <c:pt idx="982">
                  <c:v>3711986.9762624535</c:v>
                </c:pt>
                <c:pt idx="983">
                  <c:v>3736060.6965026422</c:v>
                </c:pt>
                <c:pt idx="984">
                  <c:v>3737644.6743942453</c:v>
                </c:pt>
                <c:pt idx="985">
                  <c:v>3752612.3701014114</c:v>
                </c:pt>
                <c:pt idx="986">
                  <c:v>3822247.2411932927</c:v>
                </c:pt>
                <c:pt idx="987">
                  <c:v>3757205.1936094286</c:v>
                </c:pt>
                <c:pt idx="988">
                  <c:v>3699310.9607694005</c:v>
                </c:pt>
                <c:pt idx="989">
                  <c:v>3695494.346160125</c:v>
                </c:pt>
                <c:pt idx="990">
                  <c:v>3711219.8733490561</c:v>
                </c:pt>
                <c:pt idx="991">
                  <c:v>3723803.715827181</c:v>
                </c:pt>
                <c:pt idx="992">
                  <c:v>3719194.9745184337</c:v>
                </c:pt>
                <c:pt idx="993">
                  <c:v>3735678.1919687646</c:v>
                </c:pt>
                <c:pt idx="994">
                  <c:v>3739608.0284596719</c:v>
                </c:pt>
                <c:pt idx="995">
                  <c:v>3737647.3657338219</c:v>
                </c:pt>
                <c:pt idx="996">
                  <c:v>3750851.4214229537</c:v>
                </c:pt>
                <c:pt idx="997">
                  <c:v>3827361.2901579412</c:v>
                </c:pt>
                <c:pt idx="998">
                  <c:v>3800691.2269027121</c:v>
                </c:pt>
                <c:pt idx="999">
                  <c:v>3809664.2193511436</c:v>
                </c:pt>
                <c:pt idx="1000">
                  <c:v>3815524.8748836936</c:v>
                </c:pt>
                <c:pt idx="1001">
                  <c:v>3769438.9141489333</c:v>
                </c:pt>
                <c:pt idx="1002">
                  <c:v>3710200.1280036792</c:v>
                </c:pt>
                <c:pt idx="1003">
                  <c:v>3692856.7536159162</c:v>
                </c:pt>
                <c:pt idx="1004">
                  <c:v>3699382.8505677609</c:v>
                </c:pt>
                <c:pt idx="1005">
                  <c:v>3649684.7434537755</c:v>
                </c:pt>
                <c:pt idx="1006">
                  <c:v>3712350.2728544418</c:v>
                </c:pt>
                <c:pt idx="1007">
                  <c:v>3717177.6382920556</c:v>
                </c:pt>
                <c:pt idx="1008">
                  <c:v>1786084.9932528562</c:v>
                </c:pt>
                <c:pt idx="1009">
                  <c:v>3679651.5993576013</c:v>
                </c:pt>
                <c:pt idx="1010">
                  <c:v>3710674.712608099</c:v>
                </c:pt>
                <c:pt idx="1011">
                  <c:v>3772473.9447880764</c:v>
                </c:pt>
                <c:pt idx="1012">
                  <c:v>3789239.711471634</c:v>
                </c:pt>
                <c:pt idx="1013">
                  <c:v>3727849.2665821351</c:v>
                </c:pt>
                <c:pt idx="1014">
                  <c:v>3707401.9188754</c:v>
                </c:pt>
                <c:pt idx="1015">
                  <c:v>3719138.8118545953</c:v>
                </c:pt>
                <c:pt idx="1016">
                  <c:v>3708362.1900875787</c:v>
                </c:pt>
                <c:pt idx="1017">
                  <c:v>3735255.2373708673</c:v>
                </c:pt>
                <c:pt idx="1018">
                  <c:v>3745530.26758654</c:v>
                </c:pt>
                <c:pt idx="1019">
                  <c:v>3733538.1001130259</c:v>
                </c:pt>
                <c:pt idx="1020">
                  <c:v>3728132.5158306658</c:v>
                </c:pt>
                <c:pt idx="1021">
                  <c:v>3758846.2138536493</c:v>
                </c:pt>
                <c:pt idx="1022">
                  <c:v>3776430.841662033</c:v>
                </c:pt>
                <c:pt idx="1023">
                  <c:v>3686849.9252369436</c:v>
                </c:pt>
                <c:pt idx="1024">
                  <c:v>3731042.8501618998</c:v>
                </c:pt>
                <c:pt idx="1025">
                  <c:v>3752564.3835513014</c:v>
                </c:pt>
                <c:pt idx="1026">
                  <c:v>3818438.1363107897</c:v>
                </c:pt>
                <c:pt idx="1027">
                  <c:v>3808725.8497620039</c:v>
                </c:pt>
                <c:pt idx="1028">
                  <c:v>3886282.0663461662</c:v>
                </c:pt>
                <c:pt idx="1029">
                  <c:v>3880722.468612215</c:v>
                </c:pt>
                <c:pt idx="1030">
                  <c:v>4419803.6610162752</c:v>
                </c:pt>
                <c:pt idx="1031">
                  <c:v>5808734.2623235574</c:v>
                </c:pt>
                <c:pt idx="1032">
                  <c:v>3834875.7877806146</c:v>
                </c:pt>
                <c:pt idx="1033">
                  <c:v>3732477.2205852107</c:v>
                </c:pt>
                <c:pt idx="1034">
                  <c:v>3758473.7991845263</c:v>
                </c:pt>
                <c:pt idx="1035">
                  <c:v>3755677.5451461785</c:v>
                </c:pt>
                <c:pt idx="1036">
                  <c:v>3788201.5157954283</c:v>
                </c:pt>
                <c:pt idx="1037">
                  <c:v>3768789.6629928742</c:v>
                </c:pt>
                <c:pt idx="1038">
                  <c:v>4128851.5940638646</c:v>
                </c:pt>
                <c:pt idx="1039">
                  <c:v>3800773.0006125905</c:v>
                </c:pt>
                <c:pt idx="1040">
                  <c:v>3867565.0657876683</c:v>
                </c:pt>
                <c:pt idx="1041">
                  <c:v>3848921.0402537081</c:v>
                </c:pt>
                <c:pt idx="1042">
                  <c:v>3810193.1248155977</c:v>
                </c:pt>
                <c:pt idx="1043">
                  <c:v>4007681.5326218801</c:v>
                </c:pt>
                <c:pt idx="1044">
                  <c:v>3783436.8189002331</c:v>
                </c:pt>
                <c:pt idx="1045">
                  <c:v>3735885.4629340116</c:v>
                </c:pt>
                <c:pt idx="1046">
                  <c:v>3737066.3713080199</c:v>
                </c:pt>
                <c:pt idx="1047">
                  <c:v>3708035.6219772347</c:v>
                </c:pt>
                <c:pt idx="1048">
                  <c:v>3731998.8239021078</c:v>
                </c:pt>
                <c:pt idx="1049">
                  <c:v>3739077.2712233188</c:v>
                </c:pt>
                <c:pt idx="1050">
                  <c:v>3739444.8490676261</c:v>
                </c:pt>
                <c:pt idx="1051">
                  <c:v>3682096.0602357904</c:v>
                </c:pt>
                <c:pt idx="1052">
                  <c:v>3683217.0925537343</c:v>
                </c:pt>
                <c:pt idx="1053">
                  <c:v>3738067.6601835899</c:v>
                </c:pt>
                <c:pt idx="1054">
                  <c:v>3845743.2080335505</c:v>
                </c:pt>
                <c:pt idx="1055">
                  <c:v>3774669.0290003577</c:v>
                </c:pt>
                <c:pt idx="1056">
                  <c:v>3700833.6325775087</c:v>
                </c:pt>
                <c:pt idx="1057">
                  <c:v>3709457.1552710687</c:v>
                </c:pt>
                <c:pt idx="1058">
                  <c:v>3773194.6952636847</c:v>
                </c:pt>
                <c:pt idx="1059">
                  <c:v>3784971.6221655929</c:v>
                </c:pt>
                <c:pt idx="1060">
                  <c:v>3732331.6142296535</c:v>
                </c:pt>
                <c:pt idx="1061">
                  <c:v>3725789.2169407858</c:v>
                </c:pt>
                <c:pt idx="1062">
                  <c:v>3748617.1741444771</c:v>
                </c:pt>
                <c:pt idx="1063">
                  <c:v>3782405.6433802992</c:v>
                </c:pt>
                <c:pt idx="1064">
                  <c:v>3779263.2204862572</c:v>
                </c:pt>
                <c:pt idx="1065">
                  <c:v>3781000.2822774076</c:v>
                </c:pt>
                <c:pt idx="1066">
                  <c:v>3724357.8731823079</c:v>
                </c:pt>
                <c:pt idx="1067">
                  <c:v>3740511.3685473553</c:v>
                </c:pt>
                <c:pt idx="1068">
                  <c:v>3791939.9942139224</c:v>
                </c:pt>
                <c:pt idx="1069">
                  <c:v>3841650.1043807454</c:v>
                </c:pt>
                <c:pt idx="1070">
                  <c:v>3788375.3857227699</c:v>
                </c:pt>
                <c:pt idx="1071">
                  <c:v>3831505.0569448373</c:v>
                </c:pt>
                <c:pt idx="1072">
                  <c:v>3814445.7288971264</c:v>
                </c:pt>
                <c:pt idx="1073">
                  <c:v>3823200.376983203</c:v>
                </c:pt>
                <c:pt idx="1074">
                  <c:v>3841689.0730797956</c:v>
                </c:pt>
                <c:pt idx="1075">
                  <c:v>3820564.5462851501</c:v>
                </c:pt>
                <c:pt idx="1076">
                  <c:v>3889715.2658209819</c:v>
                </c:pt>
                <c:pt idx="1077">
                  <c:v>3863404.7945773457</c:v>
                </c:pt>
                <c:pt idx="1078">
                  <c:v>3821848.3082789271</c:v>
                </c:pt>
                <c:pt idx="1079">
                  <c:v>3827196.1383693893</c:v>
                </c:pt>
                <c:pt idx="1080">
                  <c:v>3821620.0482905162</c:v>
                </c:pt>
                <c:pt idx="1081">
                  <c:v>3848118.3399583297</c:v>
                </c:pt>
                <c:pt idx="1082">
                  <c:v>3833427.7848649621</c:v>
                </c:pt>
                <c:pt idx="1083">
                  <c:v>3931864.9487436898</c:v>
                </c:pt>
                <c:pt idx="1084">
                  <c:v>4066187.4931324958</c:v>
                </c:pt>
                <c:pt idx="1085">
                  <c:v>3927018.0312427795</c:v>
                </c:pt>
                <c:pt idx="1086">
                  <c:v>3822890.3365384075</c:v>
                </c:pt>
                <c:pt idx="1087">
                  <c:v>3790971.6698307497</c:v>
                </c:pt>
                <c:pt idx="1088">
                  <c:v>3778226.4471161286</c:v>
                </c:pt>
                <c:pt idx="1089">
                  <c:v>3780427.7193612023</c:v>
                </c:pt>
                <c:pt idx="1090">
                  <c:v>3781359.4531449396</c:v>
                </c:pt>
                <c:pt idx="1091">
                  <c:v>3780950.6666120826</c:v>
                </c:pt>
                <c:pt idx="1092">
                  <c:v>3790282.1047469075</c:v>
                </c:pt>
                <c:pt idx="1093">
                  <c:v>3771369.726743394</c:v>
                </c:pt>
                <c:pt idx="1094">
                  <c:v>3763590.7898465935</c:v>
                </c:pt>
                <c:pt idx="1095">
                  <c:v>3758115.9622769239</c:v>
                </c:pt>
              </c:numCache>
            </c:numRef>
          </c:xVal>
          <c:yVal>
            <c:numRef>
              <c:f>'[Final Graph 2.xlsx]Parameters ranges for ANN step1'!$AV$3:$AV$1131</c:f>
              <c:numCache>
                <c:formatCode>0.0000</c:formatCode>
                <c:ptCount val="1129"/>
                <c:pt idx="0">
                  <c:v>281.73102424158401</c:v>
                </c:pt>
                <c:pt idx="1">
                  <c:v>280.54230235056002</c:v>
                </c:pt>
                <c:pt idx="2">
                  <c:v>271.80282553606332</c:v>
                </c:pt>
                <c:pt idx="3">
                  <c:v>271.97165623925764</c:v>
                </c:pt>
                <c:pt idx="4">
                  <c:v>278.31748766708085</c:v>
                </c:pt>
                <c:pt idx="5">
                  <c:v>281.05401655230048</c:v>
                </c:pt>
                <c:pt idx="6">
                  <c:v>286.32188989480414</c:v>
                </c:pt>
                <c:pt idx="7">
                  <c:v>275.05510194271108</c:v>
                </c:pt>
                <c:pt idx="8">
                  <c:v>277.84054787215018</c:v>
                </c:pt>
                <c:pt idx="9">
                  <c:v>279.95565441548115</c:v>
                </c:pt>
                <c:pt idx="10">
                  <c:v>273.75306164166511</c:v>
                </c:pt>
                <c:pt idx="11">
                  <c:v>274.8880975912989</c:v>
                </c:pt>
                <c:pt idx="12">
                  <c:v>278.61392552557538</c:v>
                </c:pt>
                <c:pt idx="13">
                  <c:v>293.36180221659777</c:v>
                </c:pt>
                <c:pt idx="14">
                  <c:v>281.97889520648744</c:v>
                </c:pt>
                <c:pt idx="15">
                  <c:v>274.91528488747304</c:v>
                </c:pt>
                <c:pt idx="16">
                  <c:v>271.83207947105723</c:v>
                </c:pt>
                <c:pt idx="17">
                  <c:v>274.82510348656012</c:v>
                </c:pt>
                <c:pt idx="18">
                  <c:v>284.96399554825643</c:v>
                </c:pt>
                <c:pt idx="19">
                  <c:v>273.25444858913534</c:v>
                </c:pt>
                <c:pt idx="20">
                  <c:v>277.29966597133853</c:v>
                </c:pt>
                <c:pt idx="21">
                  <c:v>273.14768861711593</c:v>
                </c:pt>
                <c:pt idx="22">
                  <c:v>278.3499056871625</c:v>
                </c:pt>
                <c:pt idx="23">
                  <c:v>281.22537557652925</c:v>
                </c:pt>
                <c:pt idx="24">
                  <c:v>278.2303478693492</c:v>
                </c:pt>
                <c:pt idx="25">
                  <c:v>275.32689315975847</c:v>
                </c:pt>
                <c:pt idx="26">
                  <c:v>288.95282793490605</c:v>
                </c:pt>
                <c:pt idx="27">
                  <c:v>280.57906144003334</c:v>
                </c:pt>
                <c:pt idx="28">
                  <c:v>279.36027086428237</c:v>
                </c:pt>
                <c:pt idx="29">
                  <c:v>281.17479393959593</c:v>
                </c:pt>
                <c:pt idx="30">
                  <c:v>284.62139288037611</c:v>
                </c:pt>
                <c:pt idx="31">
                  <c:v>273.64610481865509</c:v>
                </c:pt>
                <c:pt idx="32">
                  <c:v>282.22840530473729</c:v>
                </c:pt>
                <c:pt idx="33">
                  <c:v>280.17666488887471</c:v>
                </c:pt>
                <c:pt idx="34">
                  <c:v>284.41129479856215</c:v>
                </c:pt>
                <c:pt idx="35">
                  <c:v>273.24130026615114</c:v>
                </c:pt>
                <c:pt idx="36">
                  <c:v>271.61030593980684</c:v>
                </c:pt>
                <c:pt idx="37">
                  <c:v>285.16408198647412</c:v>
                </c:pt>
                <c:pt idx="38">
                  <c:v>276.14102297745546</c:v>
                </c:pt>
                <c:pt idx="39">
                  <c:v>282.34877274508347</c:v>
                </c:pt>
                <c:pt idx="40">
                  <c:v>279.23553304455868</c:v>
                </c:pt>
                <c:pt idx="41">
                  <c:v>277.82853886991848</c:v>
                </c:pt>
                <c:pt idx="42">
                  <c:v>279.48514545053069</c:v>
                </c:pt>
                <c:pt idx="43">
                  <c:v>292.9320122053482</c:v>
                </c:pt>
                <c:pt idx="44">
                  <c:v>274.62201769886985</c:v>
                </c:pt>
                <c:pt idx="45">
                  <c:v>334.51197849652249</c:v>
                </c:pt>
                <c:pt idx="46">
                  <c:v>235.5877423128984</c:v>
                </c:pt>
                <c:pt idx="47">
                  <c:v>281.00402560667521</c:v>
                </c:pt>
                <c:pt idx="48">
                  <c:v>282.25213628194854</c:v>
                </c:pt>
                <c:pt idx="49">
                  <c:v>278.03699057654592</c:v>
                </c:pt>
                <c:pt idx="50">
                  <c:v>275.12614023304843</c:v>
                </c:pt>
                <c:pt idx="51">
                  <c:v>279.21051362325193</c:v>
                </c:pt>
                <c:pt idx="52">
                  <c:v>275.45282559372379</c:v>
                </c:pt>
                <c:pt idx="53">
                  <c:v>276.21089791037241</c:v>
                </c:pt>
                <c:pt idx="54">
                  <c:v>275.26206438568192</c:v>
                </c:pt>
                <c:pt idx="55">
                  <c:v>273.58122866380268</c:v>
                </c:pt>
                <c:pt idx="56">
                  <c:v>273.14089689646949</c:v>
                </c:pt>
                <c:pt idx="57">
                  <c:v>287.79528632396352</c:v>
                </c:pt>
                <c:pt idx="58">
                  <c:v>284.85931051242255</c:v>
                </c:pt>
                <c:pt idx="59">
                  <c:v>279.27667716419739</c:v>
                </c:pt>
                <c:pt idx="60">
                  <c:v>263.29082445487154</c:v>
                </c:pt>
                <c:pt idx="61">
                  <c:v>276.87525792674114</c:v>
                </c:pt>
                <c:pt idx="62">
                  <c:v>278.06704463690096</c:v>
                </c:pt>
                <c:pt idx="63">
                  <c:v>277.28150595089824</c:v>
                </c:pt>
                <c:pt idx="64">
                  <c:v>270.65275313644554</c:v>
                </c:pt>
                <c:pt idx="65">
                  <c:v>277.29047001508127</c:v>
                </c:pt>
                <c:pt idx="66">
                  <c:v>276.98796784350475</c:v>
                </c:pt>
                <c:pt idx="67">
                  <c:v>280.77989136421138</c:v>
                </c:pt>
                <c:pt idx="68">
                  <c:v>276.99300425266358</c:v>
                </c:pt>
                <c:pt idx="69">
                  <c:v>247.7833412359671</c:v>
                </c:pt>
                <c:pt idx="70">
                  <c:v>282.58536459609149</c:v>
                </c:pt>
                <c:pt idx="71">
                  <c:v>284.80508176429794</c:v>
                </c:pt>
                <c:pt idx="72">
                  <c:v>281.95781863024695</c:v>
                </c:pt>
                <c:pt idx="73">
                  <c:v>272.49716307186725</c:v>
                </c:pt>
                <c:pt idx="74">
                  <c:v>275.56195653349766</c:v>
                </c:pt>
                <c:pt idx="75">
                  <c:v>270.77879238789421</c:v>
                </c:pt>
                <c:pt idx="76">
                  <c:v>276.60483480750236</c:v>
                </c:pt>
                <c:pt idx="77">
                  <c:v>270.0438489821737</c:v>
                </c:pt>
                <c:pt idx="78">
                  <c:v>273.35009137348231</c:v>
                </c:pt>
                <c:pt idx="79">
                  <c:v>274.81469754927798</c:v>
                </c:pt>
                <c:pt idx="80">
                  <c:v>275.96241815792428</c:v>
                </c:pt>
                <c:pt idx="81">
                  <c:v>278.94910973502317</c:v>
                </c:pt>
                <c:pt idx="82">
                  <c:v>273.56473045852385</c:v>
                </c:pt>
                <c:pt idx="83">
                  <c:v>275.61858590919064</c:v>
                </c:pt>
                <c:pt idx="84">
                  <c:v>278.00188244783078</c:v>
                </c:pt>
                <c:pt idx="85">
                  <c:v>280.50174809364034</c:v>
                </c:pt>
                <c:pt idx="86">
                  <c:v>279.49116499295997</c:v>
                </c:pt>
                <c:pt idx="87">
                  <c:v>273.74554395831115</c:v>
                </c:pt>
                <c:pt idx="88">
                  <c:v>273.67818243399984</c:v>
                </c:pt>
                <c:pt idx="89">
                  <c:v>278.31139377558407</c:v>
                </c:pt>
                <c:pt idx="90">
                  <c:v>276.46456393819938</c:v>
                </c:pt>
                <c:pt idx="91">
                  <c:v>278.16175493388846</c:v>
                </c:pt>
                <c:pt idx="92">
                  <c:v>279.07764225026699</c:v>
                </c:pt>
                <c:pt idx="93">
                  <c:v>273.35245532202157</c:v>
                </c:pt>
                <c:pt idx="94">
                  <c:v>282.8510336176264</c:v>
                </c:pt>
                <c:pt idx="95">
                  <c:v>281.47404661194014</c:v>
                </c:pt>
                <c:pt idx="96">
                  <c:v>278.2245792703502</c:v>
                </c:pt>
                <c:pt idx="97">
                  <c:v>279.01459907581636</c:v>
                </c:pt>
                <c:pt idx="98">
                  <c:v>274.05462565832056</c:v>
                </c:pt>
                <c:pt idx="99">
                  <c:v>277.65912054529667</c:v>
                </c:pt>
                <c:pt idx="100">
                  <c:v>275.27296800045099</c:v>
                </c:pt>
                <c:pt idx="101">
                  <c:v>280.52749416141728</c:v>
                </c:pt>
                <c:pt idx="102">
                  <c:v>279.85270022084228</c:v>
                </c:pt>
                <c:pt idx="103">
                  <c:v>280.38807080663571</c:v>
                </c:pt>
                <c:pt idx="104">
                  <c:v>287.63717809794798</c:v>
                </c:pt>
                <c:pt idx="105">
                  <c:v>293.13003411451325</c:v>
                </c:pt>
                <c:pt idx="106">
                  <c:v>287.80243527473237</c:v>
                </c:pt>
                <c:pt idx="107">
                  <c:v>284.02324238820859</c:v>
                </c:pt>
                <c:pt idx="108">
                  <c:v>283.63416158872997</c:v>
                </c:pt>
                <c:pt idx="109">
                  <c:v>283.80364897158506</c:v>
                </c:pt>
                <c:pt idx="110">
                  <c:v>281.66376537957399</c:v>
                </c:pt>
                <c:pt idx="111">
                  <c:v>280.41588293139171</c:v>
                </c:pt>
                <c:pt idx="112">
                  <c:v>281.83778747099029</c:v>
                </c:pt>
                <c:pt idx="113">
                  <c:v>281.03289153620096</c:v>
                </c:pt>
                <c:pt idx="114">
                  <c:v>284.35417059837914</c:v>
                </c:pt>
                <c:pt idx="115">
                  <c:v>281.3536700778717</c:v>
                </c:pt>
                <c:pt idx="116">
                  <c:v>277.61045667443739</c:v>
                </c:pt>
                <c:pt idx="117">
                  <c:v>280.25955869413224</c:v>
                </c:pt>
                <c:pt idx="118">
                  <c:v>271.29078783200612</c:v>
                </c:pt>
                <c:pt idx="119">
                  <c:v>284.80811296939896</c:v>
                </c:pt>
                <c:pt idx="120">
                  <c:v>275.99764842001639</c:v>
                </c:pt>
                <c:pt idx="121">
                  <c:v>287.26726215411486</c:v>
                </c:pt>
                <c:pt idx="122">
                  <c:v>287.41530565429082</c:v>
                </c:pt>
                <c:pt idx="123">
                  <c:v>286.09966328775772</c:v>
                </c:pt>
                <c:pt idx="124">
                  <c:v>282.39440745373076</c:v>
                </c:pt>
                <c:pt idx="125">
                  <c:v>286.92084283823931</c:v>
                </c:pt>
                <c:pt idx="126">
                  <c:v>284.44894269012264</c:v>
                </c:pt>
                <c:pt idx="127">
                  <c:v>281.74166899381373</c:v>
                </c:pt>
                <c:pt idx="128">
                  <c:v>281.0443953819605</c:v>
                </c:pt>
                <c:pt idx="129">
                  <c:v>282.71511037736832</c:v>
                </c:pt>
                <c:pt idx="130">
                  <c:v>283.80091700565436</c:v>
                </c:pt>
                <c:pt idx="131">
                  <c:v>287.4474359391819</c:v>
                </c:pt>
                <c:pt idx="132">
                  <c:v>287.86692017371877</c:v>
                </c:pt>
                <c:pt idx="133">
                  <c:v>278.53646321130589</c:v>
                </c:pt>
                <c:pt idx="134">
                  <c:v>284.21338409541465</c:v>
                </c:pt>
                <c:pt idx="135">
                  <c:v>288.11190985635085</c:v>
                </c:pt>
                <c:pt idx="136">
                  <c:v>275.8618681882142</c:v>
                </c:pt>
                <c:pt idx="137">
                  <c:v>279.17287422468701</c:v>
                </c:pt>
                <c:pt idx="138">
                  <c:v>279.56876477681794</c:v>
                </c:pt>
                <c:pt idx="139">
                  <c:v>275.34246121802278</c:v>
                </c:pt>
                <c:pt idx="140">
                  <c:v>283.25022799181306</c:v>
                </c:pt>
                <c:pt idx="141">
                  <c:v>290.91199354854587</c:v>
                </c:pt>
                <c:pt idx="142">
                  <c:v>292.26217250565651</c:v>
                </c:pt>
                <c:pt idx="143">
                  <c:v>295.23661269844786</c:v>
                </c:pt>
                <c:pt idx="144">
                  <c:v>425.58117531805783</c:v>
                </c:pt>
                <c:pt idx="145">
                  <c:v>1971.7383412306644</c:v>
                </c:pt>
                <c:pt idx="146">
                  <c:v>0</c:v>
                </c:pt>
                <c:pt idx="147">
                  <c:v>0</c:v>
                </c:pt>
                <c:pt idx="148">
                  <c:v>0</c:v>
                </c:pt>
                <c:pt idx="149">
                  <c:v>320.63874961778856</c:v>
                </c:pt>
                <c:pt idx="150">
                  <c:v>277.51011605019562</c:v>
                </c:pt>
                <c:pt idx="151">
                  <c:v>280.68506845325476</c:v>
                </c:pt>
                <c:pt idx="152">
                  <c:v>277.01542761090661</c:v>
                </c:pt>
                <c:pt idx="153">
                  <c:v>274.32427744831034</c:v>
                </c:pt>
                <c:pt idx="154">
                  <c:v>274.32562272082896</c:v>
                </c:pt>
                <c:pt idx="155">
                  <c:v>278.23401610154804</c:v>
                </c:pt>
                <c:pt idx="156">
                  <c:v>278.72407715771044</c:v>
                </c:pt>
                <c:pt idx="157">
                  <c:v>277.07167964276096</c:v>
                </c:pt>
                <c:pt idx="158">
                  <c:v>283.15114080526416</c:v>
                </c:pt>
                <c:pt idx="159">
                  <c:v>281.2465940738158</c:v>
                </c:pt>
                <c:pt idx="160">
                  <c:v>284.28403591014307</c:v>
                </c:pt>
                <c:pt idx="161">
                  <c:v>287.416694613461</c:v>
                </c:pt>
                <c:pt idx="162">
                  <c:v>286.92973291542228</c:v>
                </c:pt>
                <c:pt idx="163">
                  <c:v>276.75950241773546</c:v>
                </c:pt>
                <c:pt idx="164">
                  <c:v>273.70570868440473</c:v>
                </c:pt>
                <c:pt idx="165">
                  <c:v>274.74291440493676</c:v>
                </c:pt>
                <c:pt idx="166">
                  <c:v>281.6206259138412</c:v>
                </c:pt>
                <c:pt idx="167">
                  <c:v>280.96043993450769</c:v>
                </c:pt>
                <c:pt idx="168">
                  <c:v>282.16429602750395</c:v>
                </c:pt>
                <c:pt idx="169">
                  <c:v>277.40329019532328</c:v>
                </c:pt>
                <c:pt idx="170">
                  <c:v>284.54927753176207</c:v>
                </c:pt>
                <c:pt idx="171">
                  <c:v>292.87711611225609</c:v>
                </c:pt>
                <c:pt idx="172">
                  <c:v>284.67561857988414</c:v>
                </c:pt>
                <c:pt idx="173">
                  <c:v>287.90630371309055</c:v>
                </c:pt>
                <c:pt idx="174">
                  <c:v>289.73559639944483</c:v>
                </c:pt>
                <c:pt idx="175">
                  <c:v>286.26928404865532</c:v>
                </c:pt>
                <c:pt idx="176">
                  <c:v>293.93598426724054</c:v>
                </c:pt>
                <c:pt idx="177">
                  <c:v>288.57010989218816</c:v>
                </c:pt>
                <c:pt idx="178">
                  <c:v>281.25442327543351</c:v>
                </c:pt>
                <c:pt idx="179">
                  <c:v>288.85248175579136</c:v>
                </c:pt>
                <c:pt idx="180">
                  <c:v>287.53568614680148</c:v>
                </c:pt>
                <c:pt idx="181">
                  <c:v>279.69833640718832</c:v>
                </c:pt>
                <c:pt idx="182">
                  <c:v>287.14881618540301</c:v>
                </c:pt>
                <c:pt idx="183">
                  <c:v>283.60377313841911</c:v>
                </c:pt>
                <c:pt idx="184">
                  <c:v>286.54269971618908</c:v>
                </c:pt>
                <c:pt idx="185">
                  <c:v>285.1147583927094</c:v>
                </c:pt>
                <c:pt idx="186">
                  <c:v>285.03579391044434</c:v>
                </c:pt>
                <c:pt idx="187">
                  <c:v>284.39453088939501</c:v>
                </c:pt>
                <c:pt idx="188">
                  <c:v>286.03704460491815</c:v>
                </c:pt>
                <c:pt idx="189">
                  <c:v>284.20653683115256</c:v>
                </c:pt>
                <c:pt idx="190">
                  <c:v>284.59382854580815</c:v>
                </c:pt>
                <c:pt idx="191">
                  <c:v>286.75674677900236</c:v>
                </c:pt>
                <c:pt idx="192">
                  <c:v>285.71310521690395</c:v>
                </c:pt>
                <c:pt idx="193">
                  <c:v>285.43771657811442</c:v>
                </c:pt>
                <c:pt idx="194">
                  <c:v>286.94778629819291</c:v>
                </c:pt>
                <c:pt idx="195">
                  <c:v>285.47383721913025</c:v>
                </c:pt>
                <c:pt idx="196">
                  <c:v>286.84626558399248</c:v>
                </c:pt>
                <c:pt idx="197">
                  <c:v>284.07340734052309</c:v>
                </c:pt>
                <c:pt idx="198">
                  <c:v>282.87543326321781</c:v>
                </c:pt>
                <c:pt idx="199">
                  <c:v>283.01984897502041</c:v>
                </c:pt>
                <c:pt idx="200">
                  <c:v>287.15256221823211</c:v>
                </c:pt>
                <c:pt idx="201">
                  <c:v>283.27126393716139</c:v>
                </c:pt>
                <c:pt idx="202">
                  <c:v>285.19159311762212</c:v>
                </c:pt>
                <c:pt idx="203">
                  <c:v>285.42718845636341</c:v>
                </c:pt>
                <c:pt idx="204">
                  <c:v>282.63256935860261</c:v>
                </c:pt>
                <c:pt idx="205">
                  <c:v>282.47753154274983</c:v>
                </c:pt>
                <c:pt idx="206">
                  <c:v>290.71386728182938</c:v>
                </c:pt>
                <c:pt idx="207">
                  <c:v>282.99462920982444</c:v>
                </c:pt>
                <c:pt idx="208">
                  <c:v>278.67305791662966</c:v>
                </c:pt>
                <c:pt idx="209">
                  <c:v>286.63312612634115</c:v>
                </c:pt>
                <c:pt idx="210">
                  <c:v>277.30791631479815</c:v>
                </c:pt>
                <c:pt idx="211">
                  <c:v>281.24375880403568</c:v>
                </c:pt>
                <c:pt idx="212">
                  <c:v>279.20515925285667</c:v>
                </c:pt>
                <c:pt idx="213">
                  <c:v>285.32918731701261</c:v>
                </c:pt>
                <c:pt idx="214">
                  <c:v>296.15340284645663</c:v>
                </c:pt>
                <c:pt idx="215">
                  <c:v>285.08713038874282</c:v>
                </c:pt>
                <c:pt idx="216">
                  <c:v>279.51000185510873</c:v>
                </c:pt>
                <c:pt idx="217">
                  <c:v>284.11402845608063</c:v>
                </c:pt>
                <c:pt idx="218">
                  <c:v>278.71838047712185</c:v>
                </c:pt>
                <c:pt idx="219">
                  <c:v>278.33309667283163</c:v>
                </c:pt>
                <c:pt idx="220">
                  <c:v>274.23171463611129</c:v>
                </c:pt>
                <c:pt idx="221">
                  <c:v>280.17270264352362</c:v>
                </c:pt>
                <c:pt idx="222">
                  <c:v>277.61444421728277</c:v>
                </c:pt>
                <c:pt idx="223">
                  <c:v>280.62448328323273</c:v>
                </c:pt>
                <c:pt idx="224">
                  <c:v>274.10124768124138</c:v>
                </c:pt>
                <c:pt idx="225">
                  <c:v>257.99780101349563</c:v>
                </c:pt>
                <c:pt idx="226">
                  <c:v>272.91477670939787</c:v>
                </c:pt>
                <c:pt idx="227">
                  <c:v>271.32045734863675</c:v>
                </c:pt>
                <c:pt idx="228">
                  <c:v>277.31025093215737</c:v>
                </c:pt>
                <c:pt idx="229">
                  <c:v>272.05048253370228</c:v>
                </c:pt>
                <c:pt idx="230">
                  <c:v>280.46053619063264</c:v>
                </c:pt>
                <c:pt idx="231">
                  <c:v>277.6402578259756</c:v>
                </c:pt>
                <c:pt idx="232">
                  <c:v>278.71243397575938</c:v>
                </c:pt>
                <c:pt idx="233">
                  <c:v>280.22903569194034</c:v>
                </c:pt>
                <c:pt idx="234">
                  <c:v>279.73096443371276</c:v>
                </c:pt>
                <c:pt idx="235">
                  <c:v>286.09450762412791</c:v>
                </c:pt>
                <c:pt idx="236">
                  <c:v>283.49987431296711</c:v>
                </c:pt>
                <c:pt idx="237">
                  <c:v>281.53354863771096</c:v>
                </c:pt>
                <c:pt idx="238">
                  <c:v>279.63461047980923</c:v>
                </c:pt>
                <c:pt idx="239">
                  <c:v>282.40042299664719</c:v>
                </c:pt>
                <c:pt idx="240">
                  <c:v>298.40320491652926</c:v>
                </c:pt>
                <c:pt idx="241">
                  <c:v>299.72807940029668</c:v>
                </c:pt>
                <c:pt idx="242">
                  <c:v>299.27271533102157</c:v>
                </c:pt>
                <c:pt idx="243">
                  <c:v>287.48172674954776</c:v>
                </c:pt>
                <c:pt idx="244">
                  <c:v>289.1249355605072</c:v>
                </c:pt>
                <c:pt idx="245">
                  <c:v>276.88025628308321</c:v>
                </c:pt>
                <c:pt idx="246">
                  <c:v>300.54842337576213</c:v>
                </c:pt>
                <c:pt idx="247">
                  <c:v>306.20921416657416</c:v>
                </c:pt>
                <c:pt idx="248">
                  <c:v>283.8738930349341</c:v>
                </c:pt>
                <c:pt idx="249">
                  <c:v>277.40720564963158</c:v>
                </c:pt>
                <c:pt idx="250">
                  <c:v>299.64341768594443</c:v>
                </c:pt>
                <c:pt idx="251">
                  <c:v>309.96382055032245</c:v>
                </c:pt>
                <c:pt idx="252">
                  <c:v>291.16669580683856</c:v>
                </c:pt>
                <c:pt idx="253">
                  <c:v>298.29276532772622</c:v>
                </c:pt>
                <c:pt idx="254">
                  <c:v>291.1904070553968</c:v>
                </c:pt>
                <c:pt idx="255">
                  <c:v>301.17956921096106</c:v>
                </c:pt>
                <c:pt idx="256">
                  <c:v>280.20111540354412</c:v>
                </c:pt>
                <c:pt idx="257">
                  <c:v>282.33665268113862</c:v>
                </c:pt>
                <c:pt idx="258">
                  <c:v>288.44386235234379</c:v>
                </c:pt>
                <c:pt idx="259">
                  <c:v>314.3667891298627</c:v>
                </c:pt>
                <c:pt idx="260">
                  <c:v>239.10012285199537</c:v>
                </c:pt>
                <c:pt idx="261">
                  <c:v>279.96809956854429</c:v>
                </c:pt>
                <c:pt idx="262">
                  <c:v>286.35917555065555</c:v>
                </c:pt>
                <c:pt idx="263">
                  <c:v>278.3768800541302</c:v>
                </c:pt>
                <c:pt idx="264">
                  <c:v>284.15957174884863</c:v>
                </c:pt>
                <c:pt idx="265">
                  <c:v>284.14959920150659</c:v>
                </c:pt>
                <c:pt idx="266">
                  <c:v>291.76442475111457</c:v>
                </c:pt>
                <c:pt idx="267">
                  <c:v>257.32233903263534</c:v>
                </c:pt>
                <c:pt idx="268">
                  <c:v>278.93944500939483</c:v>
                </c:pt>
                <c:pt idx="269">
                  <c:v>286.80059241226047</c:v>
                </c:pt>
                <c:pt idx="270">
                  <c:v>288.71421527608015</c:v>
                </c:pt>
                <c:pt idx="271">
                  <c:v>283.65776444976154</c:v>
                </c:pt>
                <c:pt idx="272">
                  <c:v>277.42774653246727</c:v>
                </c:pt>
                <c:pt idx="273">
                  <c:v>279.94893411135411</c:v>
                </c:pt>
                <c:pt idx="274">
                  <c:v>285.57475587628551</c:v>
                </c:pt>
                <c:pt idx="275">
                  <c:v>289.04181091723945</c:v>
                </c:pt>
                <c:pt idx="276">
                  <c:v>285.92328826982578</c:v>
                </c:pt>
                <c:pt idx="277">
                  <c:v>288.39161844232592</c:v>
                </c:pt>
                <c:pt idx="278">
                  <c:v>299.87078989632289</c:v>
                </c:pt>
                <c:pt idx="279">
                  <c:v>284.89351057538386</c:v>
                </c:pt>
                <c:pt idx="280">
                  <c:v>275.58552388850148</c:v>
                </c:pt>
                <c:pt idx="281">
                  <c:v>280.94331223099073</c:v>
                </c:pt>
                <c:pt idx="282">
                  <c:v>277.98735091860863</c:v>
                </c:pt>
                <c:pt idx="283">
                  <c:v>277.3244340402133</c:v>
                </c:pt>
                <c:pt idx="284">
                  <c:v>276.71560608160678</c:v>
                </c:pt>
                <c:pt idx="285">
                  <c:v>279.64226413281028</c:v>
                </c:pt>
                <c:pt idx="286">
                  <c:v>278.64224833429296</c:v>
                </c:pt>
                <c:pt idx="287">
                  <c:v>281.85346735218957</c:v>
                </c:pt>
                <c:pt idx="288">
                  <c:v>285.73003022062312</c:v>
                </c:pt>
                <c:pt idx="289">
                  <c:v>285.30556529133298</c:v>
                </c:pt>
                <c:pt idx="290">
                  <c:v>285.32676213115008</c:v>
                </c:pt>
                <c:pt idx="291">
                  <c:v>301.81075980561445</c:v>
                </c:pt>
                <c:pt idx="292">
                  <c:v>287.46511480345225</c:v>
                </c:pt>
                <c:pt idx="293">
                  <c:v>290.20460051079749</c:v>
                </c:pt>
                <c:pt idx="294">
                  <c:v>287.32640652743873</c:v>
                </c:pt>
                <c:pt idx="295">
                  <c:v>290.0350603790065</c:v>
                </c:pt>
                <c:pt idx="296">
                  <c:v>283.37537648956754</c:v>
                </c:pt>
                <c:pt idx="297">
                  <c:v>279.97315011863827</c:v>
                </c:pt>
                <c:pt idx="298">
                  <c:v>283.27159813736807</c:v>
                </c:pt>
                <c:pt idx="299">
                  <c:v>282.06091800673869</c:v>
                </c:pt>
                <c:pt idx="300">
                  <c:v>286.88399432149686</c:v>
                </c:pt>
                <c:pt idx="301">
                  <c:v>284.52775506061334</c:v>
                </c:pt>
                <c:pt idx="302">
                  <c:v>284.81197398755819</c:v>
                </c:pt>
                <c:pt idx="303">
                  <c:v>280.42431120064896</c:v>
                </c:pt>
                <c:pt idx="304">
                  <c:v>283.0358097498106</c:v>
                </c:pt>
                <c:pt idx="305">
                  <c:v>274.91439550475172</c:v>
                </c:pt>
                <c:pt idx="306">
                  <c:v>282.38949805698985</c:v>
                </c:pt>
                <c:pt idx="307">
                  <c:v>281.29804236453879</c:v>
                </c:pt>
                <c:pt idx="308">
                  <c:v>274.95821324215126</c:v>
                </c:pt>
                <c:pt idx="309">
                  <c:v>284.94001409146551</c:v>
                </c:pt>
                <c:pt idx="310">
                  <c:v>281.78472064690152</c:v>
                </c:pt>
                <c:pt idx="311">
                  <c:v>280.28624448485232</c:v>
                </c:pt>
                <c:pt idx="312">
                  <c:v>286.84360501695414</c:v>
                </c:pt>
                <c:pt idx="313">
                  <c:v>280.80249736371979</c:v>
                </c:pt>
                <c:pt idx="314">
                  <c:v>283.5116756740008</c:v>
                </c:pt>
                <c:pt idx="315">
                  <c:v>282.97086426949761</c:v>
                </c:pt>
                <c:pt idx="316">
                  <c:v>288.59047386556483</c:v>
                </c:pt>
                <c:pt idx="317">
                  <c:v>284.0849572436814</c:v>
                </c:pt>
                <c:pt idx="318">
                  <c:v>280.14527791037483</c:v>
                </c:pt>
                <c:pt idx="319">
                  <c:v>279.91458628262455</c:v>
                </c:pt>
                <c:pt idx="320">
                  <c:v>285.12897966783066</c:v>
                </c:pt>
                <c:pt idx="321">
                  <c:v>284.30139701689041</c:v>
                </c:pt>
                <c:pt idx="322">
                  <c:v>280.31307450119914</c:v>
                </c:pt>
                <c:pt idx="323">
                  <c:v>284.40357533099109</c:v>
                </c:pt>
                <c:pt idx="324">
                  <c:v>281.14782135494318</c:v>
                </c:pt>
                <c:pt idx="325">
                  <c:v>278.12567567299493</c:v>
                </c:pt>
                <c:pt idx="326">
                  <c:v>275.98971557999027</c:v>
                </c:pt>
                <c:pt idx="327">
                  <c:v>276.7197836099607</c:v>
                </c:pt>
                <c:pt idx="328">
                  <c:v>276.1252085500206</c:v>
                </c:pt>
                <c:pt idx="329">
                  <c:v>280.74805947638242</c:v>
                </c:pt>
                <c:pt idx="330">
                  <c:v>277.96482867533859</c:v>
                </c:pt>
                <c:pt idx="331">
                  <c:v>283.32021751491391</c:v>
                </c:pt>
                <c:pt idx="332">
                  <c:v>280.24516477490181</c:v>
                </c:pt>
                <c:pt idx="333">
                  <c:v>279.51095796047116</c:v>
                </c:pt>
                <c:pt idx="334">
                  <c:v>290.31091834436995</c:v>
                </c:pt>
                <c:pt idx="335">
                  <c:v>265.29353888134006</c:v>
                </c:pt>
                <c:pt idx="336">
                  <c:v>285.03361783071944</c:v>
                </c:pt>
                <c:pt idx="337">
                  <c:v>280.51987515885162</c:v>
                </c:pt>
                <c:pt idx="338">
                  <c:v>279.6732559346741</c:v>
                </c:pt>
                <c:pt idx="339">
                  <c:v>276.54074558214188</c:v>
                </c:pt>
                <c:pt idx="340">
                  <c:v>276.00874433432625</c:v>
                </c:pt>
                <c:pt idx="341">
                  <c:v>273.58129283026722</c:v>
                </c:pt>
                <c:pt idx="342">
                  <c:v>274.78766853286425</c:v>
                </c:pt>
                <c:pt idx="343">
                  <c:v>277.49507275759606</c:v>
                </c:pt>
                <c:pt idx="344">
                  <c:v>277.93588204861692</c:v>
                </c:pt>
                <c:pt idx="345">
                  <c:v>280.90311136609898</c:v>
                </c:pt>
                <c:pt idx="346">
                  <c:v>278.79675866845832</c:v>
                </c:pt>
                <c:pt idx="347">
                  <c:v>276.19300221526464</c:v>
                </c:pt>
                <c:pt idx="348">
                  <c:v>275.74673667060085</c:v>
                </c:pt>
                <c:pt idx="349">
                  <c:v>276.74615558592234</c:v>
                </c:pt>
                <c:pt idx="350">
                  <c:v>276.30297377080183</c:v>
                </c:pt>
                <c:pt idx="351">
                  <c:v>273.9431386643023</c:v>
                </c:pt>
                <c:pt idx="352">
                  <c:v>279.0019973039083</c:v>
                </c:pt>
                <c:pt idx="353">
                  <c:v>275.43193187368001</c:v>
                </c:pt>
                <c:pt idx="354">
                  <c:v>279.47477241103252</c:v>
                </c:pt>
                <c:pt idx="355">
                  <c:v>279.3361041669649</c:v>
                </c:pt>
                <c:pt idx="356">
                  <c:v>280.12921500577113</c:v>
                </c:pt>
                <c:pt idx="357">
                  <c:v>259.77833233074739</c:v>
                </c:pt>
                <c:pt idx="358">
                  <c:v>274.85570225121683</c:v>
                </c:pt>
                <c:pt idx="359">
                  <c:v>278.04464881959075</c:v>
                </c:pt>
                <c:pt idx="360">
                  <c:v>275.85959205952702</c:v>
                </c:pt>
                <c:pt idx="361">
                  <c:v>276.7031178302567</c:v>
                </c:pt>
                <c:pt idx="362">
                  <c:v>278.36371689467012</c:v>
                </c:pt>
                <c:pt idx="363">
                  <c:v>286.05042296620957</c:v>
                </c:pt>
                <c:pt idx="364">
                  <c:v>315.13034177154111</c:v>
                </c:pt>
                <c:pt idx="365">
                  <c:v>250.92583730263595</c:v>
                </c:pt>
                <c:pt idx="366">
                  <c:v>275.47635041685533</c:v>
                </c:pt>
                <c:pt idx="367">
                  <c:v>273.99218307244655</c:v>
                </c:pt>
                <c:pt idx="368">
                  <c:v>267.69332676241152</c:v>
                </c:pt>
                <c:pt idx="369">
                  <c:v>271.06557960610996</c:v>
                </c:pt>
                <c:pt idx="370">
                  <c:v>266.62761040700786</c:v>
                </c:pt>
                <c:pt idx="371">
                  <c:v>270.59638285342953</c:v>
                </c:pt>
                <c:pt idx="372">
                  <c:v>269.51122729810743</c:v>
                </c:pt>
                <c:pt idx="373">
                  <c:v>272.94890947548186</c:v>
                </c:pt>
                <c:pt idx="374">
                  <c:v>275.01836367036981</c:v>
                </c:pt>
                <c:pt idx="375">
                  <c:v>283.49448439521018</c:v>
                </c:pt>
                <c:pt idx="376">
                  <c:v>277.14474620881697</c:v>
                </c:pt>
                <c:pt idx="377">
                  <c:v>277.21098066973286</c:v>
                </c:pt>
                <c:pt idx="378">
                  <c:v>275.56624092488073</c:v>
                </c:pt>
                <c:pt idx="379">
                  <c:v>275.99830592262435</c:v>
                </c:pt>
                <c:pt idx="380">
                  <c:v>268.8216492824638</c:v>
                </c:pt>
                <c:pt idx="381">
                  <c:v>269.67701547121055</c:v>
                </c:pt>
                <c:pt idx="382">
                  <c:v>273.94160881679841</c:v>
                </c:pt>
                <c:pt idx="383">
                  <c:v>277.55218730532954</c:v>
                </c:pt>
                <c:pt idx="384">
                  <c:v>276.6243508801997</c:v>
                </c:pt>
                <c:pt idx="385">
                  <c:v>272.55518287578684</c:v>
                </c:pt>
                <c:pt idx="386">
                  <c:v>271.03358696115674</c:v>
                </c:pt>
                <c:pt idx="387">
                  <c:v>274.51391981612835</c:v>
                </c:pt>
                <c:pt idx="388">
                  <c:v>275.76607605728339</c:v>
                </c:pt>
                <c:pt idx="389">
                  <c:v>270.86992000142902</c:v>
                </c:pt>
                <c:pt idx="390">
                  <c:v>272.65237697917098</c:v>
                </c:pt>
                <c:pt idx="391">
                  <c:v>266.39052100980769</c:v>
                </c:pt>
                <c:pt idx="392">
                  <c:v>271.86219056599327</c:v>
                </c:pt>
                <c:pt idx="393">
                  <c:v>270.642182128218</c:v>
                </c:pt>
                <c:pt idx="394">
                  <c:v>272.17695274591927</c:v>
                </c:pt>
                <c:pt idx="395">
                  <c:v>274.56679440983839</c:v>
                </c:pt>
                <c:pt idx="396">
                  <c:v>278.15068127681445</c:v>
                </c:pt>
                <c:pt idx="397">
                  <c:v>273.06520012560952</c:v>
                </c:pt>
                <c:pt idx="398">
                  <c:v>277.82023508792076</c:v>
                </c:pt>
                <c:pt idx="399">
                  <c:v>275.22275796063207</c:v>
                </c:pt>
                <c:pt idx="400">
                  <c:v>278.37957047825057</c:v>
                </c:pt>
                <c:pt idx="401">
                  <c:v>275.3804985780879</c:v>
                </c:pt>
                <c:pt idx="402">
                  <c:v>281.35031739738724</c:v>
                </c:pt>
                <c:pt idx="403">
                  <c:v>281.78041240328264</c:v>
                </c:pt>
                <c:pt idx="404">
                  <c:v>281.63267436435069</c:v>
                </c:pt>
                <c:pt idx="405">
                  <c:v>281.80145351472765</c:v>
                </c:pt>
                <c:pt idx="406">
                  <c:v>277.22956251317271</c:v>
                </c:pt>
                <c:pt idx="407">
                  <c:v>275.05894191356128</c:v>
                </c:pt>
                <c:pt idx="408">
                  <c:v>281.19644319987935</c:v>
                </c:pt>
                <c:pt idx="409">
                  <c:v>276.02883071135022</c:v>
                </c:pt>
                <c:pt idx="410">
                  <c:v>274.60988619652051</c:v>
                </c:pt>
                <c:pt idx="411">
                  <c:v>272.79536384939354</c:v>
                </c:pt>
                <c:pt idx="412">
                  <c:v>279.82326743039107</c:v>
                </c:pt>
                <c:pt idx="413">
                  <c:v>277.01265574120475</c:v>
                </c:pt>
                <c:pt idx="414">
                  <c:v>274.64317659731046</c:v>
                </c:pt>
                <c:pt idx="415">
                  <c:v>280.65581128747101</c:v>
                </c:pt>
                <c:pt idx="416">
                  <c:v>283.90429190227132</c:v>
                </c:pt>
                <c:pt idx="417">
                  <c:v>280.25080395337204</c:v>
                </c:pt>
                <c:pt idx="418">
                  <c:v>274.3094873909389</c:v>
                </c:pt>
                <c:pt idx="419">
                  <c:v>280.62937426119436</c:v>
                </c:pt>
                <c:pt idx="420">
                  <c:v>280.97639686887157</c:v>
                </c:pt>
                <c:pt idx="421">
                  <c:v>277.26354704507537</c:v>
                </c:pt>
                <c:pt idx="422">
                  <c:v>280.86860495677797</c:v>
                </c:pt>
                <c:pt idx="423">
                  <c:v>276.48528241569443</c:v>
                </c:pt>
                <c:pt idx="424">
                  <c:v>278.94168354786314</c:v>
                </c:pt>
                <c:pt idx="425">
                  <c:v>283.0968730460786</c:v>
                </c:pt>
                <c:pt idx="426">
                  <c:v>278.75448742193635</c:v>
                </c:pt>
                <c:pt idx="427">
                  <c:v>274.20840104597494</c:v>
                </c:pt>
                <c:pt idx="428">
                  <c:v>274.91565444996604</c:v>
                </c:pt>
                <c:pt idx="429">
                  <c:v>280.66491548898398</c:v>
                </c:pt>
                <c:pt idx="430">
                  <c:v>278.17281218772791</c:v>
                </c:pt>
                <c:pt idx="431">
                  <c:v>277.08415610794202</c:v>
                </c:pt>
                <c:pt idx="432">
                  <c:v>274.01279847979799</c:v>
                </c:pt>
                <c:pt idx="433">
                  <c:v>277.98181841662665</c:v>
                </c:pt>
                <c:pt idx="434">
                  <c:v>278.88864804230161</c:v>
                </c:pt>
                <c:pt idx="435">
                  <c:v>275.91339235793976</c:v>
                </c:pt>
                <c:pt idx="436">
                  <c:v>278.97368165513876</c:v>
                </c:pt>
                <c:pt idx="437">
                  <c:v>277.93268492921266</c:v>
                </c:pt>
                <c:pt idx="438">
                  <c:v>282.144854080762</c:v>
                </c:pt>
                <c:pt idx="439">
                  <c:v>279.24372718183827</c:v>
                </c:pt>
                <c:pt idx="440">
                  <c:v>278.11605456632117</c:v>
                </c:pt>
                <c:pt idx="441">
                  <c:v>285.71221499557225</c:v>
                </c:pt>
                <c:pt idx="442">
                  <c:v>276.26912696385068</c:v>
                </c:pt>
                <c:pt idx="443">
                  <c:v>276.5824482495176</c:v>
                </c:pt>
                <c:pt idx="444">
                  <c:v>276.69018572876871</c:v>
                </c:pt>
                <c:pt idx="445">
                  <c:v>270.85523462679419</c:v>
                </c:pt>
                <c:pt idx="446">
                  <c:v>275.58362109336815</c:v>
                </c:pt>
                <c:pt idx="447">
                  <c:v>276.15627685999459</c:v>
                </c:pt>
                <c:pt idx="448">
                  <c:v>280.58540910755823</c:v>
                </c:pt>
                <c:pt idx="449">
                  <c:v>284.13290074548286</c:v>
                </c:pt>
                <c:pt idx="450">
                  <c:v>275.16954857489873</c:v>
                </c:pt>
                <c:pt idx="451">
                  <c:v>276.18777108291465</c:v>
                </c:pt>
                <c:pt idx="452">
                  <c:v>273.97381175903331</c:v>
                </c:pt>
                <c:pt idx="453">
                  <c:v>279.69724047542854</c:v>
                </c:pt>
                <c:pt idx="454">
                  <c:v>278.03026363425408</c:v>
                </c:pt>
                <c:pt idx="455">
                  <c:v>271.89666189127047</c:v>
                </c:pt>
                <c:pt idx="456">
                  <c:v>277.59442260485434</c:v>
                </c:pt>
                <c:pt idx="457">
                  <c:v>285.94550331715016</c:v>
                </c:pt>
                <c:pt idx="458">
                  <c:v>275.64354086318406</c:v>
                </c:pt>
                <c:pt idx="459">
                  <c:v>278.58534476804164</c:v>
                </c:pt>
                <c:pt idx="460">
                  <c:v>273.16609759862683</c:v>
                </c:pt>
                <c:pt idx="461">
                  <c:v>276.08486203623306</c:v>
                </c:pt>
                <c:pt idx="462">
                  <c:v>271.99968405285256</c:v>
                </c:pt>
                <c:pt idx="463">
                  <c:v>266.00764587793162</c:v>
                </c:pt>
                <c:pt idx="464">
                  <c:v>270.78896474569592</c:v>
                </c:pt>
                <c:pt idx="465">
                  <c:v>270.25659898099138</c:v>
                </c:pt>
                <c:pt idx="466">
                  <c:v>276.16985693545462</c:v>
                </c:pt>
                <c:pt idx="467">
                  <c:v>295.74818540513979</c:v>
                </c:pt>
                <c:pt idx="468">
                  <c:v>309.04866577666144</c:v>
                </c:pt>
                <c:pt idx="469">
                  <c:v>277.71418371782693</c:v>
                </c:pt>
                <c:pt idx="470">
                  <c:v>277.27079501813841</c:v>
                </c:pt>
                <c:pt idx="471">
                  <c:v>274.81807635206189</c:v>
                </c:pt>
                <c:pt idx="472">
                  <c:v>278.91318889016077</c:v>
                </c:pt>
                <c:pt idx="473">
                  <c:v>275.78697762053412</c:v>
                </c:pt>
                <c:pt idx="474">
                  <c:v>275.48713192813341</c:v>
                </c:pt>
                <c:pt idx="475">
                  <c:v>280.05592653922884</c:v>
                </c:pt>
                <c:pt idx="476">
                  <c:v>279.33499363718579</c:v>
                </c:pt>
                <c:pt idx="477">
                  <c:v>280.91246753945882</c:v>
                </c:pt>
                <c:pt idx="478">
                  <c:v>272.28844287327661</c:v>
                </c:pt>
                <c:pt idx="479">
                  <c:v>278.05642941879205</c:v>
                </c:pt>
                <c:pt idx="480">
                  <c:v>283.95993231643718</c:v>
                </c:pt>
                <c:pt idx="481">
                  <c:v>285.70774614609377</c:v>
                </c:pt>
                <c:pt idx="482">
                  <c:v>283.68458394416405</c:v>
                </c:pt>
                <c:pt idx="483">
                  <c:v>286.74000978015738</c:v>
                </c:pt>
                <c:pt idx="484">
                  <c:v>280.50768263852444</c:v>
                </c:pt>
                <c:pt idx="485">
                  <c:v>282.14390547960329</c:v>
                </c:pt>
                <c:pt idx="486">
                  <c:v>273.11903327249763</c:v>
                </c:pt>
                <c:pt idx="487">
                  <c:v>278.50637025025071</c:v>
                </c:pt>
                <c:pt idx="488">
                  <c:v>275.22858690961357</c:v>
                </c:pt>
                <c:pt idx="489">
                  <c:v>276.03258636824398</c:v>
                </c:pt>
                <c:pt idx="490">
                  <c:v>273.70081289878692</c:v>
                </c:pt>
                <c:pt idx="491">
                  <c:v>267.28426152869781</c:v>
                </c:pt>
                <c:pt idx="492">
                  <c:v>286.87555173432611</c:v>
                </c:pt>
                <c:pt idx="493">
                  <c:v>289.60728492848023</c:v>
                </c:pt>
                <c:pt idx="494">
                  <c:v>286.3062155627357</c:v>
                </c:pt>
                <c:pt idx="495">
                  <c:v>347.43817126692102</c:v>
                </c:pt>
                <c:pt idx="496">
                  <c:v>361.32925187320802</c:v>
                </c:pt>
                <c:pt idx="497">
                  <c:v>0</c:v>
                </c:pt>
                <c:pt idx="498">
                  <c:v>0</c:v>
                </c:pt>
                <c:pt idx="499">
                  <c:v>268.26435476259553</c:v>
                </c:pt>
                <c:pt idx="500">
                  <c:v>266.76911022063291</c:v>
                </c:pt>
                <c:pt idx="501">
                  <c:v>273.02752397901315</c:v>
                </c:pt>
                <c:pt idx="502">
                  <c:v>273.6270688313133</c:v>
                </c:pt>
                <c:pt idx="503">
                  <c:v>269.39686230660777</c:v>
                </c:pt>
                <c:pt idx="504">
                  <c:v>274.02076326225085</c:v>
                </c:pt>
                <c:pt idx="505">
                  <c:v>264.7073585502136</c:v>
                </c:pt>
                <c:pt idx="506">
                  <c:v>286.39818751779831</c:v>
                </c:pt>
                <c:pt idx="507">
                  <c:v>272.18440325431425</c:v>
                </c:pt>
                <c:pt idx="508">
                  <c:v>275.69049109109142</c:v>
                </c:pt>
                <c:pt idx="509">
                  <c:v>265.2395911867269</c:v>
                </c:pt>
                <c:pt idx="510">
                  <c:v>265.75555866823424</c:v>
                </c:pt>
                <c:pt idx="511">
                  <c:v>270.77823601135628</c:v>
                </c:pt>
                <c:pt idx="512">
                  <c:v>274.96756164460351</c:v>
                </c:pt>
                <c:pt idx="513">
                  <c:v>271.35926098185985</c:v>
                </c:pt>
                <c:pt idx="514">
                  <c:v>272.16819199428016</c:v>
                </c:pt>
                <c:pt idx="515">
                  <c:v>270.0039825008264</c:v>
                </c:pt>
                <c:pt idx="516">
                  <c:v>270.40462357164847</c:v>
                </c:pt>
                <c:pt idx="517">
                  <c:v>269.57550592806467</c:v>
                </c:pt>
                <c:pt idx="518">
                  <c:v>274.06677257814044</c:v>
                </c:pt>
                <c:pt idx="519">
                  <c:v>270.09015304870275</c:v>
                </c:pt>
                <c:pt idx="520">
                  <c:v>271.1795439845182</c:v>
                </c:pt>
                <c:pt idx="521">
                  <c:v>267.04358190595576</c:v>
                </c:pt>
                <c:pt idx="522">
                  <c:v>270.32005726194939</c:v>
                </c:pt>
                <c:pt idx="523">
                  <c:v>271.18226341535967</c:v>
                </c:pt>
                <c:pt idx="524">
                  <c:v>274.35299096240124</c:v>
                </c:pt>
                <c:pt idx="525">
                  <c:v>274.48229197936985</c:v>
                </c:pt>
                <c:pt idx="526">
                  <c:v>275.11703596678717</c:v>
                </c:pt>
                <c:pt idx="527">
                  <c:v>279.22618822408629</c:v>
                </c:pt>
                <c:pt idx="528">
                  <c:v>273.21220973606137</c:v>
                </c:pt>
                <c:pt idx="529">
                  <c:v>277.11376180748732</c:v>
                </c:pt>
                <c:pt idx="530">
                  <c:v>274.96982006781184</c:v>
                </c:pt>
                <c:pt idx="531">
                  <c:v>274.61192650020701</c:v>
                </c:pt>
                <c:pt idx="532">
                  <c:v>279.72337984788203</c:v>
                </c:pt>
                <c:pt idx="533">
                  <c:v>291.02033309210185</c:v>
                </c:pt>
                <c:pt idx="534">
                  <c:v>278.28725247682314</c:v>
                </c:pt>
                <c:pt idx="535">
                  <c:v>272.43341889997794</c:v>
                </c:pt>
                <c:pt idx="536">
                  <c:v>273.00487907841648</c:v>
                </c:pt>
                <c:pt idx="537">
                  <c:v>280.45198075077474</c:v>
                </c:pt>
                <c:pt idx="538">
                  <c:v>279.09887059468792</c:v>
                </c:pt>
                <c:pt idx="539">
                  <c:v>281.03873146433364</c:v>
                </c:pt>
                <c:pt idx="540">
                  <c:v>280.32657896605815</c:v>
                </c:pt>
                <c:pt idx="541">
                  <c:v>281.09553247069255</c:v>
                </c:pt>
                <c:pt idx="542">
                  <c:v>293.0426221778564</c:v>
                </c:pt>
                <c:pt idx="543">
                  <c:v>273.18507275582692</c:v>
                </c:pt>
                <c:pt idx="544">
                  <c:v>284.77550745249641</c:v>
                </c:pt>
                <c:pt idx="545">
                  <c:v>271.01722539135426</c:v>
                </c:pt>
                <c:pt idx="546">
                  <c:v>270.14553993137713</c:v>
                </c:pt>
                <c:pt idx="547">
                  <c:v>277.99762543911322</c:v>
                </c:pt>
                <c:pt idx="548">
                  <c:v>272.24880630767325</c:v>
                </c:pt>
                <c:pt idx="549">
                  <c:v>276.29332901105624</c:v>
                </c:pt>
                <c:pt idx="550">
                  <c:v>274.31615127841815</c:v>
                </c:pt>
                <c:pt idx="551">
                  <c:v>265.14863729547744</c:v>
                </c:pt>
                <c:pt idx="552">
                  <c:v>271.81091455471301</c:v>
                </c:pt>
                <c:pt idx="553">
                  <c:v>273.85978260648312</c:v>
                </c:pt>
                <c:pt idx="554">
                  <c:v>269.92477652489458</c:v>
                </c:pt>
                <c:pt idx="555">
                  <c:v>276.6274602195665</c:v>
                </c:pt>
                <c:pt idx="556">
                  <c:v>275.78778161261459</c:v>
                </c:pt>
                <c:pt idx="557">
                  <c:v>273.71267461339369</c:v>
                </c:pt>
                <c:pt idx="558">
                  <c:v>269.86207655465648</c:v>
                </c:pt>
                <c:pt idx="559">
                  <c:v>269.50675851720439</c:v>
                </c:pt>
                <c:pt idx="560">
                  <c:v>273.61662161953768</c:v>
                </c:pt>
                <c:pt idx="561">
                  <c:v>273.85104964602579</c:v>
                </c:pt>
                <c:pt idx="562">
                  <c:v>276.05469316354856</c:v>
                </c:pt>
                <c:pt idx="563">
                  <c:v>271.5014778157223</c:v>
                </c:pt>
                <c:pt idx="564">
                  <c:v>278.14746353533258</c:v>
                </c:pt>
                <c:pt idx="565">
                  <c:v>280.09580277016119</c:v>
                </c:pt>
                <c:pt idx="566">
                  <c:v>261.81839824794918</c:v>
                </c:pt>
                <c:pt idx="567">
                  <c:v>275.03043409020438</c:v>
                </c:pt>
                <c:pt idx="568">
                  <c:v>283.77885422334577</c:v>
                </c:pt>
                <c:pt idx="569">
                  <c:v>281.11305960701998</c:v>
                </c:pt>
                <c:pt idx="570">
                  <c:v>285.33295245650186</c:v>
                </c:pt>
                <c:pt idx="571">
                  <c:v>279.91050342590995</c:v>
                </c:pt>
                <c:pt idx="572">
                  <c:v>282.00975319840086</c:v>
                </c:pt>
                <c:pt idx="573">
                  <c:v>279.63095760799263</c:v>
                </c:pt>
                <c:pt idx="574">
                  <c:v>278.68668793579616</c:v>
                </c:pt>
                <c:pt idx="575">
                  <c:v>268.84923975652373</c:v>
                </c:pt>
                <c:pt idx="576">
                  <c:v>268.54863071609623</c:v>
                </c:pt>
                <c:pt idx="577">
                  <c:v>266.23246573474864</c:v>
                </c:pt>
                <c:pt idx="578">
                  <c:v>268.35391916983485</c:v>
                </c:pt>
                <c:pt idx="579">
                  <c:v>273.23579248413046</c:v>
                </c:pt>
                <c:pt idx="580">
                  <c:v>274.13000166588381</c:v>
                </c:pt>
                <c:pt idx="581">
                  <c:v>277.63045647778404</c:v>
                </c:pt>
                <c:pt idx="582">
                  <c:v>275.77780903850544</c:v>
                </c:pt>
                <c:pt idx="583">
                  <c:v>268.56533055212572</c:v>
                </c:pt>
                <c:pt idx="584">
                  <c:v>272.7967351868823</c:v>
                </c:pt>
                <c:pt idx="585">
                  <c:v>278.64400977175524</c:v>
                </c:pt>
                <c:pt idx="586">
                  <c:v>276.92638101918362</c:v>
                </c:pt>
                <c:pt idx="587">
                  <c:v>275.49664480439856</c:v>
                </c:pt>
                <c:pt idx="588">
                  <c:v>278.8223187789813</c:v>
                </c:pt>
                <c:pt idx="589">
                  <c:v>274.24147031745974</c:v>
                </c:pt>
                <c:pt idx="590">
                  <c:v>279.90984778646919</c:v>
                </c:pt>
                <c:pt idx="591">
                  <c:v>279.39008341194619</c:v>
                </c:pt>
                <c:pt idx="592">
                  <c:v>278.07328045394445</c:v>
                </c:pt>
                <c:pt idx="593">
                  <c:v>268.64515412236358</c:v>
                </c:pt>
                <c:pt idx="594">
                  <c:v>266.95046585823513</c:v>
                </c:pt>
                <c:pt idx="595">
                  <c:v>270.57668640152406</c:v>
                </c:pt>
                <c:pt idx="596">
                  <c:v>269.82772410736493</c:v>
                </c:pt>
                <c:pt idx="597">
                  <c:v>271.60070300774134</c:v>
                </c:pt>
                <c:pt idx="598">
                  <c:v>278.31109911912063</c:v>
                </c:pt>
                <c:pt idx="599">
                  <c:v>280.96777055168513</c:v>
                </c:pt>
                <c:pt idx="600">
                  <c:v>282.87900873580759</c:v>
                </c:pt>
                <c:pt idx="601">
                  <c:v>289.82259118278319</c:v>
                </c:pt>
                <c:pt idx="602">
                  <c:v>273.18630908903242</c:v>
                </c:pt>
                <c:pt idx="603">
                  <c:v>270.68596255727334</c:v>
                </c:pt>
                <c:pt idx="604">
                  <c:v>268.27243029674139</c:v>
                </c:pt>
                <c:pt idx="605">
                  <c:v>270.71959267616114</c:v>
                </c:pt>
                <c:pt idx="606">
                  <c:v>272.41363843074089</c:v>
                </c:pt>
                <c:pt idx="607">
                  <c:v>291.33190442713908</c:v>
                </c:pt>
                <c:pt idx="608">
                  <c:v>276.03677346412792</c:v>
                </c:pt>
                <c:pt idx="609">
                  <c:v>277.18020439329723</c:v>
                </c:pt>
                <c:pt idx="610">
                  <c:v>279.67543916540819</c:v>
                </c:pt>
                <c:pt idx="611">
                  <c:v>279.03412907952247</c:v>
                </c:pt>
                <c:pt idx="612">
                  <c:v>266.42711615242467</c:v>
                </c:pt>
                <c:pt idx="613">
                  <c:v>277.63578600991696</c:v>
                </c:pt>
                <c:pt idx="614">
                  <c:v>273.77732942875616</c:v>
                </c:pt>
                <c:pt idx="615">
                  <c:v>279.73783389750031</c:v>
                </c:pt>
                <c:pt idx="616">
                  <c:v>281.47951346039201</c:v>
                </c:pt>
                <c:pt idx="617">
                  <c:v>285.15670950772335</c:v>
                </c:pt>
                <c:pt idx="618">
                  <c:v>274.87208887944837</c:v>
                </c:pt>
                <c:pt idx="619">
                  <c:v>277.25504676482728</c:v>
                </c:pt>
                <c:pt idx="620">
                  <c:v>272.61493441219284</c:v>
                </c:pt>
                <c:pt idx="621">
                  <c:v>281.91893243599998</c:v>
                </c:pt>
                <c:pt idx="622">
                  <c:v>272.92086804484336</c:v>
                </c:pt>
                <c:pt idx="623">
                  <c:v>288.97442407658434</c:v>
                </c:pt>
                <c:pt idx="624">
                  <c:v>280.29841699089741</c:v>
                </c:pt>
                <c:pt idx="625">
                  <c:v>298.70050110984596</c:v>
                </c:pt>
                <c:pt idx="626">
                  <c:v>301.52616886933424</c:v>
                </c:pt>
                <c:pt idx="627">
                  <c:v>301.64323984673888</c:v>
                </c:pt>
                <c:pt idx="628">
                  <c:v>304.46118658052637</c:v>
                </c:pt>
                <c:pt idx="629">
                  <c:v>289.36907649378156</c:v>
                </c:pt>
                <c:pt idx="630">
                  <c:v>281.35422074615383</c:v>
                </c:pt>
                <c:pt idx="631">
                  <c:v>284.000385394977</c:v>
                </c:pt>
                <c:pt idx="632">
                  <c:v>276.21321428560577</c:v>
                </c:pt>
                <c:pt idx="633">
                  <c:v>275.99012783525222</c:v>
                </c:pt>
                <c:pt idx="634">
                  <c:v>270.51277100339951</c:v>
                </c:pt>
                <c:pt idx="635">
                  <c:v>276.47923187652088</c:v>
                </c:pt>
                <c:pt idx="636">
                  <c:v>280.20642568906544</c:v>
                </c:pt>
                <c:pt idx="637">
                  <c:v>277.64194386812062</c:v>
                </c:pt>
                <c:pt idx="638">
                  <c:v>276.67513133573527</c:v>
                </c:pt>
                <c:pt idx="639">
                  <c:v>305.48006565550565</c:v>
                </c:pt>
                <c:pt idx="640">
                  <c:v>308.40368872634133</c:v>
                </c:pt>
                <c:pt idx="641">
                  <c:v>357.93546017531708</c:v>
                </c:pt>
                <c:pt idx="642">
                  <c:v>0</c:v>
                </c:pt>
                <c:pt idx="643">
                  <c:v>236.66710277200218</c:v>
                </c:pt>
                <c:pt idx="644">
                  <c:v>289.87543227035167</c:v>
                </c:pt>
                <c:pt idx="645">
                  <c:v>283.25334980894741</c:v>
                </c:pt>
                <c:pt idx="646">
                  <c:v>288.51514824329001</c:v>
                </c:pt>
                <c:pt idx="647">
                  <c:v>289.58929598577072</c:v>
                </c:pt>
                <c:pt idx="648">
                  <c:v>293.67047493212033</c:v>
                </c:pt>
                <c:pt idx="649">
                  <c:v>282.76494960845798</c:v>
                </c:pt>
                <c:pt idx="650">
                  <c:v>284.1481329655611</c:v>
                </c:pt>
                <c:pt idx="651">
                  <c:v>277.25568641638154</c:v>
                </c:pt>
                <c:pt idx="652">
                  <c:v>278.35057008711726</c:v>
                </c:pt>
                <c:pt idx="653">
                  <c:v>274.75629219657355</c:v>
                </c:pt>
                <c:pt idx="654">
                  <c:v>267.51490742845965</c:v>
                </c:pt>
                <c:pt idx="655">
                  <c:v>269.58331931537691</c:v>
                </c:pt>
                <c:pt idx="656">
                  <c:v>280.55802917732967</c:v>
                </c:pt>
                <c:pt idx="657">
                  <c:v>281.90514275533735</c:v>
                </c:pt>
                <c:pt idx="658">
                  <c:v>277.48408807552642</c:v>
                </c:pt>
                <c:pt idx="659">
                  <c:v>288.40063423402387</c:v>
                </c:pt>
                <c:pt idx="660">
                  <c:v>275.996445744722</c:v>
                </c:pt>
                <c:pt idx="661">
                  <c:v>285.37344829866981</c:v>
                </c:pt>
                <c:pt idx="662">
                  <c:v>270.5013036748195</c:v>
                </c:pt>
                <c:pt idx="663">
                  <c:v>272.7626993001777</c:v>
                </c:pt>
                <c:pt idx="664">
                  <c:v>267.16660482105294</c:v>
                </c:pt>
                <c:pt idx="665">
                  <c:v>270.77639573391059</c:v>
                </c:pt>
                <c:pt idx="666">
                  <c:v>279.55362463135123</c:v>
                </c:pt>
                <c:pt idx="667">
                  <c:v>280.14449409618999</c:v>
                </c:pt>
                <c:pt idx="668">
                  <c:v>280.44053046011243</c:v>
                </c:pt>
                <c:pt idx="669">
                  <c:v>293.30959371829715</c:v>
                </c:pt>
                <c:pt idx="670">
                  <c:v>267.64143301452043</c:v>
                </c:pt>
                <c:pt idx="671">
                  <c:v>280.57881215204213</c:v>
                </c:pt>
                <c:pt idx="672">
                  <c:v>275.63094029494766</c:v>
                </c:pt>
                <c:pt idx="673">
                  <c:v>273.66368409368465</c:v>
                </c:pt>
                <c:pt idx="674">
                  <c:v>278.75915260208262</c:v>
                </c:pt>
                <c:pt idx="675">
                  <c:v>275.3267138965216</c:v>
                </c:pt>
                <c:pt idx="676">
                  <c:v>275.84503244840937</c:v>
                </c:pt>
                <c:pt idx="677">
                  <c:v>278.43870425921875</c:v>
                </c:pt>
                <c:pt idx="678">
                  <c:v>273.11488586713415</c:v>
                </c:pt>
                <c:pt idx="679">
                  <c:v>285.68468927904053</c:v>
                </c:pt>
                <c:pt idx="680">
                  <c:v>277.18066460274315</c:v>
                </c:pt>
                <c:pt idx="681">
                  <c:v>282.92866550344024</c:v>
                </c:pt>
                <c:pt idx="682">
                  <c:v>285.74301846187336</c:v>
                </c:pt>
                <c:pt idx="683">
                  <c:v>267.19676455807007</c:v>
                </c:pt>
                <c:pt idx="684">
                  <c:v>295.89354032051153</c:v>
                </c:pt>
                <c:pt idx="685">
                  <c:v>268.10424621982156</c:v>
                </c:pt>
                <c:pt idx="686">
                  <c:v>276.07598466400509</c:v>
                </c:pt>
                <c:pt idx="687">
                  <c:v>275.22579658854522</c:v>
                </c:pt>
                <c:pt idx="688">
                  <c:v>272.23333783112491</c:v>
                </c:pt>
                <c:pt idx="689">
                  <c:v>273.71381026500853</c:v>
                </c:pt>
                <c:pt idx="690">
                  <c:v>273.22793743954833</c:v>
                </c:pt>
                <c:pt idx="691">
                  <c:v>268.98364067414752</c:v>
                </c:pt>
                <c:pt idx="692">
                  <c:v>276.7552713682187</c:v>
                </c:pt>
                <c:pt idx="693">
                  <c:v>275.66113251348554</c:v>
                </c:pt>
                <c:pt idx="694">
                  <c:v>269.76399654827446</c:v>
                </c:pt>
                <c:pt idx="695">
                  <c:v>274.84524090082868</c:v>
                </c:pt>
                <c:pt idx="696">
                  <c:v>273.46092657846282</c:v>
                </c:pt>
                <c:pt idx="697">
                  <c:v>274.8931955820824</c:v>
                </c:pt>
                <c:pt idx="698">
                  <c:v>271.67432420580724</c:v>
                </c:pt>
                <c:pt idx="699">
                  <c:v>268.130456056296</c:v>
                </c:pt>
                <c:pt idx="700">
                  <c:v>268.3593323299275</c:v>
                </c:pt>
                <c:pt idx="701">
                  <c:v>264.75225045624586</c:v>
                </c:pt>
                <c:pt idx="702">
                  <c:v>273.51557698536101</c:v>
                </c:pt>
                <c:pt idx="703">
                  <c:v>270.14883072673524</c:v>
                </c:pt>
                <c:pt idx="704">
                  <c:v>270.61763366114519</c:v>
                </c:pt>
                <c:pt idx="705">
                  <c:v>268.81850357304495</c:v>
                </c:pt>
                <c:pt idx="706">
                  <c:v>268.74929375824343</c:v>
                </c:pt>
                <c:pt idx="707">
                  <c:v>269.67219224628514</c:v>
                </c:pt>
                <c:pt idx="708">
                  <c:v>283.57004201365385</c:v>
                </c:pt>
                <c:pt idx="709">
                  <c:v>271.5630703190501</c:v>
                </c:pt>
                <c:pt idx="710">
                  <c:v>270.33143841459116</c:v>
                </c:pt>
                <c:pt idx="711">
                  <c:v>266.96247000820006</c:v>
                </c:pt>
                <c:pt idx="712">
                  <c:v>272.26037038189929</c:v>
                </c:pt>
                <c:pt idx="713">
                  <c:v>271.86130243536172</c:v>
                </c:pt>
                <c:pt idx="714">
                  <c:v>264.12446829985004</c:v>
                </c:pt>
                <c:pt idx="715">
                  <c:v>268.52672663467831</c:v>
                </c:pt>
                <c:pt idx="716">
                  <c:v>266.92930381803387</c:v>
                </c:pt>
                <c:pt idx="717">
                  <c:v>271.63887801075509</c:v>
                </c:pt>
                <c:pt idx="718">
                  <c:v>264.15436586910528</c:v>
                </c:pt>
                <c:pt idx="719">
                  <c:v>269.04026908432979</c:v>
                </c:pt>
                <c:pt idx="720">
                  <c:v>251.78170297752331</c:v>
                </c:pt>
                <c:pt idx="721">
                  <c:v>270.71379572269655</c:v>
                </c:pt>
                <c:pt idx="722">
                  <c:v>272.22262191296886</c:v>
                </c:pt>
                <c:pt idx="723">
                  <c:v>276.07803941912471</c:v>
                </c:pt>
                <c:pt idx="724">
                  <c:v>292.7979552729912</c:v>
                </c:pt>
                <c:pt idx="725">
                  <c:v>385.68512274786099</c:v>
                </c:pt>
                <c:pt idx="726">
                  <c:v>222.87328401299101</c:v>
                </c:pt>
                <c:pt idx="727">
                  <c:v>277.04376049955238</c:v>
                </c:pt>
                <c:pt idx="728">
                  <c:v>271.1954234309153</c:v>
                </c:pt>
                <c:pt idx="729">
                  <c:v>267.38101729569644</c:v>
                </c:pt>
                <c:pt idx="730">
                  <c:v>267.14917163057339</c:v>
                </c:pt>
                <c:pt idx="731">
                  <c:v>272.54258379691316</c:v>
                </c:pt>
                <c:pt idx="732">
                  <c:v>273.16005526039714</c:v>
                </c:pt>
                <c:pt idx="733">
                  <c:v>268.68470164656742</c:v>
                </c:pt>
                <c:pt idx="734">
                  <c:v>268.81522834823045</c:v>
                </c:pt>
                <c:pt idx="735">
                  <c:v>269.31227424491613</c:v>
                </c:pt>
                <c:pt idx="736">
                  <c:v>274.1959098144539</c:v>
                </c:pt>
                <c:pt idx="737">
                  <c:v>273.32755179392711</c:v>
                </c:pt>
                <c:pt idx="738">
                  <c:v>273.64059613981078</c:v>
                </c:pt>
                <c:pt idx="739">
                  <c:v>275.512762473061</c:v>
                </c:pt>
                <c:pt idx="740">
                  <c:v>272.2738954045933</c:v>
                </c:pt>
                <c:pt idx="741">
                  <c:v>270.88389182711637</c:v>
                </c:pt>
                <c:pt idx="742">
                  <c:v>280.39479934535223</c:v>
                </c:pt>
                <c:pt idx="743">
                  <c:v>269.5347836392292</c:v>
                </c:pt>
                <c:pt idx="744">
                  <c:v>267.28220484386964</c:v>
                </c:pt>
                <c:pt idx="745">
                  <c:v>265.89944147537028</c:v>
                </c:pt>
                <c:pt idx="746">
                  <c:v>266.25255006810676</c:v>
                </c:pt>
                <c:pt idx="747">
                  <c:v>268.05564473777429</c:v>
                </c:pt>
                <c:pt idx="748">
                  <c:v>266.59184856961804</c:v>
                </c:pt>
                <c:pt idx="749">
                  <c:v>269.53531229555585</c:v>
                </c:pt>
                <c:pt idx="750">
                  <c:v>267.2818380233939</c:v>
                </c:pt>
                <c:pt idx="751">
                  <c:v>263.71493392319837</c:v>
                </c:pt>
                <c:pt idx="752">
                  <c:v>256.65261780276421</c:v>
                </c:pt>
                <c:pt idx="753">
                  <c:v>270.93691897648557</c:v>
                </c:pt>
                <c:pt idx="754">
                  <c:v>266.06268401774616</c:v>
                </c:pt>
                <c:pt idx="755">
                  <c:v>265.52886065518612</c:v>
                </c:pt>
                <c:pt idx="756">
                  <c:v>268.49257925899349</c:v>
                </c:pt>
                <c:pt idx="757">
                  <c:v>264.48289104337118</c:v>
                </c:pt>
                <c:pt idx="758">
                  <c:v>271.91422987407566</c:v>
                </c:pt>
                <c:pt idx="759">
                  <c:v>272.0566644545969</c:v>
                </c:pt>
                <c:pt idx="760">
                  <c:v>269.75241025746402</c:v>
                </c:pt>
                <c:pt idx="761">
                  <c:v>275.02452600022627</c:v>
                </c:pt>
                <c:pt idx="762">
                  <c:v>274.55239009816921</c:v>
                </c:pt>
                <c:pt idx="763">
                  <c:v>268.43651211332474</c:v>
                </c:pt>
                <c:pt idx="764">
                  <c:v>270.00295446836401</c:v>
                </c:pt>
                <c:pt idx="765">
                  <c:v>274.93183626766859</c:v>
                </c:pt>
                <c:pt idx="766">
                  <c:v>266.64614640121988</c:v>
                </c:pt>
                <c:pt idx="767">
                  <c:v>268.99733462534982</c:v>
                </c:pt>
                <c:pt idx="768">
                  <c:v>268.74657576326877</c:v>
                </c:pt>
                <c:pt idx="769">
                  <c:v>268.81881402372937</c:v>
                </c:pt>
                <c:pt idx="770">
                  <c:v>271.65691820351742</c:v>
                </c:pt>
                <c:pt idx="771">
                  <c:v>270.34724806965835</c:v>
                </c:pt>
                <c:pt idx="772">
                  <c:v>264.76814218766822</c:v>
                </c:pt>
                <c:pt idx="773">
                  <c:v>267.67776680485179</c:v>
                </c:pt>
                <c:pt idx="774">
                  <c:v>266.95803545267165</c:v>
                </c:pt>
                <c:pt idx="775">
                  <c:v>268.26104687203315</c:v>
                </c:pt>
                <c:pt idx="776">
                  <c:v>265.18879907421899</c:v>
                </c:pt>
                <c:pt idx="777">
                  <c:v>266.61016056422852</c:v>
                </c:pt>
                <c:pt idx="778">
                  <c:v>265.57095120757356</c:v>
                </c:pt>
                <c:pt idx="779">
                  <c:v>261.59400642217406</c:v>
                </c:pt>
                <c:pt idx="780">
                  <c:v>263.66330969279579</c:v>
                </c:pt>
                <c:pt idx="781">
                  <c:v>264.79804277403036</c:v>
                </c:pt>
                <c:pt idx="782">
                  <c:v>265.86801762747643</c:v>
                </c:pt>
                <c:pt idx="783">
                  <c:v>266.54747680117725</c:v>
                </c:pt>
                <c:pt idx="784">
                  <c:v>272.15424026077017</c:v>
                </c:pt>
                <c:pt idx="785">
                  <c:v>274.83880399920724</c:v>
                </c:pt>
                <c:pt idx="786">
                  <c:v>270.33452862736556</c:v>
                </c:pt>
                <c:pt idx="787">
                  <c:v>270.87293063527397</c:v>
                </c:pt>
                <c:pt idx="788">
                  <c:v>277.78592262580935</c:v>
                </c:pt>
                <c:pt idx="789">
                  <c:v>267.3604729008656</c:v>
                </c:pt>
                <c:pt idx="790">
                  <c:v>269.94173587134298</c:v>
                </c:pt>
                <c:pt idx="791">
                  <c:v>257.79206726563245</c:v>
                </c:pt>
                <c:pt idx="792">
                  <c:v>262.69717078407143</c:v>
                </c:pt>
                <c:pt idx="793">
                  <c:v>268.51213626094204</c:v>
                </c:pt>
                <c:pt idx="794">
                  <c:v>267.01184914525015</c:v>
                </c:pt>
                <c:pt idx="795">
                  <c:v>265.38628840762215</c:v>
                </c:pt>
                <c:pt idx="796">
                  <c:v>269.41425601374215</c:v>
                </c:pt>
                <c:pt idx="797">
                  <c:v>272.49150674261591</c:v>
                </c:pt>
                <c:pt idx="798">
                  <c:v>269.83892088136383</c:v>
                </c:pt>
                <c:pt idx="799">
                  <c:v>269.89187353098487</c:v>
                </c:pt>
                <c:pt idx="800">
                  <c:v>273.06921630369254</c:v>
                </c:pt>
                <c:pt idx="801">
                  <c:v>268.92289799857963</c:v>
                </c:pt>
                <c:pt idx="802">
                  <c:v>274.91424267199727</c:v>
                </c:pt>
                <c:pt idx="803">
                  <c:v>277.30402270369177</c:v>
                </c:pt>
                <c:pt idx="804">
                  <c:v>268.13886537312271</c:v>
                </c:pt>
                <c:pt idx="805">
                  <c:v>280.55765247724128</c:v>
                </c:pt>
                <c:pt idx="806">
                  <c:v>278.02961408689953</c:v>
                </c:pt>
                <c:pt idx="807">
                  <c:v>269.18113541818593</c:v>
                </c:pt>
                <c:pt idx="808">
                  <c:v>274.71736816457781</c:v>
                </c:pt>
                <c:pt idx="809">
                  <c:v>277.1199608367682</c:v>
                </c:pt>
                <c:pt idx="810">
                  <c:v>274.76416712437288</c:v>
                </c:pt>
                <c:pt idx="811">
                  <c:v>267.66219632570596</c:v>
                </c:pt>
                <c:pt idx="812">
                  <c:v>275.23978573111685</c:v>
                </c:pt>
                <c:pt idx="813">
                  <c:v>271.98690113540681</c:v>
                </c:pt>
                <c:pt idx="814">
                  <c:v>270.08821947753279</c:v>
                </c:pt>
                <c:pt idx="815">
                  <c:v>266.43992607622317</c:v>
                </c:pt>
                <c:pt idx="816">
                  <c:v>267.66607427369456</c:v>
                </c:pt>
                <c:pt idx="817">
                  <c:v>270.11322085516849</c:v>
                </c:pt>
                <c:pt idx="818">
                  <c:v>272.64227768595129</c:v>
                </c:pt>
                <c:pt idx="819">
                  <c:v>275.26835282005095</c:v>
                </c:pt>
                <c:pt idx="820">
                  <c:v>275.32828129538302</c:v>
                </c:pt>
                <c:pt idx="821">
                  <c:v>275.05122929495872</c:v>
                </c:pt>
                <c:pt idx="822">
                  <c:v>273.41003735719403</c:v>
                </c:pt>
                <c:pt idx="823">
                  <c:v>281.90078462656072</c:v>
                </c:pt>
                <c:pt idx="824">
                  <c:v>276.47282550302816</c:v>
                </c:pt>
                <c:pt idx="825">
                  <c:v>290.65080644669092</c:v>
                </c:pt>
                <c:pt idx="826">
                  <c:v>279.74248941396911</c:v>
                </c:pt>
                <c:pt idx="827">
                  <c:v>282.4577374048223</c:v>
                </c:pt>
                <c:pt idx="828">
                  <c:v>284.53676863792282</c:v>
                </c:pt>
                <c:pt idx="829">
                  <c:v>287.63563899910616</c:v>
                </c:pt>
                <c:pt idx="830">
                  <c:v>285.67683259265391</c:v>
                </c:pt>
                <c:pt idx="831">
                  <c:v>287.77782436440691</c:v>
                </c:pt>
                <c:pt idx="832">
                  <c:v>278.24043413737104</c:v>
                </c:pt>
                <c:pt idx="833">
                  <c:v>282.20351521846999</c:v>
                </c:pt>
                <c:pt idx="834">
                  <c:v>284.59106800797952</c:v>
                </c:pt>
                <c:pt idx="835">
                  <c:v>270.17051694813665</c:v>
                </c:pt>
                <c:pt idx="836">
                  <c:v>274.48014912418932</c:v>
                </c:pt>
                <c:pt idx="837">
                  <c:v>275.00868143255991</c:v>
                </c:pt>
                <c:pt idx="838">
                  <c:v>272.86170355956858</c:v>
                </c:pt>
                <c:pt idx="839">
                  <c:v>275.80265834166244</c:v>
                </c:pt>
                <c:pt idx="840">
                  <c:v>277.89980268204124</c:v>
                </c:pt>
                <c:pt idx="841">
                  <c:v>277.28283110865777</c:v>
                </c:pt>
                <c:pt idx="842">
                  <c:v>277.52699890677195</c:v>
                </c:pt>
                <c:pt idx="843">
                  <c:v>278.83376609110519</c:v>
                </c:pt>
                <c:pt idx="844">
                  <c:v>281.50685087138254</c:v>
                </c:pt>
                <c:pt idx="845">
                  <c:v>274.00667569417089</c:v>
                </c:pt>
                <c:pt idx="846">
                  <c:v>292.13253166952416</c:v>
                </c:pt>
                <c:pt idx="847">
                  <c:v>278.1653118094946</c:v>
                </c:pt>
                <c:pt idx="848">
                  <c:v>273.20625422426792</c:v>
                </c:pt>
                <c:pt idx="849">
                  <c:v>280.68058705013289</c:v>
                </c:pt>
                <c:pt idx="850">
                  <c:v>274.31262480147279</c:v>
                </c:pt>
                <c:pt idx="851">
                  <c:v>272.14391826023586</c:v>
                </c:pt>
                <c:pt idx="852">
                  <c:v>284.04780926754574</c:v>
                </c:pt>
                <c:pt idx="853">
                  <c:v>274.09998813323841</c:v>
                </c:pt>
                <c:pt idx="854">
                  <c:v>279.74327849019869</c:v>
                </c:pt>
                <c:pt idx="855">
                  <c:v>275.47806312846592</c:v>
                </c:pt>
                <c:pt idx="856">
                  <c:v>277.9976402922041</c:v>
                </c:pt>
                <c:pt idx="857">
                  <c:v>280.96680716032768</c:v>
                </c:pt>
                <c:pt idx="858">
                  <c:v>279.56840809944174</c:v>
                </c:pt>
                <c:pt idx="859">
                  <c:v>279.14523780146419</c:v>
                </c:pt>
                <c:pt idx="860">
                  <c:v>284.45366825293138</c:v>
                </c:pt>
                <c:pt idx="861">
                  <c:v>297.72040360571077</c:v>
                </c:pt>
                <c:pt idx="862">
                  <c:v>228.71893280802078</c:v>
                </c:pt>
                <c:pt idx="863">
                  <c:v>275.71564304074718</c:v>
                </c:pt>
                <c:pt idx="864">
                  <c:v>306.63091377180479</c:v>
                </c:pt>
                <c:pt idx="865">
                  <c:v>302.33919523466773</c:v>
                </c:pt>
                <c:pt idx="866">
                  <c:v>270.33733025422055</c:v>
                </c:pt>
                <c:pt idx="867">
                  <c:v>281.12505473384817</c:v>
                </c:pt>
                <c:pt idx="868">
                  <c:v>287.60551160234718</c:v>
                </c:pt>
                <c:pt idx="869">
                  <c:v>285.22371997001528</c:v>
                </c:pt>
                <c:pt idx="870">
                  <c:v>276.50359036436691</c:v>
                </c:pt>
                <c:pt idx="871">
                  <c:v>281.53098994909556</c:v>
                </c:pt>
                <c:pt idx="872">
                  <c:v>273.4259907202196</c:v>
                </c:pt>
                <c:pt idx="873">
                  <c:v>275.6855271200244</c:v>
                </c:pt>
                <c:pt idx="874">
                  <c:v>275.08808140033295</c:v>
                </c:pt>
                <c:pt idx="875">
                  <c:v>277.67362957103876</c:v>
                </c:pt>
                <c:pt idx="876">
                  <c:v>274.71925954831579</c:v>
                </c:pt>
                <c:pt idx="877">
                  <c:v>275.13123865894249</c:v>
                </c:pt>
                <c:pt idx="878">
                  <c:v>274.40273697037844</c:v>
                </c:pt>
                <c:pt idx="879">
                  <c:v>275.29493247666255</c:v>
                </c:pt>
                <c:pt idx="880">
                  <c:v>275.70149165350415</c:v>
                </c:pt>
                <c:pt idx="881">
                  <c:v>275.28477969451296</c:v>
                </c:pt>
                <c:pt idx="882">
                  <c:v>280.07777841631605</c:v>
                </c:pt>
                <c:pt idx="883">
                  <c:v>275.1689181555447</c:v>
                </c:pt>
                <c:pt idx="884">
                  <c:v>281.21039590644614</c:v>
                </c:pt>
                <c:pt idx="885">
                  <c:v>278.29717136833949</c:v>
                </c:pt>
                <c:pt idx="886">
                  <c:v>281.46497579797426</c:v>
                </c:pt>
                <c:pt idx="887">
                  <c:v>276.87815692870709</c:v>
                </c:pt>
                <c:pt idx="888">
                  <c:v>276.36770392909</c:v>
                </c:pt>
                <c:pt idx="889">
                  <c:v>270.68566813238624</c:v>
                </c:pt>
                <c:pt idx="890">
                  <c:v>274.39418286345085</c:v>
                </c:pt>
                <c:pt idx="891">
                  <c:v>271.86132833819136</c:v>
                </c:pt>
                <c:pt idx="892">
                  <c:v>276.16234233715261</c:v>
                </c:pt>
                <c:pt idx="893">
                  <c:v>272.67336830402462</c:v>
                </c:pt>
                <c:pt idx="894">
                  <c:v>270.87674458943764</c:v>
                </c:pt>
                <c:pt idx="895">
                  <c:v>271.08373538604337</c:v>
                </c:pt>
                <c:pt idx="896">
                  <c:v>272.34144334846417</c:v>
                </c:pt>
                <c:pt idx="897">
                  <c:v>273.76595314261647</c:v>
                </c:pt>
                <c:pt idx="898">
                  <c:v>276.05091259759297</c:v>
                </c:pt>
                <c:pt idx="899">
                  <c:v>276.40761978686146</c:v>
                </c:pt>
                <c:pt idx="900">
                  <c:v>273.61536254043403</c:v>
                </c:pt>
                <c:pt idx="901">
                  <c:v>274.77729063382105</c:v>
                </c:pt>
                <c:pt idx="902">
                  <c:v>268.94443847786124</c:v>
                </c:pt>
                <c:pt idx="903">
                  <c:v>268.185717191545</c:v>
                </c:pt>
                <c:pt idx="904">
                  <c:v>272.7684103885141</c:v>
                </c:pt>
                <c:pt idx="905">
                  <c:v>276.31032434133556</c:v>
                </c:pt>
                <c:pt idx="906">
                  <c:v>272.41387404756063</c:v>
                </c:pt>
                <c:pt idx="907">
                  <c:v>275.92454422812443</c:v>
                </c:pt>
                <c:pt idx="908">
                  <c:v>272.23978353379357</c:v>
                </c:pt>
                <c:pt idx="909">
                  <c:v>272.60186180355299</c:v>
                </c:pt>
                <c:pt idx="910">
                  <c:v>273.65204616028916</c:v>
                </c:pt>
                <c:pt idx="911">
                  <c:v>275.71264610967762</c:v>
                </c:pt>
                <c:pt idx="912">
                  <c:v>273.83543860759289</c:v>
                </c:pt>
                <c:pt idx="913">
                  <c:v>271.31002247957099</c:v>
                </c:pt>
                <c:pt idx="914">
                  <c:v>275.17197737916001</c:v>
                </c:pt>
                <c:pt idx="915">
                  <c:v>272.46777397349547</c:v>
                </c:pt>
                <c:pt idx="916">
                  <c:v>276.47804466411822</c:v>
                </c:pt>
                <c:pt idx="917">
                  <c:v>275.42449363050184</c:v>
                </c:pt>
                <c:pt idx="918">
                  <c:v>278.2239301646714</c:v>
                </c:pt>
                <c:pt idx="919">
                  <c:v>281.87373138465182</c:v>
                </c:pt>
                <c:pt idx="920">
                  <c:v>279.26800484404475</c:v>
                </c:pt>
                <c:pt idx="921">
                  <c:v>273.62874832336604</c:v>
                </c:pt>
                <c:pt idx="922">
                  <c:v>281.66702248820184</c:v>
                </c:pt>
                <c:pt idx="923">
                  <c:v>286.38304613868149</c:v>
                </c:pt>
                <c:pt idx="924">
                  <c:v>278.82333270770039</c:v>
                </c:pt>
                <c:pt idx="925">
                  <c:v>273.59130063992257</c:v>
                </c:pt>
                <c:pt idx="926">
                  <c:v>270.07365854896011</c:v>
                </c:pt>
                <c:pt idx="927">
                  <c:v>269.4733615454345</c:v>
                </c:pt>
                <c:pt idx="928">
                  <c:v>271.85594569778425</c:v>
                </c:pt>
                <c:pt idx="929">
                  <c:v>268.66266972500728</c:v>
                </c:pt>
                <c:pt idx="930">
                  <c:v>272.49282539267836</c:v>
                </c:pt>
                <c:pt idx="931">
                  <c:v>279.30593960352951</c:v>
                </c:pt>
                <c:pt idx="932">
                  <c:v>277.56981406232876</c:v>
                </c:pt>
                <c:pt idx="933">
                  <c:v>273.85538000403471</c:v>
                </c:pt>
                <c:pt idx="934">
                  <c:v>274.0829037240735</c:v>
                </c:pt>
                <c:pt idx="935">
                  <c:v>273.00661105167887</c:v>
                </c:pt>
                <c:pt idx="936">
                  <c:v>269.7376262960039</c:v>
                </c:pt>
                <c:pt idx="937">
                  <c:v>275.70973736113353</c:v>
                </c:pt>
                <c:pt idx="938">
                  <c:v>277.24118408020638</c:v>
                </c:pt>
                <c:pt idx="939">
                  <c:v>268.73689381846441</c:v>
                </c:pt>
                <c:pt idx="940">
                  <c:v>272.5044771785723</c:v>
                </c:pt>
                <c:pt idx="941">
                  <c:v>273.00504402040099</c:v>
                </c:pt>
                <c:pt idx="942">
                  <c:v>271.48672703599141</c:v>
                </c:pt>
                <c:pt idx="943">
                  <c:v>271.96323580293324</c:v>
                </c:pt>
                <c:pt idx="944">
                  <c:v>268.9571335508374</c:v>
                </c:pt>
                <c:pt idx="945">
                  <c:v>275.94023912212981</c:v>
                </c:pt>
                <c:pt idx="946">
                  <c:v>276.47051210620691</c:v>
                </c:pt>
                <c:pt idx="947">
                  <c:v>278.42235083031596</c:v>
                </c:pt>
                <c:pt idx="948">
                  <c:v>277.26807597722097</c:v>
                </c:pt>
                <c:pt idx="949">
                  <c:v>279.05555396586647</c:v>
                </c:pt>
                <c:pt idx="950">
                  <c:v>277.78158837419085</c:v>
                </c:pt>
                <c:pt idx="951">
                  <c:v>276.419802153864</c:v>
                </c:pt>
                <c:pt idx="952">
                  <c:v>271.90256715388705</c:v>
                </c:pt>
                <c:pt idx="953">
                  <c:v>273.2993871069599</c:v>
                </c:pt>
                <c:pt idx="954">
                  <c:v>271.83677370623036</c:v>
                </c:pt>
                <c:pt idx="955">
                  <c:v>280.58338315024901</c:v>
                </c:pt>
                <c:pt idx="956">
                  <c:v>388.75059641408143</c:v>
                </c:pt>
                <c:pt idx="957">
                  <c:v>241.36540664134566</c:v>
                </c:pt>
                <c:pt idx="958">
                  <c:v>286.93205770452607</c:v>
                </c:pt>
                <c:pt idx="959">
                  <c:v>273.38443051234447</c:v>
                </c:pt>
                <c:pt idx="960">
                  <c:v>275.610852843609</c:v>
                </c:pt>
                <c:pt idx="961">
                  <c:v>273.83111826272489</c:v>
                </c:pt>
                <c:pt idx="962">
                  <c:v>269.76142856453191</c:v>
                </c:pt>
                <c:pt idx="963">
                  <c:v>276.47734638369718</c:v>
                </c:pt>
                <c:pt idx="964">
                  <c:v>274.78071316808018</c:v>
                </c:pt>
                <c:pt idx="965">
                  <c:v>272.52386610162671</c:v>
                </c:pt>
                <c:pt idx="966">
                  <c:v>270.46568287743764</c:v>
                </c:pt>
                <c:pt idx="967">
                  <c:v>270.09725544621153</c:v>
                </c:pt>
                <c:pt idx="968">
                  <c:v>272.78367173778724</c:v>
                </c:pt>
                <c:pt idx="969">
                  <c:v>273.11191743743234</c:v>
                </c:pt>
                <c:pt idx="970">
                  <c:v>267.74972255441412</c:v>
                </c:pt>
                <c:pt idx="971">
                  <c:v>273.59238753247598</c:v>
                </c:pt>
                <c:pt idx="972">
                  <c:v>269.36486880229938</c:v>
                </c:pt>
                <c:pt idx="973">
                  <c:v>270.40263682847421</c:v>
                </c:pt>
                <c:pt idx="974">
                  <c:v>277.69350790659962</c:v>
                </c:pt>
                <c:pt idx="975">
                  <c:v>272.07262409567841</c:v>
                </c:pt>
                <c:pt idx="976">
                  <c:v>273.34262098739134</c:v>
                </c:pt>
                <c:pt idx="977">
                  <c:v>270.14501849869851</c:v>
                </c:pt>
                <c:pt idx="978">
                  <c:v>275.12679448033327</c:v>
                </c:pt>
                <c:pt idx="979">
                  <c:v>272.21750276750231</c:v>
                </c:pt>
                <c:pt idx="980">
                  <c:v>276.1162898827107</c:v>
                </c:pt>
                <c:pt idx="981">
                  <c:v>275.32598019618183</c:v>
                </c:pt>
                <c:pt idx="982">
                  <c:v>275.54607374056741</c:v>
                </c:pt>
                <c:pt idx="983">
                  <c:v>276.82133840550125</c:v>
                </c:pt>
                <c:pt idx="984">
                  <c:v>278.71345564098351</c:v>
                </c:pt>
                <c:pt idx="985">
                  <c:v>281.92628789692594</c:v>
                </c:pt>
                <c:pt idx="986">
                  <c:v>284.42452149998803</c:v>
                </c:pt>
                <c:pt idx="987">
                  <c:v>282.56894734334867</c:v>
                </c:pt>
                <c:pt idx="988">
                  <c:v>273.43445429100404</c:v>
                </c:pt>
                <c:pt idx="989">
                  <c:v>277.88045427117299</c:v>
                </c:pt>
                <c:pt idx="990">
                  <c:v>280.33877373828511</c:v>
                </c:pt>
                <c:pt idx="991">
                  <c:v>277.54356476632654</c:v>
                </c:pt>
                <c:pt idx="992">
                  <c:v>275.12213669775565</c:v>
                </c:pt>
                <c:pt idx="993">
                  <c:v>273.52209554500996</c:v>
                </c:pt>
                <c:pt idx="994">
                  <c:v>275.73361620043488</c:v>
                </c:pt>
                <c:pt idx="995">
                  <c:v>273.92984607265328</c:v>
                </c:pt>
                <c:pt idx="996">
                  <c:v>276.12731723480738</c:v>
                </c:pt>
                <c:pt idx="997">
                  <c:v>282.30085886939537</c:v>
                </c:pt>
                <c:pt idx="998">
                  <c:v>247.229627968974</c:v>
                </c:pt>
                <c:pt idx="999">
                  <c:v>275.17315716096437</c:v>
                </c:pt>
                <c:pt idx="1000">
                  <c:v>275.53194314826828</c:v>
                </c:pt>
                <c:pt idx="1001">
                  <c:v>283.9760714008778</c:v>
                </c:pt>
                <c:pt idx="1002">
                  <c:v>275.76203568345977</c:v>
                </c:pt>
                <c:pt idx="1003">
                  <c:v>274.56032135614862</c:v>
                </c:pt>
                <c:pt idx="1004">
                  <c:v>280.31108568682396</c:v>
                </c:pt>
                <c:pt idx="1005">
                  <c:v>278.21640228083595</c:v>
                </c:pt>
                <c:pt idx="1006">
                  <c:v>282.15652122454708</c:v>
                </c:pt>
                <c:pt idx="1007">
                  <c:v>277.75452320042825</c:v>
                </c:pt>
                <c:pt idx="1008">
                  <c:v>284.50503605959307</c:v>
                </c:pt>
                <c:pt idx="1009">
                  <c:v>273.89222398244772</c:v>
                </c:pt>
                <c:pt idx="1010">
                  <c:v>279.08633356030191</c:v>
                </c:pt>
                <c:pt idx="1011">
                  <c:v>284.27180594812808</c:v>
                </c:pt>
                <c:pt idx="1012">
                  <c:v>283.36575932783853</c:v>
                </c:pt>
                <c:pt idx="1013">
                  <c:v>277.39636659023904</c:v>
                </c:pt>
                <c:pt idx="1014">
                  <c:v>267.57255000990313</c:v>
                </c:pt>
                <c:pt idx="1015">
                  <c:v>273.41347538731179</c:v>
                </c:pt>
                <c:pt idx="1016">
                  <c:v>275.23607424315912</c:v>
                </c:pt>
                <c:pt idx="1017">
                  <c:v>275.97189479569545</c:v>
                </c:pt>
                <c:pt idx="1018">
                  <c:v>273.62256686020305</c:v>
                </c:pt>
                <c:pt idx="1019">
                  <c:v>273.15454505856235</c:v>
                </c:pt>
                <c:pt idx="1020">
                  <c:v>276.81376166822042</c:v>
                </c:pt>
                <c:pt idx="1021">
                  <c:v>278.91225402523969</c:v>
                </c:pt>
                <c:pt idx="1022">
                  <c:v>277.79481460330965</c:v>
                </c:pt>
                <c:pt idx="1023">
                  <c:v>274.73796388920289</c:v>
                </c:pt>
                <c:pt idx="1024">
                  <c:v>272.9359687770617</c:v>
                </c:pt>
                <c:pt idx="1025">
                  <c:v>271.32312182669875</c:v>
                </c:pt>
                <c:pt idx="1026">
                  <c:v>284.10584139073205</c:v>
                </c:pt>
                <c:pt idx="1027">
                  <c:v>270.73471271195626</c:v>
                </c:pt>
                <c:pt idx="1028">
                  <c:v>290.74141155968982</c:v>
                </c:pt>
                <c:pt idx="1029">
                  <c:v>289.67403009297175</c:v>
                </c:pt>
                <c:pt idx="1030">
                  <c:v>299.41834111872174</c:v>
                </c:pt>
                <c:pt idx="1031">
                  <c:v>289.10824207670748</c:v>
                </c:pt>
                <c:pt idx="1032">
                  <c:v>284.14092719903078</c:v>
                </c:pt>
                <c:pt idx="1033">
                  <c:v>276.47145680037772</c:v>
                </c:pt>
                <c:pt idx="1034">
                  <c:v>270.80093538234212</c:v>
                </c:pt>
                <c:pt idx="1035">
                  <c:v>264.76962184661204</c:v>
                </c:pt>
                <c:pt idx="1036">
                  <c:v>286.02293146108877</c:v>
                </c:pt>
                <c:pt idx="1037">
                  <c:v>272.11479567840843</c:v>
                </c:pt>
                <c:pt idx="1038">
                  <c:v>274.17049267363598</c:v>
                </c:pt>
                <c:pt idx="1039">
                  <c:v>275.7280042574929</c:v>
                </c:pt>
                <c:pt idx="1040">
                  <c:v>279.56213294760937</c:v>
                </c:pt>
                <c:pt idx="1041">
                  <c:v>267.71807688309502</c:v>
                </c:pt>
                <c:pt idx="1042">
                  <c:v>278.76990243579326</c:v>
                </c:pt>
                <c:pt idx="1043">
                  <c:v>305.15456479521197</c:v>
                </c:pt>
                <c:pt idx="1044">
                  <c:v>280.43293439943193</c:v>
                </c:pt>
                <c:pt idx="1045">
                  <c:v>273.36650034530305</c:v>
                </c:pt>
                <c:pt idx="1046">
                  <c:v>273.06475416284104</c:v>
                </c:pt>
                <c:pt idx="1047">
                  <c:v>270.60882921010568</c:v>
                </c:pt>
                <c:pt idx="1048">
                  <c:v>274.64490155037458</c:v>
                </c:pt>
                <c:pt idx="1049">
                  <c:v>274.6326786362265</c:v>
                </c:pt>
                <c:pt idx="1050">
                  <c:v>277.7075308323025</c:v>
                </c:pt>
                <c:pt idx="1051">
                  <c:v>272.29948118440257</c:v>
                </c:pt>
                <c:pt idx="1052">
                  <c:v>272.11666125637589</c:v>
                </c:pt>
                <c:pt idx="1053">
                  <c:v>274.40112433874015</c:v>
                </c:pt>
                <c:pt idx="1054">
                  <c:v>282.95618267061366</c:v>
                </c:pt>
                <c:pt idx="1055">
                  <c:v>280.52798534499959</c:v>
                </c:pt>
                <c:pt idx="1056">
                  <c:v>276.19152732554608</c:v>
                </c:pt>
                <c:pt idx="1057">
                  <c:v>267.02492388469364</c:v>
                </c:pt>
                <c:pt idx="1058">
                  <c:v>276.51945361648768</c:v>
                </c:pt>
                <c:pt idx="1059">
                  <c:v>274.36958750519386</c:v>
                </c:pt>
                <c:pt idx="1060">
                  <c:v>261.0591888021163</c:v>
                </c:pt>
                <c:pt idx="1061">
                  <c:v>267.03892281325443</c:v>
                </c:pt>
                <c:pt idx="1062">
                  <c:v>267.94204857672003</c:v>
                </c:pt>
                <c:pt idx="1063">
                  <c:v>274.08981217297412</c:v>
                </c:pt>
                <c:pt idx="1064">
                  <c:v>274.10120479460295</c:v>
                </c:pt>
                <c:pt idx="1065">
                  <c:v>273.24514955779784</c:v>
                </c:pt>
                <c:pt idx="1066">
                  <c:v>274.056867550128</c:v>
                </c:pt>
                <c:pt idx="1067">
                  <c:v>272.04773076938034</c:v>
                </c:pt>
                <c:pt idx="1068">
                  <c:v>274.76215456016348</c:v>
                </c:pt>
                <c:pt idx="1069">
                  <c:v>275.45107610162836</c:v>
                </c:pt>
                <c:pt idx="1070">
                  <c:v>273.78202369570124</c:v>
                </c:pt>
                <c:pt idx="1071">
                  <c:v>272.61579513570859</c:v>
                </c:pt>
                <c:pt idx="1072">
                  <c:v>274.23647046829808</c:v>
                </c:pt>
                <c:pt idx="1073">
                  <c:v>271.66007015175069</c:v>
                </c:pt>
                <c:pt idx="1074">
                  <c:v>272.51481096316843</c:v>
                </c:pt>
                <c:pt idx="1075">
                  <c:v>265.82173626099654</c:v>
                </c:pt>
                <c:pt idx="1076">
                  <c:v>279.40419758058442</c:v>
                </c:pt>
                <c:pt idx="1077">
                  <c:v>272.46132943399493</c:v>
                </c:pt>
                <c:pt idx="1078">
                  <c:v>273.80018129295172</c:v>
                </c:pt>
                <c:pt idx="1079">
                  <c:v>267.1843723382658</c:v>
                </c:pt>
                <c:pt idx="1080">
                  <c:v>270.27768975658284</c:v>
                </c:pt>
                <c:pt idx="1081">
                  <c:v>275.9988897850526</c:v>
                </c:pt>
                <c:pt idx="1082">
                  <c:v>274.01694225814879</c:v>
                </c:pt>
                <c:pt idx="1083">
                  <c:v>275.08772298923327</c:v>
                </c:pt>
                <c:pt idx="1084">
                  <c:v>298.09698697465274</c:v>
                </c:pt>
                <c:pt idx="1085">
                  <c:v>283.02869772448275</c:v>
                </c:pt>
                <c:pt idx="1086">
                  <c:v>262.47661023615524</c:v>
                </c:pt>
                <c:pt idx="1087">
                  <c:v>273.26963422422591</c:v>
                </c:pt>
                <c:pt idx="1088">
                  <c:v>264.22266628716329</c:v>
                </c:pt>
                <c:pt idx="1089">
                  <c:v>264.84611379001615</c:v>
                </c:pt>
                <c:pt idx="1090">
                  <c:v>266.47512858644893</c:v>
                </c:pt>
                <c:pt idx="1091">
                  <c:v>267.31691765308381</c:v>
                </c:pt>
                <c:pt idx="1092">
                  <c:v>269.53999358713554</c:v>
                </c:pt>
                <c:pt idx="1093">
                  <c:v>267.02102653367172</c:v>
                </c:pt>
                <c:pt idx="1094">
                  <c:v>269.77798130657447</c:v>
                </c:pt>
                <c:pt idx="1095">
                  <c:v>273.64901323931872</c:v>
                </c:pt>
              </c:numCache>
            </c:numRef>
          </c:yVal>
          <c:smooth val="0"/>
          <c:extLst>
            <c:ext xmlns:c16="http://schemas.microsoft.com/office/drawing/2014/chart" uri="{C3380CC4-5D6E-409C-BE32-E72D297353CC}">
              <c16:uniqueId val="{00000000-3E59-47DA-8F39-776119E1423B}"/>
            </c:ext>
          </c:extLst>
        </c:ser>
        <c:dLbls>
          <c:showLegendKey val="0"/>
          <c:showVal val="0"/>
          <c:showCatName val="0"/>
          <c:showSerName val="0"/>
          <c:showPercent val="0"/>
          <c:showBubbleSize val="0"/>
        </c:dLbls>
        <c:axId val="1730727535"/>
        <c:axId val="1730710063"/>
      </c:scatterChart>
      <c:valAx>
        <c:axId val="1730727535"/>
        <c:scaling>
          <c:orientation val="minMax"/>
          <c:max val="3750000"/>
          <c:min val="358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10063"/>
        <c:crosses val="autoZero"/>
        <c:crossBetween val="midCat"/>
      </c:valAx>
      <c:valAx>
        <c:axId val="1730710063"/>
        <c:scaling>
          <c:orientation val="minMax"/>
          <c:max val="290"/>
          <c:min val="26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27535"/>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smtClean="0">
                <a:effectLst/>
              </a:rPr>
              <a:t>O</a:t>
            </a:r>
            <a:r>
              <a:rPr lang="en-US" sz="1400" b="0" i="0" u="none" strike="noStrike" baseline="-25000" dirty="0" smtClean="0">
                <a:effectLst/>
              </a:rPr>
              <a:t>2</a:t>
            </a:r>
            <a:r>
              <a:rPr lang="en-US" dirty="0" smtClean="0"/>
              <a:t> (Nm3) </a:t>
            </a:r>
            <a:r>
              <a:rPr lang="en-US" dirty="0"/>
              <a:t>v/s CO </a:t>
            </a:r>
            <a:r>
              <a:rPr lang="en-US" dirty="0" smtClean="0"/>
              <a:t>(Nm3)</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V$1:$AV$2</c:f>
              <c:strCache>
                <c:ptCount val="2"/>
                <c:pt idx="0">
                  <c:v>O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B$3:$AB$1131</c:f>
              <c:numCache>
                <c:formatCode>0</c:formatCode>
                <c:ptCount val="1129"/>
                <c:pt idx="0">
                  <c:v>41.382142893888293</c:v>
                </c:pt>
                <c:pt idx="1">
                  <c:v>289.25476399511342</c:v>
                </c:pt>
                <c:pt idx="2">
                  <c:v>315.36969172035964</c:v>
                </c:pt>
                <c:pt idx="3">
                  <c:v>353.94416824198885</c:v>
                </c:pt>
                <c:pt idx="4">
                  <c:v>353.15360227143026</c:v>
                </c:pt>
                <c:pt idx="5">
                  <c:v>356.71052396004188</c:v>
                </c:pt>
                <c:pt idx="6">
                  <c:v>371.46289964720063</c:v>
                </c:pt>
                <c:pt idx="7">
                  <c:v>354.53043475102362</c:v>
                </c:pt>
                <c:pt idx="8">
                  <c:v>285.03319216442293</c:v>
                </c:pt>
                <c:pt idx="9">
                  <c:v>321.72088539061775</c:v>
                </c:pt>
                <c:pt idx="10">
                  <c:v>355.20728865996784</c:v>
                </c:pt>
                <c:pt idx="11">
                  <c:v>344.58640981410167</c:v>
                </c:pt>
                <c:pt idx="12">
                  <c:v>337.35686762020401</c:v>
                </c:pt>
                <c:pt idx="13">
                  <c:v>364.99395132392692</c:v>
                </c:pt>
                <c:pt idx="14">
                  <c:v>350.10205268034088</c:v>
                </c:pt>
                <c:pt idx="15">
                  <c:v>340.2650658861416</c:v>
                </c:pt>
                <c:pt idx="16">
                  <c:v>338.53731214244215</c:v>
                </c:pt>
                <c:pt idx="17">
                  <c:v>346.49267088662123</c:v>
                </c:pt>
                <c:pt idx="18">
                  <c:v>372.09134520998606</c:v>
                </c:pt>
                <c:pt idx="19">
                  <c:v>343.42200154894215</c:v>
                </c:pt>
                <c:pt idx="20">
                  <c:v>347.60056289108081</c:v>
                </c:pt>
                <c:pt idx="21">
                  <c:v>355.74193265712177</c:v>
                </c:pt>
                <c:pt idx="22">
                  <c:v>348.56807908489844</c:v>
                </c:pt>
                <c:pt idx="23">
                  <c:v>349.45266747634861</c:v>
                </c:pt>
                <c:pt idx="24">
                  <c:v>342.67462579607582</c:v>
                </c:pt>
                <c:pt idx="25">
                  <c:v>351.43985053596407</c:v>
                </c:pt>
                <c:pt idx="26">
                  <c:v>369.09400930445878</c:v>
                </c:pt>
                <c:pt idx="27">
                  <c:v>348.32583850339461</c:v>
                </c:pt>
                <c:pt idx="28">
                  <c:v>356.84812195416964</c:v>
                </c:pt>
                <c:pt idx="29">
                  <c:v>373.02841003417205</c:v>
                </c:pt>
                <c:pt idx="30">
                  <c:v>251.28659839488753</c:v>
                </c:pt>
                <c:pt idx="31">
                  <c:v>331.0584958084396</c:v>
                </c:pt>
                <c:pt idx="32">
                  <c:v>408.96089219014073</c:v>
                </c:pt>
                <c:pt idx="33">
                  <c:v>394.52112251887678</c:v>
                </c:pt>
                <c:pt idx="34">
                  <c:v>395.29960551685224</c:v>
                </c:pt>
                <c:pt idx="35">
                  <c:v>412.45210149229473</c:v>
                </c:pt>
                <c:pt idx="36">
                  <c:v>383.40194959400156</c:v>
                </c:pt>
                <c:pt idx="37">
                  <c:v>400.96199537488349</c:v>
                </c:pt>
                <c:pt idx="38">
                  <c:v>386.25846633511037</c:v>
                </c:pt>
                <c:pt idx="39">
                  <c:v>387.59043974875408</c:v>
                </c:pt>
                <c:pt idx="40">
                  <c:v>373.31080107045096</c:v>
                </c:pt>
                <c:pt idx="41">
                  <c:v>391.49792354910113</c:v>
                </c:pt>
                <c:pt idx="42">
                  <c:v>409.37991504639922</c:v>
                </c:pt>
                <c:pt idx="43">
                  <c:v>432.67125103754381</c:v>
                </c:pt>
                <c:pt idx="44">
                  <c:v>481.10761246703242</c:v>
                </c:pt>
                <c:pt idx="45">
                  <c:v>975.51208448553905</c:v>
                </c:pt>
                <c:pt idx="46">
                  <c:v>1769.1184732451418</c:v>
                </c:pt>
                <c:pt idx="47">
                  <c:v>416.23951653366049</c:v>
                </c:pt>
                <c:pt idx="48">
                  <c:v>390.74788008731946</c:v>
                </c:pt>
                <c:pt idx="49">
                  <c:v>374.33804523041192</c:v>
                </c:pt>
                <c:pt idx="50">
                  <c:v>399.08890699329203</c:v>
                </c:pt>
                <c:pt idx="51">
                  <c:v>367.68345157216567</c:v>
                </c:pt>
                <c:pt idx="52">
                  <c:v>367.68068932638607</c:v>
                </c:pt>
                <c:pt idx="53">
                  <c:v>375.53850989397887</c:v>
                </c:pt>
                <c:pt idx="54">
                  <c:v>380.69233576984686</c:v>
                </c:pt>
                <c:pt idx="55">
                  <c:v>361.50741687253912</c:v>
                </c:pt>
                <c:pt idx="56">
                  <c:v>356.9146047309498</c:v>
                </c:pt>
                <c:pt idx="57">
                  <c:v>356.93918544328073</c:v>
                </c:pt>
                <c:pt idx="58">
                  <c:v>369.2874197579701</c:v>
                </c:pt>
                <c:pt idx="59">
                  <c:v>365.4798169655752</c:v>
                </c:pt>
                <c:pt idx="60">
                  <c:v>350.97595797770242</c:v>
                </c:pt>
                <c:pt idx="61">
                  <c:v>355.48471892776945</c:v>
                </c:pt>
                <c:pt idx="62">
                  <c:v>360.25347977719389</c:v>
                </c:pt>
                <c:pt idx="63">
                  <c:v>370.41837567045599</c:v>
                </c:pt>
                <c:pt idx="64">
                  <c:v>356.82137704374657</c:v>
                </c:pt>
                <c:pt idx="65">
                  <c:v>364.44017075738293</c:v>
                </c:pt>
                <c:pt idx="66">
                  <c:v>355.37075354983369</c:v>
                </c:pt>
                <c:pt idx="67">
                  <c:v>380.72871879028696</c:v>
                </c:pt>
                <c:pt idx="68">
                  <c:v>396.71467752438588</c:v>
                </c:pt>
                <c:pt idx="69">
                  <c:v>568.06798866741894</c:v>
                </c:pt>
                <c:pt idx="70">
                  <c:v>378.24736222177449</c:v>
                </c:pt>
                <c:pt idx="71">
                  <c:v>389.17527367730219</c:v>
                </c:pt>
                <c:pt idx="72">
                  <c:v>384.59042942004845</c:v>
                </c:pt>
                <c:pt idx="73">
                  <c:v>372.47460964243288</c:v>
                </c:pt>
                <c:pt idx="74">
                  <c:v>367.46465206726913</c:v>
                </c:pt>
                <c:pt idx="75">
                  <c:v>378.50604065445691</c:v>
                </c:pt>
                <c:pt idx="76">
                  <c:v>376.73125954147099</c:v>
                </c:pt>
                <c:pt idx="77">
                  <c:v>368.41863625381495</c:v>
                </c:pt>
                <c:pt idx="78">
                  <c:v>374.69259686039891</c:v>
                </c:pt>
                <c:pt idx="79">
                  <c:v>374.26324730218579</c:v>
                </c:pt>
                <c:pt idx="80">
                  <c:v>380.63160554349986</c:v>
                </c:pt>
                <c:pt idx="81">
                  <c:v>381.02211505808214</c:v>
                </c:pt>
                <c:pt idx="82">
                  <c:v>381.16631997153138</c:v>
                </c:pt>
                <c:pt idx="83">
                  <c:v>370.72358596799711</c:v>
                </c:pt>
                <c:pt idx="84">
                  <c:v>384.23521739115108</c:v>
                </c:pt>
                <c:pt idx="85">
                  <c:v>398.48042972601456</c:v>
                </c:pt>
                <c:pt idx="86">
                  <c:v>398.10195199695215</c:v>
                </c:pt>
                <c:pt idx="87">
                  <c:v>371.94840660703466</c:v>
                </c:pt>
                <c:pt idx="88">
                  <c:v>339.81482796315964</c:v>
                </c:pt>
                <c:pt idx="89">
                  <c:v>355.05192533882212</c:v>
                </c:pt>
                <c:pt idx="90">
                  <c:v>379.70760915809416</c:v>
                </c:pt>
                <c:pt idx="91">
                  <c:v>379.30296039997359</c:v>
                </c:pt>
                <c:pt idx="92">
                  <c:v>370.3752457977584</c:v>
                </c:pt>
                <c:pt idx="93">
                  <c:v>350.77002588888678</c:v>
                </c:pt>
                <c:pt idx="94">
                  <c:v>352.52938085797354</c:v>
                </c:pt>
                <c:pt idx="95">
                  <c:v>374.76609130865796</c:v>
                </c:pt>
                <c:pt idx="96">
                  <c:v>376.8409167159266</c:v>
                </c:pt>
                <c:pt idx="97">
                  <c:v>381.37165586715309</c:v>
                </c:pt>
                <c:pt idx="98">
                  <c:v>222.08252002639446</c:v>
                </c:pt>
                <c:pt idx="99">
                  <c:v>401.66304581496041</c:v>
                </c:pt>
                <c:pt idx="100">
                  <c:v>432.01568813575022</c:v>
                </c:pt>
                <c:pt idx="101">
                  <c:v>376.09085245786736</c:v>
                </c:pt>
                <c:pt idx="102">
                  <c:v>348.37687804459733</c:v>
                </c:pt>
                <c:pt idx="103">
                  <c:v>369.11614615203854</c:v>
                </c:pt>
                <c:pt idx="104">
                  <c:v>362.77127521795944</c:v>
                </c:pt>
                <c:pt idx="105">
                  <c:v>26.730159680159552</c:v>
                </c:pt>
                <c:pt idx="106">
                  <c:v>283.18742090116541</c:v>
                </c:pt>
                <c:pt idx="107">
                  <c:v>364.79798690130883</c:v>
                </c:pt>
                <c:pt idx="108">
                  <c:v>371.40121749551173</c:v>
                </c:pt>
                <c:pt idx="109">
                  <c:v>369.63740798218447</c:v>
                </c:pt>
                <c:pt idx="110">
                  <c:v>336.19573616268474</c:v>
                </c:pt>
                <c:pt idx="111">
                  <c:v>346.7791203359659</c:v>
                </c:pt>
                <c:pt idx="112">
                  <c:v>367.22178730291569</c:v>
                </c:pt>
                <c:pt idx="113">
                  <c:v>396.51294318741998</c:v>
                </c:pt>
                <c:pt idx="114">
                  <c:v>381.20447857977689</c:v>
                </c:pt>
                <c:pt idx="115">
                  <c:v>309.19912857577026</c:v>
                </c:pt>
                <c:pt idx="116">
                  <c:v>269.57548758440487</c:v>
                </c:pt>
                <c:pt idx="117">
                  <c:v>261.02399227149897</c:v>
                </c:pt>
                <c:pt idx="118">
                  <c:v>273.36567170340197</c:v>
                </c:pt>
                <c:pt idx="119">
                  <c:v>246.62888850979408</c:v>
                </c:pt>
                <c:pt idx="120">
                  <c:v>274.29076024707956</c:v>
                </c:pt>
                <c:pt idx="121">
                  <c:v>354.67553149952386</c:v>
                </c:pt>
                <c:pt idx="122">
                  <c:v>353.65682025110459</c:v>
                </c:pt>
                <c:pt idx="123">
                  <c:v>365.04646167953638</c:v>
                </c:pt>
                <c:pt idx="124">
                  <c:v>364.83453544559688</c:v>
                </c:pt>
                <c:pt idx="125">
                  <c:v>349.69644334967114</c:v>
                </c:pt>
                <c:pt idx="126">
                  <c:v>345.82058545190193</c:v>
                </c:pt>
                <c:pt idx="127">
                  <c:v>332.61061210997036</c:v>
                </c:pt>
                <c:pt idx="128">
                  <c:v>332.34938099079505</c:v>
                </c:pt>
                <c:pt idx="129">
                  <c:v>342.8454689952157</c:v>
                </c:pt>
                <c:pt idx="130">
                  <c:v>350.8322846828429</c:v>
                </c:pt>
                <c:pt idx="131">
                  <c:v>350.61827074090354</c:v>
                </c:pt>
                <c:pt idx="132">
                  <c:v>347.57874060414184</c:v>
                </c:pt>
                <c:pt idx="133">
                  <c:v>357.7500822995039</c:v>
                </c:pt>
                <c:pt idx="134">
                  <c:v>368.57775718980065</c:v>
                </c:pt>
                <c:pt idx="135">
                  <c:v>353.61629146712255</c:v>
                </c:pt>
                <c:pt idx="136">
                  <c:v>343.44789214925845</c:v>
                </c:pt>
                <c:pt idx="137">
                  <c:v>343.75714222816356</c:v>
                </c:pt>
                <c:pt idx="138">
                  <c:v>328.03754600023484</c:v>
                </c:pt>
                <c:pt idx="139">
                  <c:v>321.33421632199452</c:v>
                </c:pt>
                <c:pt idx="140">
                  <c:v>326.37110326743124</c:v>
                </c:pt>
                <c:pt idx="141">
                  <c:v>404.98354994463108</c:v>
                </c:pt>
                <c:pt idx="142">
                  <c:v>480.3561269520136</c:v>
                </c:pt>
                <c:pt idx="143">
                  <c:v>547.6192501094356</c:v>
                </c:pt>
                <c:pt idx="144">
                  <c:v>1073.2751725605506</c:v>
                </c:pt>
                <c:pt idx="145">
                  <c:v>44577.402760833465</c:v>
                </c:pt>
                <c:pt idx="146">
                  <c:v>0</c:v>
                </c:pt>
                <c:pt idx="147">
                  <c:v>0</c:v>
                </c:pt>
                <c:pt idx="148">
                  <c:v>0</c:v>
                </c:pt>
                <c:pt idx="149">
                  <c:v>2082.6074434897441</c:v>
                </c:pt>
                <c:pt idx="150">
                  <c:v>450.05773790472227</c:v>
                </c:pt>
                <c:pt idx="151">
                  <c:v>393.23971204457195</c:v>
                </c:pt>
                <c:pt idx="152">
                  <c:v>373.05745225227383</c:v>
                </c:pt>
                <c:pt idx="153">
                  <c:v>363.84526538652852</c:v>
                </c:pt>
                <c:pt idx="154">
                  <c:v>365.10240663443449</c:v>
                </c:pt>
                <c:pt idx="155">
                  <c:v>368.80680442133388</c:v>
                </c:pt>
                <c:pt idx="156">
                  <c:v>380.46578895875984</c:v>
                </c:pt>
                <c:pt idx="157">
                  <c:v>383.61553017700845</c:v>
                </c:pt>
                <c:pt idx="158">
                  <c:v>389.47294306646359</c:v>
                </c:pt>
                <c:pt idx="159">
                  <c:v>387.35952583609372</c:v>
                </c:pt>
                <c:pt idx="160">
                  <c:v>392.43130523048058</c:v>
                </c:pt>
                <c:pt idx="161">
                  <c:v>399.49924127260726</c:v>
                </c:pt>
                <c:pt idx="162">
                  <c:v>410.4729063352774</c:v>
                </c:pt>
                <c:pt idx="163">
                  <c:v>383.77942405984396</c:v>
                </c:pt>
                <c:pt idx="164">
                  <c:v>378.54948490427518</c:v>
                </c:pt>
                <c:pt idx="165">
                  <c:v>373.34744072943226</c:v>
                </c:pt>
                <c:pt idx="166">
                  <c:v>382.6387852970276</c:v>
                </c:pt>
                <c:pt idx="167">
                  <c:v>378.1377225160507</c:v>
                </c:pt>
                <c:pt idx="168">
                  <c:v>379.75865659034923</c:v>
                </c:pt>
                <c:pt idx="169">
                  <c:v>358.79791765905816</c:v>
                </c:pt>
                <c:pt idx="170">
                  <c:v>349.85297650183594</c:v>
                </c:pt>
                <c:pt idx="171">
                  <c:v>346.67669161157971</c:v>
                </c:pt>
                <c:pt idx="172">
                  <c:v>341.54223847484417</c:v>
                </c:pt>
                <c:pt idx="173">
                  <c:v>360.41383207912224</c:v>
                </c:pt>
                <c:pt idx="174">
                  <c:v>371.43605869297181</c:v>
                </c:pt>
                <c:pt idx="175">
                  <c:v>363.49998305709732</c:v>
                </c:pt>
                <c:pt idx="176">
                  <c:v>383.84318767882132</c:v>
                </c:pt>
                <c:pt idx="177">
                  <c:v>394.32463841207709</c:v>
                </c:pt>
                <c:pt idx="178">
                  <c:v>356.72331192696419</c:v>
                </c:pt>
                <c:pt idx="179">
                  <c:v>371.6074345067999</c:v>
                </c:pt>
                <c:pt idx="180">
                  <c:v>361.83429374892017</c:v>
                </c:pt>
                <c:pt idx="181">
                  <c:v>348.27284440209888</c:v>
                </c:pt>
                <c:pt idx="182">
                  <c:v>361.80477668378381</c:v>
                </c:pt>
                <c:pt idx="183">
                  <c:v>345.87913721283479</c:v>
                </c:pt>
                <c:pt idx="184">
                  <c:v>354.7321126532625</c:v>
                </c:pt>
                <c:pt idx="185">
                  <c:v>356.23252315225335</c:v>
                </c:pt>
                <c:pt idx="186">
                  <c:v>349.04111131477453</c:v>
                </c:pt>
                <c:pt idx="187">
                  <c:v>355.52812547965692</c:v>
                </c:pt>
                <c:pt idx="188">
                  <c:v>333.90648715279951</c:v>
                </c:pt>
                <c:pt idx="189">
                  <c:v>346.9177887504303</c:v>
                </c:pt>
                <c:pt idx="190">
                  <c:v>349.28029670539041</c:v>
                </c:pt>
                <c:pt idx="191">
                  <c:v>339.74227793107923</c:v>
                </c:pt>
                <c:pt idx="192">
                  <c:v>344.48569450418347</c:v>
                </c:pt>
                <c:pt idx="193">
                  <c:v>342.13044129185096</c:v>
                </c:pt>
                <c:pt idx="194">
                  <c:v>350.45138505190937</c:v>
                </c:pt>
                <c:pt idx="195">
                  <c:v>353.4740917348737</c:v>
                </c:pt>
                <c:pt idx="196">
                  <c:v>342.44471663651103</c:v>
                </c:pt>
                <c:pt idx="197">
                  <c:v>340.55674441552412</c:v>
                </c:pt>
                <c:pt idx="198">
                  <c:v>343.20217875698199</c:v>
                </c:pt>
                <c:pt idx="199">
                  <c:v>337.44415620427191</c:v>
                </c:pt>
                <c:pt idx="200">
                  <c:v>342.23283867229236</c:v>
                </c:pt>
                <c:pt idx="201">
                  <c:v>339.48856471978098</c:v>
                </c:pt>
                <c:pt idx="202">
                  <c:v>341.05946609141381</c:v>
                </c:pt>
                <c:pt idx="203">
                  <c:v>339.31572523467429</c:v>
                </c:pt>
                <c:pt idx="204">
                  <c:v>345.57772783081703</c:v>
                </c:pt>
                <c:pt idx="205">
                  <c:v>349.85671334960313</c:v>
                </c:pt>
                <c:pt idx="206">
                  <c:v>363.90549484901857</c:v>
                </c:pt>
                <c:pt idx="207">
                  <c:v>374.59563686935678</c:v>
                </c:pt>
                <c:pt idx="208">
                  <c:v>377.21216749735362</c:v>
                </c:pt>
                <c:pt idx="209">
                  <c:v>388.89328782616212</c:v>
                </c:pt>
                <c:pt idx="210">
                  <c:v>359.92725268660365</c:v>
                </c:pt>
                <c:pt idx="211">
                  <c:v>372.47005955767088</c:v>
                </c:pt>
                <c:pt idx="212">
                  <c:v>380.16306112700505</c:v>
                </c:pt>
                <c:pt idx="213">
                  <c:v>385.15704916356685</c:v>
                </c:pt>
                <c:pt idx="214">
                  <c:v>386.11457191341839</c:v>
                </c:pt>
                <c:pt idx="215">
                  <c:v>350.07113578310583</c:v>
                </c:pt>
                <c:pt idx="216">
                  <c:v>44.54781094400763</c:v>
                </c:pt>
                <c:pt idx="217">
                  <c:v>0</c:v>
                </c:pt>
                <c:pt idx="218">
                  <c:v>0</c:v>
                </c:pt>
                <c:pt idx="219">
                  <c:v>0</c:v>
                </c:pt>
                <c:pt idx="220">
                  <c:v>50.820981965991287</c:v>
                </c:pt>
                <c:pt idx="221">
                  <c:v>336.93525200405321</c:v>
                </c:pt>
                <c:pt idx="222">
                  <c:v>293.19459106467787</c:v>
                </c:pt>
                <c:pt idx="223">
                  <c:v>312.06341755660594</c:v>
                </c:pt>
                <c:pt idx="224">
                  <c:v>335.00531317622858</c:v>
                </c:pt>
                <c:pt idx="225">
                  <c:v>348.08015963520364</c:v>
                </c:pt>
                <c:pt idx="226">
                  <c:v>371.61334886866933</c:v>
                </c:pt>
                <c:pt idx="227">
                  <c:v>345.22722456933138</c:v>
                </c:pt>
                <c:pt idx="228">
                  <c:v>344.40563211072896</c:v>
                </c:pt>
                <c:pt idx="229">
                  <c:v>341.42806956811978</c:v>
                </c:pt>
                <c:pt idx="230">
                  <c:v>364.96927554145373</c:v>
                </c:pt>
                <c:pt idx="231">
                  <c:v>346.50127431229248</c:v>
                </c:pt>
                <c:pt idx="232">
                  <c:v>358.46331925353257</c:v>
                </c:pt>
                <c:pt idx="233">
                  <c:v>369.36031480711063</c:v>
                </c:pt>
                <c:pt idx="234">
                  <c:v>364.62805147842499</c:v>
                </c:pt>
                <c:pt idx="235">
                  <c:v>369.18642925805148</c:v>
                </c:pt>
                <c:pt idx="236">
                  <c:v>367.28755644185031</c:v>
                </c:pt>
                <c:pt idx="237">
                  <c:v>371.07285472981596</c:v>
                </c:pt>
                <c:pt idx="238">
                  <c:v>370.47644694547165</c:v>
                </c:pt>
                <c:pt idx="239">
                  <c:v>369.57643806888694</c:v>
                </c:pt>
                <c:pt idx="240">
                  <c:v>394.39265885980842</c:v>
                </c:pt>
                <c:pt idx="241">
                  <c:v>378.90204099165027</c:v>
                </c:pt>
                <c:pt idx="242">
                  <c:v>376.92950286877311</c:v>
                </c:pt>
                <c:pt idx="243">
                  <c:v>388.13851376700188</c:v>
                </c:pt>
                <c:pt idx="244">
                  <c:v>409.07601140768196</c:v>
                </c:pt>
                <c:pt idx="245">
                  <c:v>484.99073950451839</c:v>
                </c:pt>
                <c:pt idx="246">
                  <c:v>606.37592648610087</c:v>
                </c:pt>
                <c:pt idx="247">
                  <c:v>549.01665731414425</c:v>
                </c:pt>
                <c:pt idx="248">
                  <c:v>547.42751151143636</c:v>
                </c:pt>
                <c:pt idx="249">
                  <c:v>488.51176415476493</c:v>
                </c:pt>
                <c:pt idx="250">
                  <c:v>496.64514356853726</c:v>
                </c:pt>
                <c:pt idx="251">
                  <c:v>411.55016089963078</c:v>
                </c:pt>
                <c:pt idx="252">
                  <c:v>374.80597858672957</c:v>
                </c:pt>
                <c:pt idx="253">
                  <c:v>413.13406786585091</c:v>
                </c:pt>
                <c:pt idx="254">
                  <c:v>412.36193626154824</c:v>
                </c:pt>
                <c:pt idx="255">
                  <c:v>437.46803511844644</c:v>
                </c:pt>
                <c:pt idx="256">
                  <c:v>370.86604888598856</c:v>
                </c:pt>
                <c:pt idx="257">
                  <c:v>375.2788403178738</c:v>
                </c:pt>
                <c:pt idx="258">
                  <c:v>398.76635804709952</c:v>
                </c:pt>
                <c:pt idx="259">
                  <c:v>591.45102121658761</c:v>
                </c:pt>
                <c:pt idx="260">
                  <c:v>1971.3273859151222</c:v>
                </c:pt>
                <c:pt idx="261">
                  <c:v>401.18420262490582</c:v>
                </c:pt>
                <c:pt idx="262">
                  <c:v>407.15062919503555</c:v>
                </c:pt>
                <c:pt idx="263">
                  <c:v>419.05773780701605</c:v>
                </c:pt>
                <c:pt idx="264">
                  <c:v>395.10206432185061</c:v>
                </c:pt>
                <c:pt idx="265">
                  <c:v>333.09838948006194</c:v>
                </c:pt>
                <c:pt idx="266">
                  <c:v>378.3385801190031</c:v>
                </c:pt>
                <c:pt idx="267">
                  <c:v>592.23680759643582</c:v>
                </c:pt>
                <c:pt idx="268">
                  <c:v>366.04201536787588</c:v>
                </c:pt>
                <c:pt idx="269">
                  <c:v>373.89711194300196</c:v>
                </c:pt>
                <c:pt idx="270">
                  <c:v>380.61745909229677</c:v>
                </c:pt>
                <c:pt idx="271">
                  <c:v>387.59761226041468</c:v>
                </c:pt>
                <c:pt idx="272">
                  <c:v>369.37995293747974</c:v>
                </c:pt>
                <c:pt idx="273">
                  <c:v>368.35698716404823</c:v>
                </c:pt>
                <c:pt idx="274">
                  <c:v>372.72576257692964</c:v>
                </c:pt>
                <c:pt idx="275">
                  <c:v>381.34643868228198</c:v>
                </c:pt>
                <c:pt idx="276">
                  <c:v>365.59714824568442</c:v>
                </c:pt>
                <c:pt idx="277">
                  <c:v>370.7388964606933</c:v>
                </c:pt>
                <c:pt idx="278">
                  <c:v>385.62769431605517</c:v>
                </c:pt>
                <c:pt idx="279">
                  <c:v>371.93342350423745</c:v>
                </c:pt>
                <c:pt idx="280">
                  <c:v>356.42351928521549</c:v>
                </c:pt>
                <c:pt idx="281">
                  <c:v>368.83804988329564</c:v>
                </c:pt>
                <c:pt idx="282">
                  <c:v>362.80710712427839</c:v>
                </c:pt>
                <c:pt idx="283">
                  <c:v>355.65803614696807</c:v>
                </c:pt>
                <c:pt idx="284">
                  <c:v>362.33368402022245</c:v>
                </c:pt>
                <c:pt idx="285">
                  <c:v>363.08005684929907</c:v>
                </c:pt>
                <c:pt idx="286">
                  <c:v>358.69773480348249</c:v>
                </c:pt>
                <c:pt idx="287">
                  <c:v>357.43679531488709</c:v>
                </c:pt>
                <c:pt idx="288">
                  <c:v>361.58287367300727</c:v>
                </c:pt>
                <c:pt idx="289">
                  <c:v>357.68284310717348</c:v>
                </c:pt>
                <c:pt idx="290">
                  <c:v>347.04756447660657</c:v>
                </c:pt>
                <c:pt idx="291">
                  <c:v>387.02201818791258</c:v>
                </c:pt>
                <c:pt idx="292">
                  <c:v>373.99722251237165</c:v>
                </c:pt>
                <c:pt idx="293">
                  <c:v>362.30442564382298</c:v>
                </c:pt>
                <c:pt idx="294">
                  <c:v>357.39399837052406</c:v>
                </c:pt>
                <c:pt idx="295">
                  <c:v>364.08676745096568</c:v>
                </c:pt>
                <c:pt idx="296">
                  <c:v>202.29544232573622</c:v>
                </c:pt>
                <c:pt idx="297">
                  <c:v>328.91608416018619</c:v>
                </c:pt>
                <c:pt idx="298">
                  <c:v>347.39199384612078</c:v>
                </c:pt>
                <c:pt idx="299">
                  <c:v>361.40706477778633</c:v>
                </c:pt>
                <c:pt idx="300">
                  <c:v>367.01516151852309</c:v>
                </c:pt>
                <c:pt idx="301">
                  <c:v>364.9043948961114</c:v>
                </c:pt>
                <c:pt idx="302">
                  <c:v>354.22362864729519</c:v>
                </c:pt>
                <c:pt idx="303">
                  <c:v>348.94279549010554</c:v>
                </c:pt>
                <c:pt idx="304">
                  <c:v>359.75870371927715</c:v>
                </c:pt>
                <c:pt idx="305">
                  <c:v>336.09139612959382</c:v>
                </c:pt>
                <c:pt idx="306">
                  <c:v>353.52469872358915</c:v>
                </c:pt>
                <c:pt idx="307">
                  <c:v>350.53005328563245</c:v>
                </c:pt>
                <c:pt idx="308">
                  <c:v>358.31339351564122</c:v>
                </c:pt>
                <c:pt idx="309">
                  <c:v>354.60039208426866</c:v>
                </c:pt>
                <c:pt idx="310">
                  <c:v>345.43480016458079</c:v>
                </c:pt>
                <c:pt idx="311">
                  <c:v>334.25503327487445</c:v>
                </c:pt>
                <c:pt idx="312">
                  <c:v>341.66404671298875</c:v>
                </c:pt>
                <c:pt idx="313">
                  <c:v>343.84963803766942</c:v>
                </c:pt>
                <c:pt idx="314">
                  <c:v>347.53032015913521</c:v>
                </c:pt>
                <c:pt idx="315">
                  <c:v>310.45195167120642</c:v>
                </c:pt>
                <c:pt idx="316">
                  <c:v>351.9387872452121</c:v>
                </c:pt>
                <c:pt idx="317">
                  <c:v>340.30374451779915</c:v>
                </c:pt>
                <c:pt idx="318">
                  <c:v>306.77506412065429</c:v>
                </c:pt>
                <c:pt idx="319">
                  <c:v>24.23758664137214</c:v>
                </c:pt>
                <c:pt idx="320">
                  <c:v>151.29781275918151</c:v>
                </c:pt>
                <c:pt idx="321">
                  <c:v>282.800702637906</c:v>
                </c:pt>
                <c:pt idx="322">
                  <c:v>330.84234372390023</c:v>
                </c:pt>
                <c:pt idx="323">
                  <c:v>328.94401912902504</c:v>
                </c:pt>
                <c:pt idx="324">
                  <c:v>334.31518791068834</c:v>
                </c:pt>
                <c:pt idx="325">
                  <c:v>332.49966213858505</c:v>
                </c:pt>
                <c:pt idx="326">
                  <c:v>333.40563696132983</c:v>
                </c:pt>
                <c:pt idx="327">
                  <c:v>334.37495530292517</c:v>
                </c:pt>
                <c:pt idx="328">
                  <c:v>326.08539947416585</c:v>
                </c:pt>
                <c:pt idx="329">
                  <c:v>327.89382309828068</c:v>
                </c:pt>
                <c:pt idx="330">
                  <c:v>309.29598935774271</c:v>
                </c:pt>
                <c:pt idx="331">
                  <c:v>343.17847522772303</c:v>
                </c:pt>
                <c:pt idx="332">
                  <c:v>333.12845183642764</c:v>
                </c:pt>
                <c:pt idx="333">
                  <c:v>325.12899288309791</c:v>
                </c:pt>
                <c:pt idx="334">
                  <c:v>409.36196568857832</c:v>
                </c:pt>
                <c:pt idx="335">
                  <c:v>506.33863280675422</c:v>
                </c:pt>
                <c:pt idx="336">
                  <c:v>339.14860467476427</c:v>
                </c:pt>
                <c:pt idx="337">
                  <c:v>335.41791228210963</c:v>
                </c:pt>
                <c:pt idx="338">
                  <c:v>342.8657316978838</c:v>
                </c:pt>
                <c:pt idx="339">
                  <c:v>322.71336550960035</c:v>
                </c:pt>
                <c:pt idx="340">
                  <c:v>318.17644880594298</c:v>
                </c:pt>
                <c:pt idx="341">
                  <c:v>320.40694239183097</c:v>
                </c:pt>
                <c:pt idx="342">
                  <c:v>316.58912769824792</c:v>
                </c:pt>
                <c:pt idx="343">
                  <c:v>316.64255940291639</c:v>
                </c:pt>
                <c:pt idx="344">
                  <c:v>312.20297366893629</c:v>
                </c:pt>
                <c:pt idx="345">
                  <c:v>324.60714182053317</c:v>
                </c:pt>
                <c:pt idx="346">
                  <c:v>322.59783288742</c:v>
                </c:pt>
                <c:pt idx="347">
                  <c:v>299.43208257039095</c:v>
                </c:pt>
                <c:pt idx="348">
                  <c:v>313.27140653151542</c:v>
                </c:pt>
                <c:pt idx="349">
                  <c:v>317.14080427490438</c:v>
                </c:pt>
                <c:pt idx="350">
                  <c:v>321.90362430546111</c:v>
                </c:pt>
                <c:pt idx="351">
                  <c:v>316.43490228274572</c:v>
                </c:pt>
                <c:pt idx="352">
                  <c:v>328.10382513928448</c:v>
                </c:pt>
                <c:pt idx="353">
                  <c:v>325.94500523043848</c:v>
                </c:pt>
                <c:pt idx="354">
                  <c:v>321.87884894166604</c:v>
                </c:pt>
                <c:pt idx="355">
                  <c:v>315.36524100858577</c:v>
                </c:pt>
                <c:pt idx="356">
                  <c:v>363.40593021802846</c:v>
                </c:pt>
                <c:pt idx="357">
                  <c:v>383.45682811193569</c:v>
                </c:pt>
                <c:pt idx="358">
                  <c:v>315.5866617954436</c:v>
                </c:pt>
                <c:pt idx="359">
                  <c:v>314.95079947052022</c:v>
                </c:pt>
                <c:pt idx="360">
                  <c:v>316.47000683808454</c:v>
                </c:pt>
                <c:pt idx="361">
                  <c:v>316.41540508778098</c:v>
                </c:pt>
                <c:pt idx="362">
                  <c:v>310.93176406253878</c:v>
                </c:pt>
                <c:pt idx="363">
                  <c:v>377.4348353856156</c:v>
                </c:pt>
                <c:pt idx="364">
                  <c:v>508.54480383443052</c:v>
                </c:pt>
                <c:pt idx="365">
                  <c:v>1626.9131510883394</c:v>
                </c:pt>
                <c:pt idx="366">
                  <c:v>366.1923336443657</c:v>
                </c:pt>
                <c:pt idx="367">
                  <c:v>366.32061184752621</c:v>
                </c:pt>
                <c:pt idx="368">
                  <c:v>373.10781271947747</c:v>
                </c:pt>
                <c:pt idx="369">
                  <c:v>372.65409704078888</c:v>
                </c:pt>
                <c:pt idx="370">
                  <c:v>63.244498171710696</c:v>
                </c:pt>
                <c:pt idx="371">
                  <c:v>31.454895058243245</c:v>
                </c:pt>
                <c:pt idx="372">
                  <c:v>316.58084594276187</c:v>
                </c:pt>
                <c:pt idx="373">
                  <c:v>348.57132848025321</c:v>
                </c:pt>
                <c:pt idx="374">
                  <c:v>340.64310765060202</c:v>
                </c:pt>
                <c:pt idx="375">
                  <c:v>356.88680757489431</c:v>
                </c:pt>
                <c:pt idx="376">
                  <c:v>327.20818156355125</c:v>
                </c:pt>
                <c:pt idx="377">
                  <c:v>343.77429343241067</c:v>
                </c:pt>
                <c:pt idx="378">
                  <c:v>343.33391051527661</c:v>
                </c:pt>
                <c:pt idx="379">
                  <c:v>344.26713415189948</c:v>
                </c:pt>
                <c:pt idx="380">
                  <c:v>344.08645157524643</c:v>
                </c:pt>
                <c:pt idx="381">
                  <c:v>335.53871371161785</c:v>
                </c:pt>
                <c:pt idx="382">
                  <c:v>327.84068099170645</c:v>
                </c:pt>
                <c:pt idx="383">
                  <c:v>342.02577093770702</c:v>
                </c:pt>
                <c:pt idx="384">
                  <c:v>332.49175990876137</c:v>
                </c:pt>
                <c:pt idx="385">
                  <c:v>339.93024920820261</c:v>
                </c:pt>
                <c:pt idx="386">
                  <c:v>340.84079956534896</c:v>
                </c:pt>
                <c:pt idx="387">
                  <c:v>332.09956630679153</c:v>
                </c:pt>
                <c:pt idx="388">
                  <c:v>337.05972234107981</c:v>
                </c:pt>
                <c:pt idx="389">
                  <c:v>349.30680424400373</c:v>
                </c:pt>
                <c:pt idx="390">
                  <c:v>321.8256816548103</c:v>
                </c:pt>
                <c:pt idx="391">
                  <c:v>337.89607370759285</c:v>
                </c:pt>
                <c:pt idx="392">
                  <c:v>341.42186482371363</c:v>
                </c:pt>
                <c:pt idx="393">
                  <c:v>334.75005762465878</c:v>
                </c:pt>
                <c:pt idx="394">
                  <c:v>316.43692604114062</c:v>
                </c:pt>
                <c:pt idx="395">
                  <c:v>323.90512337052814</c:v>
                </c:pt>
                <c:pt idx="396">
                  <c:v>341.8559406098226</c:v>
                </c:pt>
                <c:pt idx="397">
                  <c:v>336.33874260671291</c:v>
                </c:pt>
                <c:pt idx="398">
                  <c:v>344.09239601810384</c:v>
                </c:pt>
                <c:pt idx="399">
                  <c:v>332.77208188899931</c:v>
                </c:pt>
                <c:pt idx="400">
                  <c:v>338.53250464161852</c:v>
                </c:pt>
                <c:pt idx="401">
                  <c:v>333.18284678991949</c:v>
                </c:pt>
                <c:pt idx="402">
                  <c:v>330.33355958448567</c:v>
                </c:pt>
                <c:pt idx="403">
                  <c:v>336.42450882574542</c:v>
                </c:pt>
                <c:pt idx="404">
                  <c:v>343.19087364681167</c:v>
                </c:pt>
                <c:pt idx="405">
                  <c:v>344.6061096480646</c:v>
                </c:pt>
                <c:pt idx="406">
                  <c:v>341.34200315033286</c:v>
                </c:pt>
                <c:pt idx="407">
                  <c:v>343.77974176091152</c:v>
                </c:pt>
                <c:pt idx="408">
                  <c:v>354.56912920378034</c:v>
                </c:pt>
                <c:pt idx="409">
                  <c:v>340.96731947118963</c:v>
                </c:pt>
                <c:pt idx="410">
                  <c:v>346.92353703682397</c:v>
                </c:pt>
                <c:pt idx="411">
                  <c:v>348.47087415276604</c:v>
                </c:pt>
                <c:pt idx="412">
                  <c:v>367.49510090472313</c:v>
                </c:pt>
                <c:pt idx="413">
                  <c:v>362.10513792802158</c:v>
                </c:pt>
                <c:pt idx="414">
                  <c:v>387.6307346128109</c:v>
                </c:pt>
                <c:pt idx="415">
                  <c:v>398.16564013804663</c:v>
                </c:pt>
                <c:pt idx="416">
                  <c:v>407.14599882352064</c:v>
                </c:pt>
                <c:pt idx="417">
                  <c:v>393.95889894571741</c:v>
                </c:pt>
                <c:pt idx="418">
                  <c:v>370.55467933253243</c:v>
                </c:pt>
                <c:pt idx="419">
                  <c:v>376.66099786136039</c:v>
                </c:pt>
                <c:pt idx="420">
                  <c:v>369.97660572118974</c:v>
                </c:pt>
                <c:pt idx="421">
                  <c:v>366.79685805983934</c:v>
                </c:pt>
                <c:pt idx="422">
                  <c:v>370.91587706021278</c:v>
                </c:pt>
                <c:pt idx="423">
                  <c:v>365.92123390324133</c:v>
                </c:pt>
                <c:pt idx="424">
                  <c:v>357.39366395984928</c:v>
                </c:pt>
                <c:pt idx="425">
                  <c:v>367.20897531526617</c:v>
                </c:pt>
                <c:pt idx="426">
                  <c:v>359.5998695563747</c:v>
                </c:pt>
                <c:pt idx="427">
                  <c:v>359.44742839213336</c:v>
                </c:pt>
                <c:pt idx="428">
                  <c:v>353.7808704637697</c:v>
                </c:pt>
                <c:pt idx="429">
                  <c:v>355.68145799297491</c:v>
                </c:pt>
                <c:pt idx="430">
                  <c:v>354.08646184216957</c:v>
                </c:pt>
                <c:pt idx="431">
                  <c:v>347.76541382484794</c:v>
                </c:pt>
                <c:pt idx="432">
                  <c:v>337.22911693970542</c:v>
                </c:pt>
                <c:pt idx="433">
                  <c:v>355.32924868843708</c:v>
                </c:pt>
                <c:pt idx="434">
                  <c:v>359.28933172598624</c:v>
                </c:pt>
                <c:pt idx="435">
                  <c:v>359.64164951879047</c:v>
                </c:pt>
                <c:pt idx="436">
                  <c:v>363.45388286723323</c:v>
                </c:pt>
                <c:pt idx="437">
                  <c:v>367.73695315575213</c:v>
                </c:pt>
                <c:pt idx="438">
                  <c:v>361.40243947356419</c:v>
                </c:pt>
                <c:pt idx="439">
                  <c:v>364.00877448507492</c:v>
                </c:pt>
                <c:pt idx="440">
                  <c:v>354.83829818901376</c:v>
                </c:pt>
                <c:pt idx="441">
                  <c:v>229.57508709502574</c:v>
                </c:pt>
                <c:pt idx="442">
                  <c:v>350.99516223375554</c:v>
                </c:pt>
                <c:pt idx="443">
                  <c:v>355.08954306655437</c:v>
                </c:pt>
                <c:pt idx="444">
                  <c:v>355.09746339553135</c:v>
                </c:pt>
                <c:pt idx="445">
                  <c:v>349.1847611220951</c:v>
                </c:pt>
                <c:pt idx="446">
                  <c:v>356.8273121125265</c:v>
                </c:pt>
                <c:pt idx="447">
                  <c:v>377.27054275327419</c:v>
                </c:pt>
                <c:pt idx="448">
                  <c:v>376.56415685887373</c:v>
                </c:pt>
                <c:pt idx="449">
                  <c:v>380.18831549830878</c:v>
                </c:pt>
                <c:pt idx="450">
                  <c:v>363.38952262999112</c:v>
                </c:pt>
                <c:pt idx="451">
                  <c:v>355.38039616479529</c:v>
                </c:pt>
                <c:pt idx="452">
                  <c:v>348.41170561069242</c:v>
                </c:pt>
                <c:pt idx="453">
                  <c:v>64.016534654598061</c:v>
                </c:pt>
                <c:pt idx="454">
                  <c:v>0</c:v>
                </c:pt>
                <c:pt idx="455">
                  <c:v>75.701765059500048</c:v>
                </c:pt>
                <c:pt idx="456">
                  <c:v>318.83816483328798</c:v>
                </c:pt>
                <c:pt idx="457">
                  <c:v>369.36491318012537</c:v>
                </c:pt>
                <c:pt idx="458">
                  <c:v>365.08630230064483</c:v>
                </c:pt>
                <c:pt idx="459">
                  <c:v>380.00300743666241</c:v>
                </c:pt>
                <c:pt idx="460">
                  <c:v>373.22470186119261</c:v>
                </c:pt>
                <c:pt idx="461">
                  <c:v>374.52232465793821</c:v>
                </c:pt>
                <c:pt idx="462">
                  <c:v>365.08431987360609</c:v>
                </c:pt>
                <c:pt idx="463">
                  <c:v>365.73900160652181</c:v>
                </c:pt>
                <c:pt idx="464">
                  <c:v>376.72278970231446</c:v>
                </c:pt>
                <c:pt idx="465">
                  <c:v>380.41730843493082</c:v>
                </c:pt>
                <c:pt idx="466">
                  <c:v>387.19063017819985</c:v>
                </c:pt>
                <c:pt idx="467">
                  <c:v>492.26656936470732</c:v>
                </c:pt>
                <c:pt idx="468">
                  <c:v>1658.8064246274539</c:v>
                </c:pt>
                <c:pt idx="469">
                  <c:v>342.73139928733156</c:v>
                </c:pt>
                <c:pt idx="470">
                  <c:v>338.80215650904785</c:v>
                </c:pt>
                <c:pt idx="471">
                  <c:v>350.64752616793589</c:v>
                </c:pt>
                <c:pt idx="472">
                  <c:v>360.61024357518801</c:v>
                </c:pt>
                <c:pt idx="473">
                  <c:v>373.09970615769174</c:v>
                </c:pt>
                <c:pt idx="474">
                  <c:v>357.0979186836293</c:v>
                </c:pt>
                <c:pt idx="475">
                  <c:v>339.44653829772113</c:v>
                </c:pt>
                <c:pt idx="476">
                  <c:v>340.64251092160276</c:v>
                </c:pt>
                <c:pt idx="477">
                  <c:v>353.78168094095389</c:v>
                </c:pt>
                <c:pt idx="478">
                  <c:v>338.17559940447342</c:v>
                </c:pt>
                <c:pt idx="479">
                  <c:v>342.86134876577239</c:v>
                </c:pt>
                <c:pt idx="480">
                  <c:v>354.95032085166122</c:v>
                </c:pt>
                <c:pt idx="481">
                  <c:v>361.9526012306676</c:v>
                </c:pt>
                <c:pt idx="482">
                  <c:v>358.9520133117187</c:v>
                </c:pt>
                <c:pt idx="483">
                  <c:v>366.00667528161853</c:v>
                </c:pt>
                <c:pt idx="484">
                  <c:v>331.82349206714423</c:v>
                </c:pt>
                <c:pt idx="485">
                  <c:v>372.92443980756929</c:v>
                </c:pt>
                <c:pt idx="486">
                  <c:v>351.43548108467212</c:v>
                </c:pt>
                <c:pt idx="487">
                  <c:v>358.18350531478239</c:v>
                </c:pt>
                <c:pt idx="488">
                  <c:v>350.1011857010987</c:v>
                </c:pt>
                <c:pt idx="489">
                  <c:v>349.11748526938811</c:v>
                </c:pt>
                <c:pt idx="490">
                  <c:v>364.37802158073396</c:v>
                </c:pt>
                <c:pt idx="491">
                  <c:v>359.73726392005142</c:v>
                </c:pt>
                <c:pt idx="492">
                  <c:v>365.20433911130891</c:v>
                </c:pt>
                <c:pt idx="493">
                  <c:v>476.91906481069287</c:v>
                </c:pt>
                <c:pt idx="494">
                  <c:v>593.3493473104611</c:v>
                </c:pt>
                <c:pt idx="495">
                  <c:v>1214.2692572280787</c:v>
                </c:pt>
                <c:pt idx="496">
                  <c:v>1505.2078861953989</c:v>
                </c:pt>
                <c:pt idx="497">
                  <c:v>0</c:v>
                </c:pt>
                <c:pt idx="498">
                  <c:v>11316.420766194698</c:v>
                </c:pt>
                <c:pt idx="499">
                  <c:v>358.01196207231186</c:v>
                </c:pt>
                <c:pt idx="500">
                  <c:v>342.34019861409922</c:v>
                </c:pt>
                <c:pt idx="501">
                  <c:v>350.21904916339031</c:v>
                </c:pt>
                <c:pt idx="502">
                  <c:v>346.71635897722479</c:v>
                </c:pt>
                <c:pt idx="503">
                  <c:v>335.48770411709029</c:v>
                </c:pt>
                <c:pt idx="504">
                  <c:v>353.71877207831955</c:v>
                </c:pt>
                <c:pt idx="505">
                  <c:v>351.39619784801567</c:v>
                </c:pt>
                <c:pt idx="506">
                  <c:v>641.23583569015864</c:v>
                </c:pt>
                <c:pt idx="507">
                  <c:v>351.63912497113404</c:v>
                </c:pt>
                <c:pt idx="508">
                  <c:v>369.07807264703212</c:v>
                </c:pt>
                <c:pt idx="509">
                  <c:v>347.92189429660237</c:v>
                </c:pt>
                <c:pt idx="510">
                  <c:v>332.17865718040275</c:v>
                </c:pt>
                <c:pt idx="511">
                  <c:v>343.00928614684119</c:v>
                </c:pt>
                <c:pt idx="512">
                  <c:v>352.76872065598923</c:v>
                </c:pt>
                <c:pt idx="513">
                  <c:v>347.98351516284811</c:v>
                </c:pt>
                <c:pt idx="514">
                  <c:v>354.29068803649193</c:v>
                </c:pt>
                <c:pt idx="515">
                  <c:v>344.40533501617404</c:v>
                </c:pt>
                <c:pt idx="516">
                  <c:v>343.16770453656414</c:v>
                </c:pt>
                <c:pt idx="517">
                  <c:v>349.39433825125678</c:v>
                </c:pt>
                <c:pt idx="518">
                  <c:v>350.34827927677907</c:v>
                </c:pt>
                <c:pt idx="519">
                  <c:v>343.31935707382758</c:v>
                </c:pt>
                <c:pt idx="520">
                  <c:v>341.9869211879971</c:v>
                </c:pt>
                <c:pt idx="521">
                  <c:v>347.74054220292697</c:v>
                </c:pt>
                <c:pt idx="522">
                  <c:v>350.09506657684716</c:v>
                </c:pt>
                <c:pt idx="523">
                  <c:v>349.7545349249487</c:v>
                </c:pt>
                <c:pt idx="524">
                  <c:v>320.52675484821594</c:v>
                </c:pt>
                <c:pt idx="525">
                  <c:v>336.82883013991409</c:v>
                </c:pt>
                <c:pt idx="526">
                  <c:v>273.31964005733658</c:v>
                </c:pt>
                <c:pt idx="527">
                  <c:v>356.26023266947641</c:v>
                </c:pt>
                <c:pt idx="528">
                  <c:v>355.21505993144297</c:v>
                </c:pt>
                <c:pt idx="529">
                  <c:v>368.23996154529806</c:v>
                </c:pt>
                <c:pt idx="530">
                  <c:v>363.44930048389961</c:v>
                </c:pt>
                <c:pt idx="531">
                  <c:v>387.38989281426382</c:v>
                </c:pt>
                <c:pt idx="532">
                  <c:v>363.20886600470465</c:v>
                </c:pt>
                <c:pt idx="533">
                  <c:v>375.47363088414085</c:v>
                </c:pt>
                <c:pt idx="534">
                  <c:v>356.87643744265785</c:v>
                </c:pt>
                <c:pt idx="535">
                  <c:v>355.52290112424282</c:v>
                </c:pt>
                <c:pt idx="536">
                  <c:v>357.28201411231515</c:v>
                </c:pt>
                <c:pt idx="537">
                  <c:v>366.76979148036139</c:v>
                </c:pt>
                <c:pt idx="538">
                  <c:v>370.37578991099349</c:v>
                </c:pt>
                <c:pt idx="539">
                  <c:v>370.95706643407112</c:v>
                </c:pt>
                <c:pt idx="540">
                  <c:v>370.94040932555259</c:v>
                </c:pt>
                <c:pt idx="541">
                  <c:v>375.98574700468095</c:v>
                </c:pt>
                <c:pt idx="542">
                  <c:v>389.68579109696162</c:v>
                </c:pt>
                <c:pt idx="543">
                  <c:v>384.63559917071331</c:v>
                </c:pt>
                <c:pt idx="544">
                  <c:v>396.88599643024457</c:v>
                </c:pt>
                <c:pt idx="545">
                  <c:v>369.04184255495085</c:v>
                </c:pt>
                <c:pt idx="546">
                  <c:v>374.87677114294956</c:v>
                </c:pt>
                <c:pt idx="547">
                  <c:v>370.98570016823425</c:v>
                </c:pt>
                <c:pt idx="548">
                  <c:v>367.86157655021469</c:v>
                </c:pt>
                <c:pt idx="549">
                  <c:v>368.49194799683829</c:v>
                </c:pt>
                <c:pt idx="550">
                  <c:v>346.4315533678037</c:v>
                </c:pt>
                <c:pt idx="551">
                  <c:v>344.47767796267408</c:v>
                </c:pt>
                <c:pt idx="552">
                  <c:v>338.55773966694153</c:v>
                </c:pt>
                <c:pt idx="553">
                  <c:v>334.70450918589057</c:v>
                </c:pt>
                <c:pt idx="554">
                  <c:v>342.97793067966228</c:v>
                </c:pt>
                <c:pt idx="555">
                  <c:v>358.54102620967245</c:v>
                </c:pt>
                <c:pt idx="556">
                  <c:v>365.74071664018487</c:v>
                </c:pt>
                <c:pt idx="557">
                  <c:v>364.95994451615798</c:v>
                </c:pt>
                <c:pt idx="558">
                  <c:v>350.11711875676212</c:v>
                </c:pt>
                <c:pt idx="559">
                  <c:v>350.63553468564101</c:v>
                </c:pt>
                <c:pt idx="560">
                  <c:v>351.97267047223971</c:v>
                </c:pt>
                <c:pt idx="561">
                  <c:v>351.51078196698137</c:v>
                </c:pt>
                <c:pt idx="562">
                  <c:v>369.36743547528812</c:v>
                </c:pt>
                <c:pt idx="563">
                  <c:v>367.07706375490363</c:v>
                </c:pt>
                <c:pt idx="564">
                  <c:v>378.28315878474967</c:v>
                </c:pt>
                <c:pt idx="565">
                  <c:v>350.1670485661009</c:v>
                </c:pt>
                <c:pt idx="566">
                  <c:v>351.47220813748874</c:v>
                </c:pt>
                <c:pt idx="567">
                  <c:v>374.17824445204303</c:v>
                </c:pt>
                <c:pt idx="568">
                  <c:v>383.67010323915252</c:v>
                </c:pt>
                <c:pt idx="569">
                  <c:v>391.41310191981285</c:v>
                </c:pt>
                <c:pt idx="570">
                  <c:v>494.24345248444598</c:v>
                </c:pt>
                <c:pt idx="571">
                  <c:v>395.16501920230019</c:v>
                </c:pt>
                <c:pt idx="572">
                  <c:v>400.1274808562755</c:v>
                </c:pt>
                <c:pt idx="573">
                  <c:v>371.88900189295572</c:v>
                </c:pt>
                <c:pt idx="574">
                  <c:v>373.81606650679169</c:v>
                </c:pt>
                <c:pt idx="575">
                  <c:v>364.70923052543344</c:v>
                </c:pt>
                <c:pt idx="576">
                  <c:v>372.21353402442446</c:v>
                </c:pt>
                <c:pt idx="577">
                  <c:v>385.76133898440219</c:v>
                </c:pt>
                <c:pt idx="578">
                  <c:v>381.58689126815625</c:v>
                </c:pt>
                <c:pt idx="579">
                  <c:v>397.12025851334238</c:v>
                </c:pt>
                <c:pt idx="580">
                  <c:v>399.02734114260596</c:v>
                </c:pt>
                <c:pt idx="581">
                  <c:v>410.65683243631992</c:v>
                </c:pt>
                <c:pt idx="582">
                  <c:v>392.96164598708617</c:v>
                </c:pt>
                <c:pt idx="583">
                  <c:v>369.15065739532349</c:v>
                </c:pt>
                <c:pt idx="584">
                  <c:v>386.01798844419949</c:v>
                </c:pt>
                <c:pt idx="585">
                  <c:v>388.52720818926571</c:v>
                </c:pt>
                <c:pt idx="586">
                  <c:v>394.96022787709694</c:v>
                </c:pt>
                <c:pt idx="587">
                  <c:v>372.71687949552825</c:v>
                </c:pt>
                <c:pt idx="588">
                  <c:v>372.356336026549</c:v>
                </c:pt>
                <c:pt idx="589">
                  <c:v>375.62588420927557</c:v>
                </c:pt>
                <c:pt idx="590">
                  <c:v>234.51212534739554</c:v>
                </c:pt>
                <c:pt idx="591">
                  <c:v>377.01011447387248</c:v>
                </c:pt>
                <c:pt idx="592">
                  <c:v>377.31204513947324</c:v>
                </c:pt>
                <c:pt idx="593">
                  <c:v>357.89273531162644</c:v>
                </c:pt>
                <c:pt idx="594">
                  <c:v>367.45874000797335</c:v>
                </c:pt>
                <c:pt idx="595">
                  <c:v>373.39660908024831</c:v>
                </c:pt>
                <c:pt idx="596">
                  <c:v>364.75680476601144</c:v>
                </c:pt>
                <c:pt idx="597">
                  <c:v>351.45192749511608</c:v>
                </c:pt>
                <c:pt idx="598">
                  <c:v>0.28313893092797177</c:v>
                </c:pt>
                <c:pt idx="599">
                  <c:v>0</c:v>
                </c:pt>
                <c:pt idx="600">
                  <c:v>114.69151730197487</c:v>
                </c:pt>
                <c:pt idx="601">
                  <c:v>107.77057637947594</c:v>
                </c:pt>
                <c:pt idx="602">
                  <c:v>228.7908049501695</c:v>
                </c:pt>
                <c:pt idx="603">
                  <c:v>286.9579768556867</c:v>
                </c:pt>
                <c:pt idx="604">
                  <c:v>336.01774991420604</c:v>
                </c:pt>
                <c:pt idx="605">
                  <c:v>326.23919747704929</c:v>
                </c:pt>
                <c:pt idx="606">
                  <c:v>335.93275187318477</c:v>
                </c:pt>
                <c:pt idx="607">
                  <c:v>378.20765741974202</c:v>
                </c:pt>
                <c:pt idx="608">
                  <c:v>340.50565422529843</c:v>
                </c:pt>
                <c:pt idx="609">
                  <c:v>342.28244688255057</c:v>
                </c:pt>
                <c:pt idx="610">
                  <c:v>351.43589447760166</c:v>
                </c:pt>
                <c:pt idx="611">
                  <c:v>347.88862745375138</c:v>
                </c:pt>
                <c:pt idx="612">
                  <c:v>343.03136224456614</c:v>
                </c:pt>
                <c:pt idx="613">
                  <c:v>309.08614945336325</c:v>
                </c:pt>
                <c:pt idx="614">
                  <c:v>354.32123238641714</c:v>
                </c:pt>
                <c:pt idx="615">
                  <c:v>359.41446655454445</c:v>
                </c:pt>
                <c:pt idx="616">
                  <c:v>394.59206950298358</c:v>
                </c:pt>
                <c:pt idx="617">
                  <c:v>409.13765394635857</c:v>
                </c:pt>
                <c:pt idx="618">
                  <c:v>386.48800012630528</c:v>
                </c:pt>
                <c:pt idx="619">
                  <c:v>388.1002274100249</c:v>
                </c:pt>
                <c:pt idx="620">
                  <c:v>386.56247430616969</c:v>
                </c:pt>
                <c:pt idx="621">
                  <c:v>394.99831738978651</c:v>
                </c:pt>
                <c:pt idx="622">
                  <c:v>359.48076289525471</c:v>
                </c:pt>
                <c:pt idx="623">
                  <c:v>383.21220807357128</c:v>
                </c:pt>
                <c:pt idx="624">
                  <c:v>388.87287969901666</c:v>
                </c:pt>
                <c:pt idx="625">
                  <c:v>418.37927444870138</c:v>
                </c:pt>
                <c:pt idx="626">
                  <c:v>437.23990998563869</c:v>
                </c:pt>
                <c:pt idx="627">
                  <c:v>442.4688415197644</c:v>
                </c:pt>
                <c:pt idx="628">
                  <c:v>66.335924657456857</c:v>
                </c:pt>
                <c:pt idx="629">
                  <c:v>310.19851552016456</c:v>
                </c:pt>
                <c:pt idx="630">
                  <c:v>327.17693873902255</c:v>
                </c:pt>
                <c:pt idx="631">
                  <c:v>324.17123131809745</c:v>
                </c:pt>
                <c:pt idx="632">
                  <c:v>315.40775927505933</c:v>
                </c:pt>
                <c:pt idx="633">
                  <c:v>314.92137430251313</c:v>
                </c:pt>
                <c:pt idx="634">
                  <c:v>311.03647933882399</c:v>
                </c:pt>
                <c:pt idx="635">
                  <c:v>319.40459794769436</c:v>
                </c:pt>
                <c:pt idx="636">
                  <c:v>317.89935956047901</c:v>
                </c:pt>
                <c:pt idx="637">
                  <c:v>336.52231908219221</c:v>
                </c:pt>
                <c:pt idx="638">
                  <c:v>413.05242129426625</c:v>
                </c:pt>
                <c:pt idx="639">
                  <c:v>474.74699724989608</c:v>
                </c:pt>
                <c:pt idx="640">
                  <c:v>527.29287805246179</c:v>
                </c:pt>
                <c:pt idx="641">
                  <c:v>1523.4718574762298</c:v>
                </c:pt>
                <c:pt idx="642">
                  <c:v>0</c:v>
                </c:pt>
                <c:pt idx="643">
                  <c:v>1881.172954195524</c:v>
                </c:pt>
                <c:pt idx="644">
                  <c:v>402.62807287865672</c:v>
                </c:pt>
                <c:pt idx="645">
                  <c:v>386.99240485783554</c:v>
                </c:pt>
                <c:pt idx="646">
                  <c:v>392.638825847627</c:v>
                </c:pt>
                <c:pt idx="647">
                  <c:v>413.39509860901666</c:v>
                </c:pt>
                <c:pt idx="648">
                  <c:v>385.56008921633099</c:v>
                </c:pt>
                <c:pt idx="649">
                  <c:v>361.51415764787976</c:v>
                </c:pt>
                <c:pt idx="650">
                  <c:v>382.86343142424226</c:v>
                </c:pt>
                <c:pt idx="651">
                  <c:v>368.1323632190967</c:v>
                </c:pt>
                <c:pt idx="652">
                  <c:v>372.50194039983671</c:v>
                </c:pt>
                <c:pt idx="653">
                  <c:v>360.36319971294381</c:v>
                </c:pt>
                <c:pt idx="654">
                  <c:v>355.80474996374454</c:v>
                </c:pt>
                <c:pt idx="655">
                  <c:v>565.93690117164181</c:v>
                </c:pt>
                <c:pt idx="656">
                  <c:v>367.53487821906452</c:v>
                </c:pt>
                <c:pt idx="657">
                  <c:v>364.79737155355434</c:v>
                </c:pt>
                <c:pt idx="658">
                  <c:v>370.43606614360942</c:v>
                </c:pt>
                <c:pt idx="659">
                  <c:v>385.03425400263353</c:v>
                </c:pt>
                <c:pt idx="660">
                  <c:v>372.8894837461981</c:v>
                </c:pt>
                <c:pt idx="661">
                  <c:v>385.30476632185201</c:v>
                </c:pt>
                <c:pt idx="662">
                  <c:v>360.75351860163386</c:v>
                </c:pt>
                <c:pt idx="663">
                  <c:v>360.58647461006814</c:v>
                </c:pt>
                <c:pt idx="664">
                  <c:v>357.00262235880979</c:v>
                </c:pt>
                <c:pt idx="665">
                  <c:v>351.75009790566338</c:v>
                </c:pt>
                <c:pt idx="666">
                  <c:v>367.97464848089317</c:v>
                </c:pt>
                <c:pt idx="667">
                  <c:v>362.35393540107901</c:v>
                </c:pt>
                <c:pt idx="668">
                  <c:v>354.70112945309177</c:v>
                </c:pt>
                <c:pt idx="669">
                  <c:v>372.47590994296007</c:v>
                </c:pt>
                <c:pt idx="670">
                  <c:v>344.36393330447623</c:v>
                </c:pt>
                <c:pt idx="671">
                  <c:v>364.90086060228123</c:v>
                </c:pt>
                <c:pt idx="672">
                  <c:v>353.91532400562556</c:v>
                </c:pt>
                <c:pt idx="673">
                  <c:v>342.93018088428903</c:v>
                </c:pt>
                <c:pt idx="674">
                  <c:v>355.68025866460215</c:v>
                </c:pt>
                <c:pt idx="675">
                  <c:v>341.37591317619734</c:v>
                </c:pt>
                <c:pt idx="676">
                  <c:v>348.44115141366075</c:v>
                </c:pt>
                <c:pt idx="677">
                  <c:v>339.42574574902625</c:v>
                </c:pt>
                <c:pt idx="678">
                  <c:v>324.94472742254175</c:v>
                </c:pt>
                <c:pt idx="679">
                  <c:v>344.52575901357062</c:v>
                </c:pt>
                <c:pt idx="680">
                  <c:v>399.79996985214302</c:v>
                </c:pt>
                <c:pt idx="681">
                  <c:v>400.06635615613095</c:v>
                </c:pt>
                <c:pt idx="682">
                  <c:v>398.0087082981064</c:v>
                </c:pt>
                <c:pt idx="683">
                  <c:v>377.25094405040778</c:v>
                </c:pt>
                <c:pt idx="684">
                  <c:v>419.81767078743081</c:v>
                </c:pt>
                <c:pt idx="685">
                  <c:v>368.4866317493109</c:v>
                </c:pt>
                <c:pt idx="686">
                  <c:v>392.06657813043239</c:v>
                </c:pt>
                <c:pt idx="687">
                  <c:v>347.0887643644507</c:v>
                </c:pt>
                <c:pt idx="688">
                  <c:v>328.61650280151355</c:v>
                </c:pt>
                <c:pt idx="689">
                  <c:v>333.56170242955335</c:v>
                </c:pt>
                <c:pt idx="690">
                  <c:v>332.24354275701984</c:v>
                </c:pt>
                <c:pt idx="691">
                  <c:v>329.52218845700969</c:v>
                </c:pt>
                <c:pt idx="692">
                  <c:v>340.17858511538964</c:v>
                </c:pt>
                <c:pt idx="693">
                  <c:v>342.32482516739515</c:v>
                </c:pt>
                <c:pt idx="694">
                  <c:v>336.9637803602904</c:v>
                </c:pt>
                <c:pt idx="695">
                  <c:v>333.92575780086224</c:v>
                </c:pt>
                <c:pt idx="696">
                  <c:v>330.27930153737822</c:v>
                </c:pt>
                <c:pt idx="697">
                  <c:v>350.61538959433659</c:v>
                </c:pt>
                <c:pt idx="698">
                  <c:v>348.32779443057996</c:v>
                </c:pt>
                <c:pt idx="699">
                  <c:v>343.77641900095097</c:v>
                </c:pt>
                <c:pt idx="700">
                  <c:v>347.12513742553568</c:v>
                </c:pt>
                <c:pt idx="701">
                  <c:v>366.47812882256807</c:v>
                </c:pt>
                <c:pt idx="702">
                  <c:v>370.5385527373187</c:v>
                </c:pt>
                <c:pt idx="703">
                  <c:v>335.83702865615436</c:v>
                </c:pt>
                <c:pt idx="704">
                  <c:v>329.22111871692039</c:v>
                </c:pt>
                <c:pt idx="705">
                  <c:v>326.38844841089372</c:v>
                </c:pt>
                <c:pt idx="706">
                  <c:v>345.72750723393727</c:v>
                </c:pt>
                <c:pt idx="707">
                  <c:v>330.37981962926216</c:v>
                </c:pt>
                <c:pt idx="708">
                  <c:v>364.87964674024272</c:v>
                </c:pt>
                <c:pt idx="709">
                  <c:v>356.01610097360646</c:v>
                </c:pt>
                <c:pt idx="710">
                  <c:v>339.31736667597767</c:v>
                </c:pt>
                <c:pt idx="711">
                  <c:v>335.47630889006109</c:v>
                </c:pt>
                <c:pt idx="712">
                  <c:v>354.4231619054591</c:v>
                </c:pt>
                <c:pt idx="713">
                  <c:v>339.97498696123785</c:v>
                </c:pt>
                <c:pt idx="714">
                  <c:v>335.80649534252427</c:v>
                </c:pt>
                <c:pt idx="715">
                  <c:v>332.34548735777878</c:v>
                </c:pt>
                <c:pt idx="716">
                  <c:v>326.33982790877343</c:v>
                </c:pt>
                <c:pt idx="717">
                  <c:v>337.25150394949787</c:v>
                </c:pt>
                <c:pt idx="718">
                  <c:v>332.17421372809156</c:v>
                </c:pt>
                <c:pt idx="719">
                  <c:v>345.69297267911116</c:v>
                </c:pt>
                <c:pt idx="720">
                  <c:v>351.36224811307613</c:v>
                </c:pt>
                <c:pt idx="721">
                  <c:v>338.2282889920973</c:v>
                </c:pt>
                <c:pt idx="722">
                  <c:v>344.06328325988517</c:v>
                </c:pt>
                <c:pt idx="723">
                  <c:v>356.7039290356459</c:v>
                </c:pt>
                <c:pt idx="724">
                  <c:v>402.77551158019787</c:v>
                </c:pt>
                <c:pt idx="725">
                  <c:v>2672.2996481294922</c:v>
                </c:pt>
                <c:pt idx="726">
                  <c:v>1747.6101716864957</c:v>
                </c:pt>
                <c:pt idx="727">
                  <c:v>363.41483308887348</c:v>
                </c:pt>
                <c:pt idx="728">
                  <c:v>352.53877507271949</c:v>
                </c:pt>
                <c:pt idx="729">
                  <c:v>351.43957223867329</c:v>
                </c:pt>
                <c:pt idx="730">
                  <c:v>351.38662093141374</c:v>
                </c:pt>
                <c:pt idx="731">
                  <c:v>335.68565548394417</c:v>
                </c:pt>
                <c:pt idx="732">
                  <c:v>357.59301860000909</c:v>
                </c:pt>
                <c:pt idx="733">
                  <c:v>345.5791601471272</c:v>
                </c:pt>
                <c:pt idx="734">
                  <c:v>346.31333467665723</c:v>
                </c:pt>
                <c:pt idx="735">
                  <c:v>337.3121701782444</c:v>
                </c:pt>
                <c:pt idx="736">
                  <c:v>347.97691352283351</c:v>
                </c:pt>
                <c:pt idx="737">
                  <c:v>340.10617220941816</c:v>
                </c:pt>
                <c:pt idx="738">
                  <c:v>329.94456126493367</c:v>
                </c:pt>
                <c:pt idx="739">
                  <c:v>333.04552083961585</c:v>
                </c:pt>
                <c:pt idx="740">
                  <c:v>316.81717619493963</c:v>
                </c:pt>
                <c:pt idx="741">
                  <c:v>277.49829494463455</c:v>
                </c:pt>
                <c:pt idx="742">
                  <c:v>315.26426964253034</c:v>
                </c:pt>
                <c:pt idx="743">
                  <c:v>343.79931877212226</c:v>
                </c:pt>
                <c:pt idx="744">
                  <c:v>345.75247833091902</c:v>
                </c:pt>
                <c:pt idx="745">
                  <c:v>345.08896959407264</c:v>
                </c:pt>
                <c:pt idx="746">
                  <c:v>346.85140392019582</c:v>
                </c:pt>
                <c:pt idx="747">
                  <c:v>347.84018526026097</c:v>
                </c:pt>
                <c:pt idx="748">
                  <c:v>340.51782096418816</c:v>
                </c:pt>
                <c:pt idx="749">
                  <c:v>355.67470834991002</c:v>
                </c:pt>
                <c:pt idx="750">
                  <c:v>330.04791740473337</c:v>
                </c:pt>
                <c:pt idx="751">
                  <c:v>331.02823886542768</c:v>
                </c:pt>
                <c:pt idx="752">
                  <c:v>347.58440955658705</c:v>
                </c:pt>
                <c:pt idx="753">
                  <c:v>348.19201241888976</c:v>
                </c:pt>
                <c:pt idx="754">
                  <c:v>349.27799938743755</c:v>
                </c:pt>
                <c:pt idx="755">
                  <c:v>332.68948818387764</c:v>
                </c:pt>
                <c:pt idx="756">
                  <c:v>355.33497640133299</c:v>
                </c:pt>
                <c:pt idx="757">
                  <c:v>347.01296660870963</c:v>
                </c:pt>
                <c:pt idx="758">
                  <c:v>355.63821818867359</c:v>
                </c:pt>
                <c:pt idx="759">
                  <c:v>343.74342499788776</c:v>
                </c:pt>
                <c:pt idx="760">
                  <c:v>343.18237375040781</c:v>
                </c:pt>
                <c:pt idx="761">
                  <c:v>360.10646848951905</c:v>
                </c:pt>
                <c:pt idx="762">
                  <c:v>365.14486372920459</c:v>
                </c:pt>
                <c:pt idx="763">
                  <c:v>360.45880091851916</c:v>
                </c:pt>
                <c:pt idx="764">
                  <c:v>358.51261098475817</c:v>
                </c:pt>
                <c:pt idx="765">
                  <c:v>369.89702448298948</c:v>
                </c:pt>
                <c:pt idx="766">
                  <c:v>352.98871331365001</c:v>
                </c:pt>
                <c:pt idx="767">
                  <c:v>378.48735625752812</c:v>
                </c:pt>
                <c:pt idx="768">
                  <c:v>367.00700284929627</c:v>
                </c:pt>
                <c:pt idx="769">
                  <c:v>363.57156752876989</c:v>
                </c:pt>
                <c:pt idx="770">
                  <c:v>367.46074877269291</c:v>
                </c:pt>
                <c:pt idx="771">
                  <c:v>364.63828837087567</c:v>
                </c:pt>
                <c:pt idx="772">
                  <c:v>366.19821288503641</c:v>
                </c:pt>
                <c:pt idx="773">
                  <c:v>352.38177547291531</c:v>
                </c:pt>
                <c:pt idx="774">
                  <c:v>348.87611007477176</c:v>
                </c:pt>
                <c:pt idx="775">
                  <c:v>350.79614154664483</c:v>
                </c:pt>
                <c:pt idx="776">
                  <c:v>355.39198280003984</c:v>
                </c:pt>
                <c:pt idx="777">
                  <c:v>363.93032044411439</c:v>
                </c:pt>
                <c:pt idx="778">
                  <c:v>353.89470286598288</c:v>
                </c:pt>
                <c:pt idx="779">
                  <c:v>349.98319699997251</c:v>
                </c:pt>
                <c:pt idx="780">
                  <c:v>348.02795538245527</c:v>
                </c:pt>
                <c:pt idx="781">
                  <c:v>351.7392443910511</c:v>
                </c:pt>
                <c:pt idx="782">
                  <c:v>355.24503984448796</c:v>
                </c:pt>
                <c:pt idx="783">
                  <c:v>335.42605293429006</c:v>
                </c:pt>
                <c:pt idx="784">
                  <c:v>361.76221526183633</c:v>
                </c:pt>
                <c:pt idx="785">
                  <c:v>340.06259825206803</c:v>
                </c:pt>
                <c:pt idx="786">
                  <c:v>370.76448569904841</c:v>
                </c:pt>
                <c:pt idx="787">
                  <c:v>377.82255044680039</c:v>
                </c:pt>
                <c:pt idx="788">
                  <c:v>415.47828714916352</c:v>
                </c:pt>
                <c:pt idx="789">
                  <c:v>1179.3179669305125</c:v>
                </c:pt>
                <c:pt idx="790">
                  <c:v>359.91147268744356</c:v>
                </c:pt>
                <c:pt idx="791">
                  <c:v>345.96103703394834</c:v>
                </c:pt>
                <c:pt idx="792">
                  <c:v>359.45571415908546</c:v>
                </c:pt>
                <c:pt idx="793">
                  <c:v>370.45161570866765</c:v>
                </c:pt>
                <c:pt idx="794">
                  <c:v>365.0406841539081</c:v>
                </c:pt>
                <c:pt idx="795">
                  <c:v>71.602671717716007</c:v>
                </c:pt>
                <c:pt idx="796">
                  <c:v>104.82203822768749</c:v>
                </c:pt>
                <c:pt idx="797">
                  <c:v>379.91980498091624</c:v>
                </c:pt>
                <c:pt idx="798">
                  <c:v>373.74126928096126</c:v>
                </c:pt>
                <c:pt idx="799">
                  <c:v>339.10721666399945</c:v>
                </c:pt>
                <c:pt idx="800">
                  <c:v>385.77829391201175</c:v>
                </c:pt>
                <c:pt idx="801">
                  <c:v>369.73535848800287</c:v>
                </c:pt>
                <c:pt idx="802">
                  <c:v>382.67723497949379</c:v>
                </c:pt>
                <c:pt idx="803">
                  <c:v>389.6918827329452</c:v>
                </c:pt>
                <c:pt idx="804">
                  <c:v>383.3535720042106</c:v>
                </c:pt>
                <c:pt idx="805">
                  <c:v>407.79417404989988</c:v>
                </c:pt>
                <c:pt idx="806">
                  <c:v>396.74767437722346</c:v>
                </c:pt>
                <c:pt idx="807">
                  <c:v>384.03353936090372</c:v>
                </c:pt>
                <c:pt idx="808">
                  <c:v>370.63815178761229</c:v>
                </c:pt>
                <c:pt idx="809">
                  <c:v>378.2596661878577</c:v>
                </c:pt>
                <c:pt idx="810">
                  <c:v>382.08199675523394</c:v>
                </c:pt>
                <c:pt idx="811">
                  <c:v>374.6734077493864</c:v>
                </c:pt>
                <c:pt idx="812">
                  <c:v>386.765634781605</c:v>
                </c:pt>
                <c:pt idx="813">
                  <c:v>405.27610938618267</c:v>
                </c:pt>
                <c:pt idx="814">
                  <c:v>397.89338627518754</c:v>
                </c:pt>
                <c:pt idx="815">
                  <c:v>398.70765251718177</c:v>
                </c:pt>
                <c:pt idx="816">
                  <c:v>390.54140145195038</c:v>
                </c:pt>
                <c:pt idx="817">
                  <c:v>371.97306981134773</c:v>
                </c:pt>
                <c:pt idx="818">
                  <c:v>374.21347053434766</c:v>
                </c:pt>
                <c:pt idx="819">
                  <c:v>379.12726376197855</c:v>
                </c:pt>
                <c:pt idx="820">
                  <c:v>375.62679039751839</c:v>
                </c:pt>
                <c:pt idx="821">
                  <c:v>387.9345511810485</c:v>
                </c:pt>
                <c:pt idx="822">
                  <c:v>382.67809571471997</c:v>
                </c:pt>
                <c:pt idx="823">
                  <c:v>383.72738257721164</c:v>
                </c:pt>
                <c:pt idx="824">
                  <c:v>385.66071310877078</c:v>
                </c:pt>
                <c:pt idx="825">
                  <c:v>399.03580810799497</c:v>
                </c:pt>
                <c:pt idx="826">
                  <c:v>382.220126688969</c:v>
                </c:pt>
                <c:pt idx="827">
                  <c:v>377.28827172734191</c:v>
                </c:pt>
                <c:pt idx="828">
                  <c:v>244.15101208862072</c:v>
                </c:pt>
                <c:pt idx="829">
                  <c:v>358.67005110197925</c:v>
                </c:pt>
                <c:pt idx="830">
                  <c:v>407.74645731395003</c:v>
                </c:pt>
                <c:pt idx="831">
                  <c:v>414.51922347797023</c:v>
                </c:pt>
                <c:pt idx="832">
                  <c:v>381.10062884332456</c:v>
                </c:pt>
                <c:pt idx="833">
                  <c:v>404.73632800111221</c:v>
                </c:pt>
                <c:pt idx="834">
                  <c:v>396.91771124717945</c:v>
                </c:pt>
                <c:pt idx="835">
                  <c:v>370.46916237259308</c:v>
                </c:pt>
                <c:pt idx="836">
                  <c:v>376.35125568490378</c:v>
                </c:pt>
                <c:pt idx="837">
                  <c:v>368.88382653767047</c:v>
                </c:pt>
                <c:pt idx="838">
                  <c:v>361.04295454582893</c:v>
                </c:pt>
                <c:pt idx="839">
                  <c:v>366.63671884796815</c:v>
                </c:pt>
                <c:pt idx="840">
                  <c:v>367.08627874282229</c:v>
                </c:pt>
                <c:pt idx="841">
                  <c:v>365.782124987119</c:v>
                </c:pt>
                <c:pt idx="842">
                  <c:v>365.33279105203667</c:v>
                </c:pt>
                <c:pt idx="843">
                  <c:v>363.33394002655132</c:v>
                </c:pt>
                <c:pt idx="844">
                  <c:v>368.33669576699168</c:v>
                </c:pt>
                <c:pt idx="845">
                  <c:v>360.13146812590054</c:v>
                </c:pt>
                <c:pt idx="846">
                  <c:v>377.55262978525707</c:v>
                </c:pt>
                <c:pt idx="847">
                  <c:v>349.91509453852774</c:v>
                </c:pt>
                <c:pt idx="848">
                  <c:v>346.59264059034052</c:v>
                </c:pt>
                <c:pt idx="849">
                  <c:v>355.86235244290185</c:v>
                </c:pt>
                <c:pt idx="850">
                  <c:v>357.61491528428058</c:v>
                </c:pt>
                <c:pt idx="851">
                  <c:v>354.02537982155047</c:v>
                </c:pt>
                <c:pt idx="852">
                  <c:v>375.74432500170673</c:v>
                </c:pt>
                <c:pt idx="853">
                  <c:v>366.75057231534265</c:v>
                </c:pt>
                <c:pt idx="854">
                  <c:v>364.05929449986741</c:v>
                </c:pt>
                <c:pt idx="855">
                  <c:v>360.31800277593487</c:v>
                </c:pt>
                <c:pt idx="856">
                  <c:v>378.18844197586554</c:v>
                </c:pt>
                <c:pt idx="857">
                  <c:v>372.33811091193803</c:v>
                </c:pt>
                <c:pt idx="858">
                  <c:v>374.7173055009373</c:v>
                </c:pt>
                <c:pt idx="859">
                  <c:v>381.51524055058815</c:v>
                </c:pt>
                <c:pt idx="860">
                  <c:v>452.99991479941559</c:v>
                </c:pt>
                <c:pt idx="861">
                  <c:v>828.75275679294089</c:v>
                </c:pt>
                <c:pt idx="862">
                  <c:v>1020.0422995727218</c:v>
                </c:pt>
                <c:pt idx="863">
                  <c:v>359.53484915568805</c:v>
                </c:pt>
                <c:pt idx="864">
                  <c:v>468.3410324904234</c:v>
                </c:pt>
                <c:pt idx="865">
                  <c:v>616.60959662322648</c:v>
                </c:pt>
                <c:pt idx="866">
                  <c:v>380.41528623609992</c:v>
                </c:pt>
                <c:pt idx="867">
                  <c:v>387.27353018774301</c:v>
                </c:pt>
                <c:pt idx="868">
                  <c:v>416.84897990084045</c:v>
                </c:pt>
                <c:pt idx="869">
                  <c:v>37.137981853669423</c:v>
                </c:pt>
                <c:pt idx="870">
                  <c:v>18.033588212834392</c:v>
                </c:pt>
                <c:pt idx="871">
                  <c:v>345.3714504530659</c:v>
                </c:pt>
                <c:pt idx="872">
                  <c:v>352.83163776248887</c:v>
                </c:pt>
                <c:pt idx="873">
                  <c:v>362.26125330798715</c:v>
                </c:pt>
                <c:pt idx="874">
                  <c:v>361.16988847891588</c:v>
                </c:pt>
                <c:pt idx="875">
                  <c:v>365.09397384807693</c:v>
                </c:pt>
                <c:pt idx="876">
                  <c:v>359.21112454650427</c:v>
                </c:pt>
                <c:pt idx="877">
                  <c:v>361.68435176381547</c:v>
                </c:pt>
                <c:pt idx="878">
                  <c:v>356.9753520086482</c:v>
                </c:pt>
                <c:pt idx="879">
                  <c:v>356.81666626371452</c:v>
                </c:pt>
                <c:pt idx="880">
                  <c:v>355.59510938499335</c:v>
                </c:pt>
                <c:pt idx="881">
                  <c:v>364.09848015269637</c:v>
                </c:pt>
                <c:pt idx="882">
                  <c:v>363.43043574162073</c:v>
                </c:pt>
                <c:pt idx="883">
                  <c:v>363.73841529898812</c:v>
                </c:pt>
                <c:pt idx="884">
                  <c:v>373.58351883284308</c:v>
                </c:pt>
                <c:pt idx="885">
                  <c:v>365.58672975124813</c:v>
                </c:pt>
                <c:pt idx="886">
                  <c:v>376.26091333322813</c:v>
                </c:pt>
                <c:pt idx="887">
                  <c:v>357.95079647536244</c:v>
                </c:pt>
                <c:pt idx="888">
                  <c:v>344.32667173293504</c:v>
                </c:pt>
                <c:pt idx="889">
                  <c:v>343.62210913876186</c:v>
                </c:pt>
                <c:pt idx="890">
                  <c:v>348.19556329884887</c:v>
                </c:pt>
                <c:pt idx="891">
                  <c:v>349.35536917366534</c:v>
                </c:pt>
                <c:pt idx="892">
                  <c:v>355.78922874704392</c:v>
                </c:pt>
                <c:pt idx="893">
                  <c:v>354.42501285851023</c:v>
                </c:pt>
                <c:pt idx="894">
                  <c:v>342.23991405532462</c:v>
                </c:pt>
                <c:pt idx="895">
                  <c:v>345.52943660934193</c:v>
                </c:pt>
                <c:pt idx="896">
                  <c:v>360.3006984918963</c:v>
                </c:pt>
                <c:pt idx="897">
                  <c:v>344.47685546017101</c:v>
                </c:pt>
                <c:pt idx="898">
                  <c:v>335.47400101085225</c:v>
                </c:pt>
                <c:pt idx="899">
                  <c:v>332.04910563577425</c:v>
                </c:pt>
                <c:pt idx="900">
                  <c:v>338.0419272466392</c:v>
                </c:pt>
                <c:pt idx="901">
                  <c:v>321.92758885821496</c:v>
                </c:pt>
                <c:pt idx="902">
                  <c:v>341.87741897981266</c:v>
                </c:pt>
                <c:pt idx="903">
                  <c:v>329.43653413269618</c:v>
                </c:pt>
                <c:pt idx="904">
                  <c:v>321.88418696458518</c:v>
                </c:pt>
                <c:pt idx="905">
                  <c:v>343.40574374636628</c:v>
                </c:pt>
                <c:pt idx="906">
                  <c:v>338.35101230291173</c:v>
                </c:pt>
                <c:pt idx="907">
                  <c:v>336.60477967644732</c:v>
                </c:pt>
                <c:pt idx="908">
                  <c:v>350.45662910826087</c:v>
                </c:pt>
                <c:pt idx="909">
                  <c:v>388.57534500021694</c:v>
                </c:pt>
                <c:pt idx="910">
                  <c:v>350.1300103285148</c:v>
                </c:pt>
                <c:pt idx="911">
                  <c:v>355.86872375669316</c:v>
                </c:pt>
                <c:pt idx="912">
                  <c:v>347.18452663730301</c:v>
                </c:pt>
                <c:pt idx="913">
                  <c:v>324.872804580793</c:v>
                </c:pt>
                <c:pt idx="914">
                  <c:v>344.13264322388773</c:v>
                </c:pt>
                <c:pt idx="915">
                  <c:v>388.63512426023487</c:v>
                </c:pt>
                <c:pt idx="916">
                  <c:v>364.65429758015131</c:v>
                </c:pt>
                <c:pt idx="917">
                  <c:v>337.1969911119624</c:v>
                </c:pt>
                <c:pt idx="918">
                  <c:v>375.83614279121832</c:v>
                </c:pt>
                <c:pt idx="919">
                  <c:v>372.76385295685139</c:v>
                </c:pt>
                <c:pt idx="920">
                  <c:v>386.26279474638642</c:v>
                </c:pt>
                <c:pt idx="921">
                  <c:v>383.47020826022185</c:v>
                </c:pt>
                <c:pt idx="922">
                  <c:v>395.31350404274093</c:v>
                </c:pt>
                <c:pt idx="923">
                  <c:v>382.78016141333438</c:v>
                </c:pt>
                <c:pt idx="924">
                  <c:v>363.29486843502366</c:v>
                </c:pt>
                <c:pt idx="925">
                  <c:v>387.85447030305392</c:v>
                </c:pt>
                <c:pt idx="926">
                  <c:v>342.10122164133918</c:v>
                </c:pt>
                <c:pt idx="927">
                  <c:v>334.15625323159622</c:v>
                </c:pt>
                <c:pt idx="928">
                  <c:v>355.39809062251749</c:v>
                </c:pt>
                <c:pt idx="929">
                  <c:v>373.07794162312831</c:v>
                </c:pt>
                <c:pt idx="930">
                  <c:v>378.32054080110612</c:v>
                </c:pt>
                <c:pt idx="931">
                  <c:v>379.92716063862702</c:v>
                </c:pt>
                <c:pt idx="932">
                  <c:v>375.61137370192915</c:v>
                </c:pt>
                <c:pt idx="933">
                  <c:v>365.73452070957808</c:v>
                </c:pt>
                <c:pt idx="934">
                  <c:v>371.34520338212457</c:v>
                </c:pt>
                <c:pt idx="935">
                  <c:v>360.46369428918837</c:v>
                </c:pt>
                <c:pt idx="936">
                  <c:v>359.28426418996156</c:v>
                </c:pt>
                <c:pt idx="937">
                  <c:v>369.37426809321857</c:v>
                </c:pt>
                <c:pt idx="938">
                  <c:v>379.61989940955516</c:v>
                </c:pt>
                <c:pt idx="939">
                  <c:v>350.48965411778568</c:v>
                </c:pt>
                <c:pt idx="940">
                  <c:v>343.88591863250383</c:v>
                </c:pt>
                <c:pt idx="941">
                  <c:v>351.85554753483802</c:v>
                </c:pt>
                <c:pt idx="942">
                  <c:v>351.9779736162385</c:v>
                </c:pt>
                <c:pt idx="943">
                  <c:v>351.32361807022045</c:v>
                </c:pt>
                <c:pt idx="944">
                  <c:v>349.58759615049098</c:v>
                </c:pt>
                <c:pt idx="945">
                  <c:v>352.2152227738278</c:v>
                </c:pt>
                <c:pt idx="946">
                  <c:v>355.42080101016847</c:v>
                </c:pt>
                <c:pt idx="947">
                  <c:v>348.45964235154224</c:v>
                </c:pt>
                <c:pt idx="948">
                  <c:v>352.82363904094461</c:v>
                </c:pt>
                <c:pt idx="949">
                  <c:v>356.96194369243318</c:v>
                </c:pt>
                <c:pt idx="950">
                  <c:v>360.16521046887294</c:v>
                </c:pt>
                <c:pt idx="951">
                  <c:v>363.05205518887129</c:v>
                </c:pt>
                <c:pt idx="952">
                  <c:v>351.77697572541371</c:v>
                </c:pt>
                <c:pt idx="953">
                  <c:v>356.44371540371628</c:v>
                </c:pt>
                <c:pt idx="954">
                  <c:v>376.44212995009701</c:v>
                </c:pt>
                <c:pt idx="955">
                  <c:v>440.61205791489834</c:v>
                </c:pt>
                <c:pt idx="956">
                  <c:v>2763.3934085195929</c:v>
                </c:pt>
                <c:pt idx="957">
                  <c:v>1943.1216145025317</c:v>
                </c:pt>
                <c:pt idx="958">
                  <c:v>376.38670821508555</c:v>
                </c:pt>
                <c:pt idx="959">
                  <c:v>358.23005005488625</c:v>
                </c:pt>
                <c:pt idx="960">
                  <c:v>352.8452965602242</c:v>
                </c:pt>
                <c:pt idx="961">
                  <c:v>244.92129502485756</c:v>
                </c:pt>
                <c:pt idx="962">
                  <c:v>310.97283294278424</c:v>
                </c:pt>
                <c:pt idx="963">
                  <c:v>372.79385028603195</c:v>
                </c:pt>
                <c:pt idx="964">
                  <c:v>128.79471751674561</c:v>
                </c:pt>
                <c:pt idx="965">
                  <c:v>162.79075721579147</c:v>
                </c:pt>
                <c:pt idx="966">
                  <c:v>301.96827114923872</c:v>
                </c:pt>
                <c:pt idx="967">
                  <c:v>346.22754102005507</c:v>
                </c:pt>
                <c:pt idx="968">
                  <c:v>351.31127662590535</c:v>
                </c:pt>
                <c:pt idx="969">
                  <c:v>361.13678616851604</c:v>
                </c:pt>
                <c:pt idx="970">
                  <c:v>341.64554390641695</c:v>
                </c:pt>
                <c:pt idx="971">
                  <c:v>352.14365222491466</c:v>
                </c:pt>
                <c:pt idx="972">
                  <c:v>347.91997694057045</c:v>
                </c:pt>
                <c:pt idx="973">
                  <c:v>343.69234672711383</c:v>
                </c:pt>
                <c:pt idx="974">
                  <c:v>356.19611394853536</c:v>
                </c:pt>
                <c:pt idx="975">
                  <c:v>356.03046554087814</c:v>
                </c:pt>
                <c:pt idx="976">
                  <c:v>349.48604607692522</c:v>
                </c:pt>
                <c:pt idx="977">
                  <c:v>354.00111113281963</c:v>
                </c:pt>
                <c:pt idx="978">
                  <c:v>355.59254597092661</c:v>
                </c:pt>
                <c:pt idx="979">
                  <c:v>353.05645431463353</c:v>
                </c:pt>
                <c:pt idx="980">
                  <c:v>354.26419856580753</c:v>
                </c:pt>
                <c:pt idx="981">
                  <c:v>346.14006659405044</c:v>
                </c:pt>
                <c:pt idx="982">
                  <c:v>355.49135569703191</c:v>
                </c:pt>
                <c:pt idx="983">
                  <c:v>350.16163085244881</c:v>
                </c:pt>
                <c:pt idx="984">
                  <c:v>359.03977197306796</c:v>
                </c:pt>
                <c:pt idx="985">
                  <c:v>356.42752448392122</c:v>
                </c:pt>
                <c:pt idx="986">
                  <c:v>366.69800966288329</c:v>
                </c:pt>
                <c:pt idx="987">
                  <c:v>355.90358460742959</c:v>
                </c:pt>
                <c:pt idx="988">
                  <c:v>343.78588178967493</c:v>
                </c:pt>
                <c:pt idx="989">
                  <c:v>344.87650857757762</c:v>
                </c:pt>
                <c:pt idx="990">
                  <c:v>338.02118692142255</c:v>
                </c:pt>
                <c:pt idx="991">
                  <c:v>336.44944308954769</c:v>
                </c:pt>
                <c:pt idx="992">
                  <c:v>357.3090993147124</c:v>
                </c:pt>
                <c:pt idx="993">
                  <c:v>356.82725895884454</c:v>
                </c:pt>
                <c:pt idx="994">
                  <c:v>389.53929782522073</c:v>
                </c:pt>
                <c:pt idx="995">
                  <c:v>362.05706161223543</c:v>
                </c:pt>
                <c:pt idx="996">
                  <c:v>363.19939058576011</c:v>
                </c:pt>
                <c:pt idx="997">
                  <c:v>418.49246917152232</c:v>
                </c:pt>
                <c:pt idx="998">
                  <c:v>579.88654140562517</c:v>
                </c:pt>
                <c:pt idx="999">
                  <c:v>408.39090609794096</c:v>
                </c:pt>
                <c:pt idx="1000">
                  <c:v>395.91856186275965</c:v>
                </c:pt>
                <c:pt idx="1001">
                  <c:v>406.06177457963202</c:v>
                </c:pt>
                <c:pt idx="1002">
                  <c:v>371.50648446047688</c:v>
                </c:pt>
                <c:pt idx="1003">
                  <c:v>386.68927275225911</c:v>
                </c:pt>
                <c:pt idx="1004">
                  <c:v>392.8095604131845</c:v>
                </c:pt>
                <c:pt idx="1005">
                  <c:v>397.09470814107095</c:v>
                </c:pt>
                <c:pt idx="1006">
                  <c:v>404.17708105340319</c:v>
                </c:pt>
                <c:pt idx="1007">
                  <c:v>389.00410310272315</c:v>
                </c:pt>
                <c:pt idx="1008">
                  <c:v>399.97229943609949</c:v>
                </c:pt>
                <c:pt idx="1009">
                  <c:v>386.6740746257247</c:v>
                </c:pt>
                <c:pt idx="1010">
                  <c:v>370.88855475904035</c:v>
                </c:pt>
                <c:pt idx="1011">
                  <c:v>371.73200232938609</c:v>
                </c:pt>
                <c:pt idx="1012">
                  <c:v>380.71223899228073</c:v>
                </c:pt>
                <c:pt idx="1013">
                  <c:v>368.72652712788295</c:v>
                </c:pt>
                <c:pt idx="1014">
                  <c:v>375.15175412999662</c:v>
                </c:pt>
                <c:pt idx="1015">
                  <c:v>374.98682877647389</c:v>
                </c:pt>
                <c:pt idx="1016">
                  <c:v>380.72017517740267</c:v>
                </c:pt>
                <c:pt idx="1017">
                  <c:v>388.24895638067801</c:v>
                </c:pt>
                <c:pt idx="1018">
                  <c:v>382.82369075155532</c:v>
                </c:pt>
                <c:pt idx="1019">
                  <c:v>370.14275570233576</c:v>
                </c:pt>
                <c:pt idx="1020">
                  <c:v>376.47923585305466</c:v>
                </c:pt>
                <c:pt idx="1021">
                  <c:v>373.27421823995314</c:v>
                </c:pt>
                <c:pt idx="1022">
                  <c:v>376.58450963450093</c:v>
                </c:pt>
                <c:pt idx="1023">
                  <c:v>412.18840980425892</c:v>
                </c:pt>
                <c:pt idx="1024">
                  <c:v>378.86862309330763</c:v>
                </c:pt>
                <c:pt idx="1025">
                  <c:v>382.92737658547549</c:v>
                </c:pt>
                <c:pt idx="1026">
                  <c:v>399.13132399200316</c:v>
                </c:pt>
                <c:pt idx="1027">
                  <c:v>428.23825592755139</c:v>
                </c:pt>
                <c:pt idx="1028">
                  <c:v>425.89418039149842</c:v>
                </c:pt>
                <c:pt idx="1029">
                  <c:v>420.2828371335483</c:v>
                </c:pt>
                <c:pt idx="1030">
                  <c:v>1012.1885904345506</c:v>
                </c:pt>
                <c:pt idx="1031">
                  <c:v>2066.9402517967851</c:v>
                </c:pt>
                <c:pt idx="1032">
                  <c:v>393.34602550433459</c:v>
                </c:pt>
                <c:pt idx="1033">
                  <c:v>381.34486501249671</c:v>
                </c:pt>
                <c:pt idx="1034">
                  <c:v>379.35311004996845</c:v>
                </c:pt>
                <c:pt idx="1035">
                  <c:v>377.32799569933582</c:v>
                </c:pt>
                <c:pt idx="1036">
                  <c:v>412.52344899977913</c:v>
                </c:pt>
                <c:pt idx="1037">
                  <c:v>97.103022774876848</c:v>
                </c:pt>
                <c:pt idx="1038">
                  <c:v>318.28830280732376</c:v>
                </c:pt>
                <c:pt idx="1039">
                  <c:v>355.9627986367654</c:v>
                </c:pt>
                <c:pt idx="1040">
                  <c:v>363.49041151698361</c:v>
                </c:pt>
                <c:pt idx="1041">
                  <c:v>378.83726375907577</c:v>
                </c:pt>
                <c:pt idx="1042">
                  <c:v>376.89919118056736</c:v>
                </c:pt>
                <c:pt idx="1043">
                  <c:v>435.10513934202373</c:v>
                </c:pt>
                <c:pt idx="1044">
                  <c:v>366.59586457333535</c:v>
                </c:pt>
                <c:pt idx="1045">
                  <c:v>350.88491323190073</c:v>
                </c:pt>
                <c:pt idx="1046">
                  <c:v>353.2005998460458</c:v>
                </c:pt>
                <c:pt idx="1047">
                  <c:v>346.16939284012938</c:v>
                </c:pt>
                <c:pt idx="1048">
                  <c:v>355.47859654051621</c:v>
                </c:pt>
                <c:pt idx="1049">
                  <c:v>350.5453142382745</c:v>
                </c:pt>
                <c:pt idx="1050">
                  <c:v>354.99775875671122</c:v>
                </c:pt>
                <c:pt idx="1051">
                  <c:v>352.66220244364018</c:v>
                </c:pt>
                <c:pt idx="1052">
                  <c:v>354.76488147665299</c:v>
                </c:pt>
                <c:pt idx="1053">
                  <c:v>366.20297261196868</c:v>
                </c:pt>
                <c:pt idx="1054">
                  <c:v>397.52370948413562</c:v>
                </c:pt>
                <c:pt idx="1055">
                  <c:v>402.07443167607602</c:v>
                </c:pt>
                <c:pt idx="1056">
                  <c:v>384.798056957212</c:v>
                </c:pt>
                <c:pt idx="1057">
                  <c:v>375.21345927146092</c:v>
                </c:pt>
                <c:pt idx="1058">
                  <c:v>382.01008438784203</c:v>
                </c:pt>
                <c:pt idx="1059">
                  <c:v>364.19599314250172</c:v>
                </c:pt>
                <c:pt idx="1060">
                  <c:v>367.10249868914008</c:v>
                </c:pt>
                <c:pt idx="1061">
                  <c:v>373.52565846435078</c:v>
                </c:pt>
                <c:pt idx="1062">
                  <c:v>384.54959665777363</c:v>
                </c:pt>
                <c:pt idx="1063">
                  <c:v>386.65601198664456</c:v>
                </c:pt>
                <c:pt idx="1064">
                  <c:v>388.14744034170906</c:v>
                </c:pt>
                <c:pt idx="1065">
                  <c:v>396.72111881460359</c:v>
                </c:pt>
                <c:pt idx="1066">
                  <c:v>395.61796246538154</c:v>
                </c:pt>
                <c:pt idx="1067">
                  <c:v>392.25190968507627</c:v>
                </c:pt>
                <c:pt idx="1068">
                  <c:v>380.61780463219799</c:v>
                </c:pt>
                <c:pt idx="1069">
                  <c:v>378.8031934147196</c:v>
                </c:pt>
                <c:pt idx="1070">
                  <c:v>386.01716204563655</c:v>
                </c:pt>
                <c:pt idx="1071">
                  <c:v>399.29231892089035</c:v>
                </c:pt>
                <c:pt idx="1072">
                  <c:v>376.33614256673707</c:v>
                </c:pt>
                <c:pt idx="1073">
                  <c:v>377.66883787492475</c:v>
                </c:pt>
                <c:pt idx="1074">
                  <c:v>361.03776822143891</c:v>
                </c:pt>
                <c:pt idx="1075">
                  <c:v>385.3535349764598</c:v>
                </c:pt>
                <c:pt idx="1076">
                  <c:v>419.37551076779204</c:v>
                </c:pt>
                <c:pt idx="1077">
                  <c:v>380.60974541204132</c:v>
                </c:pt>
                <c:pt idx="1078">
                  <c:v>382.39554406382285</c:v>
                </c:pt>
                <c:pt idx="1079">
                  <c:v>381.72020978941214</c:v>
                </c:pt>
                <c:pt idx="1080">
                  <c:v>380.71974388604031</c:v>
                </c:pt>
                <c:pt idx="1081">
                  <c:v>386.68504877342014</c:v>
                </c:pt>
                <c:pt idx="1082">
                  <c:v>376.08163923760532</c:v>
                </c:pt>
                <c:pt idx="1083">
                  <c:v>385.87334528493358</c:v>
                </c:pt>
                <c:pt idx="1084">
                  <c:v>486.23491824576092</c:v>
                </c:pt>
                <c:pt idx="1085">
                  <c:v>505.83533130697117</c:v>
                </c:pt>
                <c:pt idx="1086">
                  <c:v>411.2195252279671</c:v>
                </c:pt>
                <c:pt idx="1087">
                  <c:v>410.05553977571975</c:v>
                </c:pt>
                <c:pt idx="1088">
                  <c:v>390.22377336838724</c:v>
                </c:pt>
                <c:pt idx="1089">
                  <c:v>377.81275211523234</c:v>
                </c:pt>
                <c:pt idx="1090">
                  <c:v>372.4554183276685</c:v>
                </c:pt>
                <c:pt idx="1091">
                  <c:v>375.83639364357862</c:v>
                </c:pt>
                <c:pt idx="1092">
                  <c:v>373.51110036451553</c:v>
                </c:pt>
                <c:pt idx="1093">
                  <c:v>370.05385790814256</c:v>
                </c:pt>
                <c:pt idx="1094">
                  <c:v>375.37487276373452</c:v>
                </c:pt>
                <c:pt idx="1095">
                  <c:v>374.66614197773782</c:v>
                </c:pt>
              </c:numCache>
            </c:numRef>
          </c:xVal>
          <c:yVal>
            <c:numRef>
              <c:f>'Parameters ranges for ANN step1'!$AV$3:$AV$1131</c:f>
              <c:numCache>
                <c:formatCode>0.0000</c:formatCode>
                <c:ptCount val="1129"/>
                <c:pt idx="0">
                  <c:v>281.7310242415839</c:v>
                </c:pt>
                <c:pt idx="1">
                  <c:v>280.54230235056002</c:v>
                </c:pt>
                <c:pt idx="2">
                  <c:v>271.80282553606332</c:v>
                </c:pt>
                <c:pt idx="3">
                  <c:v>271.97165623925764</c:v>
                </c:pt>
                <c:pt idx="4">
                  <c:v>278.31748766708085</c:v>
                </c:pt>
                <c:pt idx="5">
                  <c:v>281.05401655230048</c:v>
                </c:pt>
                <c:pt idx="6">
                  <c:v>286.32188989480414</c:v>
                </c:pt>
                <c:pt idx="7">
                  <c:v>275.05510194271108</c:v>
                </c:pt>
                <c:pt idx="8">
                  <c:v>277.84054787215018</c:v>
                </c:pt>
                <c:pt idx="9">
                  <c:v>279.95565441548115</c:v>
                </c:pt>
                <c:pt idx="10">
                  <c:v>273.75306164166511</c:v>
                </c:pt>
                <c:pt idx="11">
                  <c:v>274.8880975912989</c:v>
                </c:pt>
                <c:pt idx="12">
                  <c:v>278.61392552557538</c:v>
                </c:pt>
                <c:pt idx="13">
                  <c:v>293.36180221659777</c:v>
                </c:pt>
                <c:pt idx="14">
                  <c:v>281.97889520648744</c:v>
                </c:pt>
                <c:pt idx="15">
                  <c:v>274.91528488747304</c:v>
                </c:pt>
                <c:pt idx="16">
                  <c:v>271.83207947105723</c:v>
                </c:pt>
                <c:pt idx="17">
                  <c:v>274.82510348656012</c:v>
                </c:pt>
                <c:pt idx="18">
                  <c:v>284.96399554825643</c:v>
                </c:pt>
                <c:pt idx="19">
                  <c:v>273.25444858913534</c:v>
                </c:pt>
                <c:pt idx="20">
                  <c:v>277.29966597133853</c:v>
                </c:pt>
                <c:pt idx="21">
                  <c:v>273.14768861711593</c:v>
                </c:pt>
                <c:pt idx="22">
                  <c:v>278.3499056871625</c:v>
                </c:pt>
                <c:pt idx="23">
                  <c:v>281.22537557652925</c:v>
                </c:pt>
                <c:pt idx="24">
                  <c:v>278.2303478693492</c:v>
                </c:pt>
                <c:pt idx="25">
                  <c:v>275.32689315975847</c:v>
                </c:pt>
                <c:pt idx="26">
                  <c:v>288.95282793490605</c:v>
                </c:pt>
                <c:pt idx="27">
                  <c:v>280.57906144003334</c:v>
                </c:pt>
                <c:pt idx="28">
                  <c:v>279.36027086428237</c:v>
                </c:pt>
                <c:pt idx="29">
                  <c:v>281.17479393959593</c:v>
                </c:pt>
                <c:pt idx="30">
                  <c:v>284.62139288037611</c:v>
                </c:pt>
                <c:pt idx="31">
                  <c:v>273.64610481865509</c:v>
                </c:pt>
                <c:pt idx="32">
                  <c:v>282.22840530473729</c:v>
                </c:pt>
                <c:pt idx="33">
                  <c:v>280.17666488887471</c:v>
                </c:pt>
                <c:pt idx="34">
                  <c:v>284.41129479856215</c:v>
                </c:pt>
                <c:pt idx="35">
                  <c:v>273.24130026615114</c:v>
                </c:pt>
                <c:pt idx="36">
                  <c:v>271.61030593980684</c:v>
                </c:pt>
                <c:pt idx="37">
                  <c:v>285.16408198647412</c:v>
                </c:pt>
                <c:pt idx="38">
                  <c:v>276.14102297745546</c:v>
                </c:pt>
                <c:pt idx="39">
                  <c:v>282.34877274508347</c:v>
                </c:pt>
                <c:pt idx="40">
                  <c:v>279.23553304455868</c:v>
                </c:pt>
                <c:pt idx="41">
                  <c:v>277.82853886991848</c:v>
                </c:pt>
                <c:pt idx="42">
                  <c:v>279.48514545053069</c:v>
                </c:pt>
                <c:pt idx="43">
                  <c:v>292.9320122053482</c:v>
                </c:pt>
                <c:pt idx="44">
                  <c:v>274.62201769886985</c:v>
                </c:pt>
                <c:pt idx="45">
                  <c:v>334.51197849652249</c:v>
                </c:pt>
                <c:pt idx="46">
                  <c:v>235.5877423128984</c:v>
                </c:pt>
                <c:pt idx="47">
                  <c:v>281.00402560667521</c:v>
                </c:pt>
                <c:pt idx="48">
                  <c:v>282.25213628194854</c:v>
                </c:pt>
                <c:pt idx="49">
                  <c:v>278.03699057654592</c:v>
                </c:pt>
                <c:pt idx="50">
                  <c:v>275.12614023304843</c:v>
                </c:pt>
                <c:pt idx="51">
                  <c:v>279.21051362325193</c:v>
                </c:pt>
                <c:pt idx="52">
                  <c:v>275.45282559372379</c:v>
                </c:pt>
                <c:pt idx="53">
                  <c:v>276.21089791037241</c:v>
                </c:pt>
                <c:pt idx="54">
                  <c:v>275.26206438568192</c:v>
                </c:pt>
                <c:pt idx="55">
                  <c:v>273.58122866380268</c:v>
                </c:pt>
                <c:pt idx="56">
                  <c:v>273.14089689646949</c:v>
                </c:pt>
                <c:pt idx="57">
                  <c:v>287.79528632396352</c:v>
                </c:pt>
                <c:pt idx="58">
                  <c:v>284.85931051242255</c:v>
                </c:pt>
                <c:pt idx="59">
                  <c:v>279.27667716419739</c:v>
                </c:pt>
                <c:pt idx="60">
                  <c:v>263.29082445487154</c:v>
                </c:pt>
                <c:pt idx="61">
                  <c:v>276.87525792674114</c:v>
                </c:pt>
                <c:pt idx="62">
                  <c:v>278.06704463690096</c:v>
                </c:pt>
                <c:pt idx="63">
                  <c:v>277.28150595089824</c:v>
                </c:pt>
                <c:pt idx="64">
                  <c:v>270.65275313644554</c:v>
                </c:pt>
                <c:pt idx="65">
                  <c:v>277.29047001508127</c:v>
                </c:pt>
                <c:pt idx="66">
                  <c:v>276.98796784350475</c:v>
                </c:pt>
                <c:pt idx="67">
                  <c:v>280.77989136421138</c:v>
                </c:pt>
                <c:pt idx="68">
                  <c:v>276.99300425266358</c:v>
                </c:pt>
                <c:pt idx="69">
                  <c:v>247.7833412359671</c:v>
                </c:pt>
                <c:pt idx="70">
                  <c:v>282.58536459609149</c:v>
                </c:pt>
                <c:pt idx="71">
                  <c:v>284.80508176429794</c:v>
                </c:pt>
                <c:pt idx="72">
                  <c:v>281.95781863024695</c:v>
                </c:pt>
                <c:pt idx="73">
                  <c:v>272.49716307186725</c:v>
                </c:pt>
                <c:pt idx="74">
                  <c:v>275.56195653349766</c:v>
                </c:pt>
                <c:pt idx="75">
                  <c:v>270.77879238789421</c:v>
                </c:pt>
                <c:pt idx="76">
                  <c:v>276.60483480750236</c:v>
                </c:pt>
                <c:pt idx="77">
                  <c:v>270.0438489821737</c:v>
                </c:pt>
                <c:pt idx="78">
                  <c:v>273.35009137348231</c:v>
                </c:pt>
                <c:pt idx="79">
                  <c:v>274.81469754927798</c:v>
                </c:pt>
                <c:pt idx="80">
                  <c:v>275.96241815792428</c:v>
                </c:pt>
                <c:pt idx="81">
                  <c:v>278.94910973502317</c:v>
                </c:pt>
                <c:pt idx="82">
                  <c:v>273.56473045852385</c:v>
                </c:pt>
                <c:pt idx="83">
                  <c:v>275.61858590919064</c:v>
                </c:pt>
                <c:pt idx="84">
                  <c:v>278.00188244783078</c:v>
                </c:pt>
                <c:pt idx="85">
                  <c:v>280.50174809364034</c:v>
                </c:pt>
                <c:pt idx="86">
                  <c:v>279.49116499295997</c:v>
                </c:pt>
                <c:pt idx="87">
                  <c:v>273.74554395831115</c:v>
                </c:pt>
                <c:pt idx="88">
                  <c:v>273.67818243399984</c:v>
                </c:pt>
                <c:pt idx="89">
                  <c:v>278.31139377558407</c:v>
                </c:pt>
                <c:pt idx="90">
                  <c:v>276.46456393819938</c:v>
                </c:pt>
                <c:pt idx="91">
                  <c:v>278.16175493388846</c:v>
                </c:pt>
                <c:pt idx="92">
                  <c:v>279.07764225026699</c:v>
                </c:pt>
                <c:pt idx="93">
                  <c:v>273.35245532202157</c:v>
                </c:pt>
                <c:pt idx="94">
                  <c:v>282.8510336176264</c:v>
                </c:pt>
                <c:pt idx="95">
                  <c:v>281.47404661194014</c:v>
                </c:pt>
                <c:pt idx="96">
                  <c:v>278.2245792703502</c:v>
                </c:pt>
                <c:pt idx="97">
                  <c:v>279.01459907581636</c:v>
                </c:pt>
                <c:pt idx="98">
                  <c:v>274.05462565832056</c:v>
                </c:pt>
                <c:pt idx="99">
                  <c:v>277.65912054529667</c:v>
                </c:pt>
                <c:pt idx="100">
                  <c:v>275.27296800045099</c:v>
                </c:pt>
                <c:pt idx="101">
                  <c:v>280.52749416141728</c:v>
                </c:pt>
                <c:pt idx="102">
                  <c:v>279.85270022084228</c:v>
                </c:pt>
                <c:pt idx="103">
                  <c:v>280.38807080663571</c:v>
                </c:pt>
                <c:pt idx="104">
                  <c:v>287.63717809794798</c:v>
                </c:pt>
                <c:pt idx="105">
                  <c:v>293.13003411451325</c:v>
                </c:pt>
                <c:pt idx="106">
                  <c:v>287.80243527473237</c:v>
                </c:pt>
                <c:pt idx="107">
                  <c:v>284.02324238820859</c:v>
                </c:pt>
                <c:pt idx="108">
                  <c:v>283.63416158872997</c:v>
                </c:pt>
                <c:pt idx="109">
                  <c:v>283.80364897158506</c:v>
                </c:pt>
                <c:pt idx="110">
                  <c:v>281.66376537957399</c:v>
                </c:pt>
                <c:pt idx="111">
                  <c:v>280.41588293139171</c:v>
                </c:pt>
                <c:pt idx="112">
                  <c:v>281.83778747099029</c:v>
                </c:pt>
                <c:pt idx="113">
                  <c:v>281.03289153620096</c:v>
                </c:pt>
                <c:pt idx="114">
                  <c:v>284.35417059837914</c:v>
                </c:pt>
                <c:pt idx="115">
                  <c:v>281.3536700778717</c:v>
                </c:pt>
                <c:pt idx="116">
                  <c:v>277.61045667443739</c:v>
                </c:pt>
                <c:pt idx="117">
                  <c:v>280.25955869413224</c:v>
                </c:pt>
                <c:pt idx="118">
                  <c:v>271.29078783200612</c:v>
                </c:pt>
                <c:pt idx="119">
                  <c:v>284.80811296939896</c:v>
                </c:pt>
                <c:pt idx="120">
                  <c:v>275.99764842001639</c:v>
                </c:pt>
                <c:pt idx="121">
                  <c:v>287.26726215411486</c:v>
                </c:pt>
                <c:pt idx="122">
                  <c:v>287.41530565429082</c:v>
                </c:pt>
                <c:pt idx="123">
                  <c:v>286.09966328775772</c:v>
                </c:pt>
                <c:pt idx="124">
                  <c:v>282.39440745373076</c:v>
                </c:pt>
                <c:pt idx="125">
                  <c:v>286.92084283823931</c:v>
                </c:pt>
                <c:pt idx="126">
                  <c:v>284.44894269012264</c:v>
                </c:pt>
                <c:pt idx="127">
                  <c:v>281.74166899381373</c:v>
                </c:pt>
                <c:pt idx="128">
                  <c:v>281.0443953819605</c:v>
                </c:pt>
                <c:pt idx="129">
                  <c:v>282.71511037736832</c:v>
                </c:pt>
                <c:pt idx="130">
                  <c:v>283.80091700565436</c:v>
                </c:pt>
                <c:pt idx="131">
                  <c:v>287.4474359391819</c:v>
                </c:pt>
                <c:pt idx="132">
                  <c:v>287.86692017371877</c:v>
                </c:pt>
                <c:pt idx="133">
                  <c:v>278.53646321130589</c:v>
                </c:pt>
                <c:pt idx="134">
                  <c:v>284.21338409541465</c:v>
                </c:pt>
                <c:pt idx="135">
                  <c:v>288.11190985635085</c:v>
                </c:pt>
                <c:pt idx="136">
                  <c:v>275.8618681882142</c:v>
                </c:pt>
                <c:pt idx="137">
                  <c:v>279.17287422468701</c:v>
                </c:pt>
                <c:pt idx="138">
                  <c:v>279.56876477681794</c:v>
                </c:pt>
                <c:pt idx="139">
                  <c:v>275.34246121802278</c:v>
                </c:pt>
                <c:pt idx="140">
                  <c:v>283.25022799181306</c:v>
                </c:pt>
                <c:pt idx="141">
                  <c:v>290.91199354854587</c:v>
                </c:pt>
                <c:pt idx="142">
                  <c:v>292.26217250565651</c:v>
                </c:pt>
                <c:pt idx="143">
                  <c:v>295.23661269844786</c:v>
                </c:pt>
                <c:pt idx="144">
                  <c:v>425.58117531805783</c:v>
                </c:pt>
                <c:pt idx="145">
                  <c:v>1971.7383412306644</c:v>
                </c:pt>
                <c:pt idx="146">
                  <c:v>0</c:v>
                </c:pt>
                <c:pt idx="147">
                  <c:v>0</c:v>
                </c:pt>
                <c:pt idx="148">
                  <c:v>0</c:v>
                </c:pt>
                <c:pt idx="149">
                  <c:v>320.63874961778856</c:v>
                </c:pt>
                <c:pt idx="150">
                  <c:v>277.51011605019562</c:v>
                </c:pt>
                <c:pt idx="151">
                  <c:v>280.68506845325476</c:v>
                </c:pt>
                <c:pt idx="152">
                  <c:v>277.01542761090661</c:v>
                </c:pt>
                <c:pt idx="153">
                  <c:v>274.32427744831034</c:v>
                </c:pt>
                <c:pt idx="154">
                  <c:v>274.32562272082896</c:v>
                </c:pt>
                <c:pt idx="155">
                  <c:v>278.23401610154804</c:v>
                </c:pt>
                <c:pt idx="156">
                  <c:v>278.72407715771044</c:v>
                </c:pt>
                <c:pt idx="157">
                  <c:v>277.07167964276096</c:v>
                </c:pt>
                <c:pt idx="158">
                  <c:v>283.15114080526416</c:v>
                </c:pt>
                <c:pt idx="159">
                  <c:v>281.2465940738158</c:v>
                </c:pt>
                <c:pt idx="160">
                  <c:v>284.28403591014307</c:v>
                </c:pt>
                <c:pt idx="161">
                  <c:v>287.416694613461</c:v>
                </c:pt>
                <c:pt idx="162">
                  <c:v>286.92973291542228</c:v>
                </c:pt>
                <c:pt idx="163">
                  <c:v>276.75950241773546</c:v>
                </c:pt>
                <c:pt idx="164">
                  <c:v>273.70570868440473</c:v>
                </c:pt>
                <c:pt idx="165">
                  <c:v>274.74291440493676</c:v>
                </c:pt>
                <c:pt idx="166">
                  <c:v>281.6206259138412</c:v>
                </c:pt>
                <c:pt idx="167">
                  <c:v>280.96043993450769</c:v>
                </c:pt>
                <c:pt idx="168">
                  <c:v>282.16429602750395</c:v>
                </c:pt>
                <c:pt idx="169">
                  <c:v>277.40329019532328</c:v>
                </c:pt>
                <c:pt idx="170">
                  <c:v>284.54927753176207</c:v>
                </c:pt>
                <c:pt idx="171">
                  <c:v>292.87711611225609</c:v>
                </c:pt>
                <c:pt idx="172">
                  <c:v>284.67561857988414</c:v>
                </c:pt>
                <c:pt idx="173">
                  <c:v>287.90630371309055</c:v>
                </c:pt>
                <c:pt idx="174">
                  <c:v>289.73559639944483</c:v>
                </c:pt>
                <c:pt idx="175">
                  <c:v>286.26928404865532</c:v>
                </c:pt>
                <c:pt idx="176">
                  <c:v>293.93598426724054</c:v>
                </c:pt>
                <c:pt idx="177">
                  <c:v>288.57010989218816</c:v>
                </c:pt>
                <c:pt idx="178">
                  <c:v>281.25442327543351</c:v>
                </c:pt>
                <c:pt idx="179">
                  <c:v>288.85248175579136</c:v>
                </c:pt>
                <c:pt idx="180">
                  <c:v>287.53568614680148</c:v>
                </c:pt>
                <c:pt idx="181">
                  <c:v>279.69833640718832</c:v>
                </c:pt>
                <c:pt idx="182">
                  <c:v>287.14881618540301</c:v>
                </c:pt>
                <c:pt idx="183">
                  <c:v>283.60377313841911</c:v>
                </c:pt>
                <c:pt idx="184">
                  <c:v>286.54269971618908</c:v>
                </c:pt>
                <c:pt idx="185">
                  <c:v>285.1147583927094</c:v>
                </c:pt>
                <c:pt idx="186">
                  <c:v>285.03579391044434</c:v>
                </c:pt>
                <c:pt idx="187">
                  <c:v>284.39453088939501</c:v>
                </c:pt>
                <c:pt idx="188">
                  <c:v>286.03704460491815</c:v>
                </c:pt>
                <c:pt idx="189">
                  <c:v>284.20653683115256</c:v>
                </c:pt>
                <c:pt idx="190">
                  <c:v>284.59382854580815</c:v>
                </c:pt>
                <c:pt idx="191">
                  <c:v>286.75674677900236</c:v>
                </c:pt>
                <c:pt idx="192">
                  <c:v>285.71310521690395</c:v>
                </c:pt>
                <c:pt idx="193">
                  <c:v>285.43771657811442</c:v>
                </c:pt>
                <c:pt idx="194">
                  <c:v>286.94778629819291</c:v>
                </c:pt>
                <c:pt idx="195">
                  <c:v>285.47383721913025</c:v>
                </c:pt>
                <c:pt idx="196">
                  <c:v>286.84626558399248</c:v>
                </c:pt>
                <c:pt idx="197">
                  <c:v>284.07340734052309</c:v>
                </c:pt>
                <c:pt idx="198">
                  <c:v>282.87543326321781</c:v>
                </c:pt>
                <c:pt idx="199">
                  <c:v>283.01984897502041</c:v>
                </c:pt>
                <c:pt idx="200">
                  <c:v>287.15256221823211</c:v>
                </c:pt>
                <c:pt idx="201">
                  <c:v>283.27126393716139</c:v>
                </c:pt>
                <c:pt idx="202">
                  <c:v>285.19159311762212</c:v>
                </c:pt>
                <c:pt idx="203">
                  <c:v>285.42718845636341</c:v>
                </c:pt>
                <c:pt idx="204">
                  <c:v>282.63256935860261</c:v>
                </c:pt>
                <c:pt idx="205">
                  <c:v>282.47753154274983</c:v>
                </c:pt>
                <c:pt idx="206">
                  <c:v>290.71386728182938</c:v>
                </c:pt>
                <c:pt idx="207">
                  <c:v>282.99462920982444</c:v>
                </c:pt>
                <c:pt idx="208">
                  <c:v>278.67305791662966</c:v>
                </c:pt>
                <c:pt idx="209">
                  <c:v>286.63312612634115</c:v>
                </c:pt>
                <c:pt idx="210">
                  <c:v>277.30791631479815</c:v>
                </c:pt>
                <c:pt idx="211">
                  <c:v>281.24375880403568</c:v>
                </c:pt>
                <c:pt idx="212">
                  <c:v>279.20515925285667</c:v>
                </c:pt>
                <c:pt idx="213">
                  <c:v>285.32918731701261</c:v>
                </c:pt>
                <c:pt idx="214">
                  <c:v>296.15340284645663</c:v>
                </c:pt>
                <c:pt idx="215">
                  <c:v>285.08713038874282</c:v>
                </c:pt>
                <c:pt idx="216">
                  <c:v>279.51000185510873</c:v>
                </c:pt>
                <c:pt idx="217">
                  <c:v>284.11402845608063</c:v>
                </c:pt>
                <c:pt idx="218">
                  <c:v>278.71838047712185</c:v>
                </c:pt>
                <c:pt idx="219">
                  <c:v>278.33309667283163</c:v>
                </c:pt>
                <c:pt idx="220">
                  <c:v>274.23171463611129</c:v>
                </c:pt>
                <c:pt idx="221">
                  <c:v>280.17270264352362</c:v>
                </c:pt>
                <c:pt idx="222">
                  <c:v>277.61444421728277</c:v>
                </c:pt>
                <c:pt idx="223">
                  <c:v>280.62448328323273</c:v>
                </c:pt>
                <c:pt idx="224">
                  <c:v>274.10124768124138</c:v>
                </c:pt>
                <c:pt idx="225">
                  <c:v>257.99780101349563</c:v>
                </c:pt>
                <c:pt idx="226">
                  <c:v>272.91477670939787</c:v>
                </c:pt>
                <c:pt idx="227">
                  <c:v>271.32045734863675</c:v>
                </c:pt>
                <c:pt idx="228">
                  <c:v>277.31025093215737</c:v>
                </c:pt>
                <c:pt idx="229">
                  <c:v>272.05048253370228</c:v>
                </c:pt>
                <c:pt idx="230">
                  <c:v>280.46053619063264</c:v>
                </c:pt>
                <c:pt idx="231">
                  <c:v>277.6402578259756</c:v>
                </c:pt>
                <c:pt idx="232">
                  <c:v>278.71243397575938</c:v>
                </c:pt>
                <c:pt idx="233">
                  <c:v>280.22903569194034</c:v>
                </c:pt>
                <c:pt idx="234">
                  <c:v>279.73096443371276</c:v>
                </c:pt>
                <c:pt idx="235">
                  <c:v>286.09450762412791</c:v>
                </c:pt>
                <c:pt idx="236">
                  <c:v>283.49987431296711</c:v>
                </c:pt>
                <c:pt idx="237">
                  <c:v>281.53354863771096</c:v>
                </c:pt>
                <c:pt idx="238">
                  <c:v>279.63461047980923</c:v>
                </c:pt>
                <c:pt idx="239">
                  <c:v>282.40042299664719</c:v>
                </c:pt>
                <c:pt idx="240">
                  <c:v>298.40320491652926</c:v>
                </c:pt>
                <c:pt idx="241">
                  <c:v>299.72807940029668</c:v>
                </c:pt>
                <c:pt idx="242">
                  <c:v>299.27271533102157</c:v>
                </c:pt>
                <c:pt idx="243">
                  <c:v>287.48172674954776</c:v>
                </c:pt>
                <c:pt idx="244">
                  <c:v>289.1249355605072</c:v>
                </c:pt>
                <c:pt idx="245">
                  <c:v>276.88025628308321</c:v>
                </c:pt>
                <c:pt idx="246">
                  <c:v>300.54842337576213</c:v>
                </c:pt>
                <c:pt idx="247">
                  <c:v>306.20921416657416</c:v>
                </c:pt>
                <c:pt idx="248">
                  <c:v>283.8738930349341</c:v>
                </c:pt>
                <c:pt idx="249">
                  <c:v>277.40720564963158</c:v>
                </c:pt>
                <c:pt idx="250">
                  <c:v>299.64341768594443</c:v>
                </c:pt>
                <c:pt idx="251">
                  <c:v>309.96382055032245</c:v>
                </c:pt>
                <c:pt idx="252">
                  <c:v>291.16669580683856</c:v>
                </c:pt>
                <c:pt idx="253">
                  <c:v>298.29276532772622</c:v>
                </c:pt>
                <c:pt idx="254">
                  <c:v>291.1904070553968</c:v>
                </c:pt>
                <c:pt idx="255">
                  <c:v>301.17956921096106</c:v>
                </c:pt>
                <c:pt idx="256">
                  <c:v>280.20111540354412</c:v>
                </c:pt>
                <c:pt idx="257">
                  <c:v>282.33665268113862</c:v>
                </c:pt>
                <c:pt idx="258">
                  <c:v>288.44386235234379</c:v>
                </c:pt>
                <c:pt idx="259">
                  <c:v>314.3667891298627</c:v>
                </c:pt>
                <c:pt idx="260">
                  <c:v>239.10012285199537</c:v>
                </c:pt>
                <c:pt idx="261">
                  <c:v>279.96809956854429</c:v>
                </c:pt>
                <c:pt idx="262">
                  <c:v>286.35917555065555</c:v>
                </c:pt>
                <c:pt idx="263">
                  <c:v>278.3768800541302</c:v>
                </c:pt>
                <c:pt idx="264">
                  <c:v>284.15957174884863</c:v>
                </c:pt>
                <c:pt idx="265">
                  <c:v>284.14959920150659</c:v>
                </c:pt>
                <c:pt idx="266">
                  <c:v>291.76442475111457</c:v>
                </c:pt>
                <c:pt idx="267">
                  <c:v>257.32233903263534</c:v>
                </c:pt>
                <c:pt idx="268">
                  <c:v>278.93944500939483</c:v>
                </c:pt>
                <c:pt idx="269">
                  <c:v>286.80059241226047</c:v>
                </c:pt>
                <c:pt idx="270">
                  <c:v>288.71421527608015</c:v>
                </c:pt>
                <c:pt idx="271">
                  <c:v>283.65776444976154</c:v>
                </c:pt>
                <c:pt idx="272">
                  <c:v>277.42774653246727</c:v>
                </c:pt>
                <c:pt idx="273">
                  <c:v>279.94893411135411</c:v>
                </c:pt>
                <c:pt idx="274">
                  <c:v>285.57475587628551</c:v>
                </c:pt>
                <c:pt idx="275">
                  <c:v>289.04181091723945</c:v>
                </c:pt>
                <c:pt idx="276">
                  <c:v>285.92328826982578</c:v>
                </c:pt>
                <c:pt idx="277">
                  <c:v>288.39161844232592</c:v>
                </c:pt>
                <c:pt idx="278">
                  <c:v>299.87078989632289</c:v>
                </c:pt>
                <c:pt idx="279">
                  <c:v>284.89351057538386</c:v>
                </c:pt>
                <c:pt idx="280">
                  <c:v>275.58552388850148</c:v>
                </c:pt>
                <c:pt idx="281">
                  <c:v>280.94331223099073</c:v>
                </c:pt>
                <c:pt idx="282">
                  <c:v>277.98735091860863</c:v>
                </c:pt>
                <c:pt idx="283">
                  <c:v>277.3244340402133</c:v>
                </c:pt>
                <c:pt idx="284">
                  <c:v>276.71560608160678</c:v>
                </c:pt>
                <c:pt idx="285">
                  <c:v>279.64226413281028</c:v>
                </c:pt>
                <c:pt idx="286">
                  <c:v>278.64224833429296</c:v>
                </c:pt>
                <c:pt idx="287">
                  <c:v>281.85346735218957</c:v>
                </c:pt>
                <c:pt idx="288">
                  <c:v>285.73003022062312</c:v>
                </c:pt>
                <c:pt idx="289">
                  <c:v>285.30556529133298</c:v>
                </c:pt>
                <c:pt idx="290">
                  <c:v>285.32676213115008</c:v>
                </c:pt>
                <c:pt idx="291">
                  <c:v>301.81075980561445</c:v>
                </c:pt>
                <c:pt idx="292">
                  <c:v>287.46511480345225</c:v>
                </c:pt>
                <c:pt idx="293">
                  <c:v>290.20460051079749</c:v>
                </c:pt>
                <c:pt idx="294">
                  <c:v>287.32640652743873</c:v>
                </c:pt>
                <c:pt idx="295">
                  <c:v>290.0350603790065</c:v>
                </c:pt>
                <c:pt idx="296">
                  <c:v>283.37537648956754</c:v>
                </c:pt>
                <c:pt idx="297">
                  <c:v>279.97315011863827</c:v>
                </c:pt>
                <c:pt idx="298">
                  <c:v>283.27159813736807</c:v>
                </c:pt>
                <c:pt idx="299">
                  <c:v>282.06091800673869</c:v>
                </c:pt>
                <c:pt idx="300">
                  <c:v>286.88399432149686</c:v>
                </c:pt>
                <c:pt idx="301">
                  <c:v>284.52775506061334</c:v>
                </c:pt>
                <c:pt idx="302">
                  <c:v>284.81197398755819</c:v>
                </c:pt>
                <c:pt idx="303">
                  <c:v>280.42431120064896</c:v>
                </c:pt>
                <c:pt idx="304">
                  <c:v>283.0358097498106</c:v>
                </c:pt>
                <c:pt idx="305">
                  <c:v>274.91439550475172</c:v>
                </c:pt>
                <c:pt idx="306">
                  <c:v>282.38949805698985</c:v>
                </c:pt>
                <c:pt idx="307">
                  <c:v>281.29804236453879</c:v>
                </c:pt>
                <c:pt idx="308">
                  <c:v>274.95821324215126</c:v>
                </c:pt>
                <c:pt idx="309">
                  <c:v>284.94001409146551</c:v>
                </c:pt>
                <c:pt idx="310">
                  <c:v>281.78472064690152</c:v>
                </c:pt>
                <c:pt idx="311">
                  <c:v>280.28624448485232</c:v>
                </c:pt>
                <c:pt idx="312">
                  <c:v>286.84360501695414</c:v>
                </c:pt>
                <c:pt idx="313">
                  <c:v>280.80249736371979</c:v>
                </c:pt>
                <c:pt idx="314">
                  <c:v>283.5116756740008</c:v>
                </c:pt>
                <c:pt idx="315">
                  <c:v>282.97086426949761</c:v>
                </c:pt>
                <c:pt idx="316">
                  <c:v>288.59047386556483</c:v>
                </c:pt>
                <c:pt idx="317">
                  <c:v>284.0849572436814</c:v>
                </c:pt>
                <c:pt idx="318">
                  <c:v>280.14527791037483</c:v>
                </c:pt>
                <c:pt idx="319">
                  <c:v>279.91458628262455</c:v>
                </c:pt>
                <c:pt idx="320">
                  <c:v>285.12897966783066</c:v>
                </c:pt>
                <c:pt idx="321">
                  <c:v>284.30139701689041</c:v>
                </c:pt>
                <c:pt idx="322">
                  <c:v>280.31307450119914</c:v>
                </c:pt>
                <c:pt idx="323">
                  <c:v>284.40357533099109</c:v>
                </c:pt>
                <c:pt idx="324">
                  <c:v>281.14782135494318</c:v>
                </c:pt>
                <c:pt idx="325">
                  <c:v>278.12567567299493</c:v>
                </c:pt>
                <c:pt idx="326">
                  <c:v>275.98971557999027</c:v>
                </c:pt>
                <c:pt idx="327">
                  <c:v>276.7197836099607</c:v>
                </c:pt>
                <c:pt idx="328">
                  <c:v>276.1252085500206</c:v>
                </c:pt>
                <c:pt idx="329">
                  <c:v>280.74805947638242</c:v>
                </c:pt>
                <c:pt idx="330">
                  <c:v>277.96482867533859</c:v>
                </c:pt>
                <c:pt idx="331">
                  <c:v>283.32021751491391</c:v>
                </c:pt>
                <c:pt idx="332">
                  <c:v>280.24516477490181</c:v>
                </c:pt>
                <c:pt idx="333">
                  <c:v>279.51095796047116</c:v>
                </c:pt>
                <c:pt idx="334">
                  <c:v>290.31091834436995</c:v>
                </c:pt>
                <c:pt idx="335">
                  <c:v>265.29353888134006</c:v>
                </c:pt>
                <c:pt idx="336">
                  <c:v>285.03361783071944</c:v>
                </c:pt>
                <c:pt idx="337">
                  <c:v>280.51987515885162</c:v>
                </c:pt>
                <c:pt idx="338">
                  <c:v>279.6732559346741</c:v>
                </c:pt>
                <c:pt idx="339">
                  <c:v>276.54074558214188</c:v>
                </c:pt>
                <c:pt idx="340">
                  <c:v>276.00874433432625</c:v>
                </c:pt>
                <c:pt idx="341">
                  <c:v>273.58129283026722</c:v>
                </c:pt>
                <c:pt idx="342">
                  <c:v>274.78766853286425</c:v>
                </c:pt>
                <c:pt idx="343">
                  <c:v>277.49507275759606</c:v>
                </c:pt>
                <c:pt idx="344">
                  <c:v>277.93588204861692</c:v>
                </c:pt>
                <c:pt idx="345">
                  <c:v>280.90311136609898</c:v>
                </c:pt>
                <c:pt idx="346">
                  <c:v>278.79675866845832</c:v>
                </c:pt>
                <c:pt idx="347">
                  <c:v>276.19300221526464</c:v>
                </c:pt>
                <c:pt idx="348">
                  <c:v>275.74673667060085</c:v>
                </c:pt>
                <c:pt idx="349">
                  <c:v>276.74615558592234</c:v>
                </c:pt>
                <c:pt idx="350">
                  <c:v>276.30297377080183</c:v>
                </c:pt>
                <c:pt idx="351">
                  <c:v>273.9431386643023</c:v>
                </c:pt>
                <c:pt idx="352">
                  <c:v>279.0019973039083</c:v>
                </c:pt>
                <c:pt idx="353">
                  <c:v>275.43193187368001</c:v>
                </c:pt>
                <c:pt idx="354">
                  <c:v>279.47477241103252</c:v>
                </c:pt>
                <c:pt idx="355">
                  <c:v>279.3361041669649</c:v>
                </c:pt>
                <c:pt idx="356">
                  <c:v>280.12921500577113</c:v>
                </c:pt>
                <c:pt idx="357">
                  <c:v>259.77833233074739</c:v>
                </c:pt>
                <c:pt idx="358">
                  <c:v>274.85570225121683</c:v>
                </c:pt>
                <c:pt idx="359">
                  <c:v>278.04464881959075</c:v>
                </c:pt>
                <c:pt idx="360">
                  <c:v>275.85959205952702</c:v>
                </c:pt>
                <c:pt idx="361">
                  <c:v>276.7031178302567</c:v>
                </c:pt>
                <c:pt idx="362">
                  <c:v>278.36371689467012</c:v>
                </c:pt>
                <c:pt idx="363">
                  <c:v>286.05042296620957</c:v>
                </c:pt>
                <c:pt idx="364">
                  <c:v>315.13034177154111</c:v>
                </c:pt>
                <c:pt idx="365">
                  <c:v>250.92583730263595</c:v>
                </c:pt>
                <c:pt idx="366">
                  <c:v>275.47635041685533</c:v>
                </c:pt>
                <c:pt idx="367">
                  <c:v>273.99218307244655</c:v>
                </c:pt>
                <c:pt idx="368">
                  <c:v>267.69332676241152</c:v>
                </c:pt>
                <c:pt idx="369">
                  <c:v>271.06557960610996</c:v>
                </c:pt>
                <c:pt idx="370">
                  <c:v>266.62761040700786</c:v>
                </c:pt>
                <c:pt idx="371">
                  <c:v>270.59638285342953</c:v>
                </c:pt>
                <c:pt idx="372">
                  <c:v>269.51122729810743</c:v>
                </c:pt>
                <c:pt idx="373">
                  <c:v>272.94890947548186</c:v>
                </c:pt>
                <c:pt idx="374">
                  <c:v>275.01836367036981</c:v>
                </c:pt>
                <c:pt idx="375">
                  <c:v>283.49448439521018</c:v>
                </c:pt>
                <c:pt idx="376">
                  <c:v>277.14474620881697</c:v>
                </c:pt>
                <c:pt idx="377">
                  <c:v>277.21098066973286</c:v>
                </c:pt>
                <c:pt idx="378">
                  <c:v>275.56624092488073</c:v>
                </c:pt>
                <c:pt idx="379">
                  <c:v>275.99830592262435</c:v>
                </c:pt>
                <c:pt idx="380">
                  <c:v>268.8216492824638</c:v>
                </c:pt>
                <c:pt idx="381">
                  <c:v>269.67701547121055</c:v>
                </c:pt>
                <c:pt idx="382">
                  <c:v>273.94160881679841</c:v>
                </c:pt>
                <c:pt idx="383">
                  <c:v>277.55218730532954</c:v>
                </c:pt>
                <c:pt idx="384">
                  <c:v>276.6243508801997</c:v>
                </c:pt>
                <c:pt idx="385">
                  <c:v>272.55518287578684</c:v>
                </c:pt>
                <c:pt idx="386">
                  <c:v>271.03358696115674</c:v>
                </c:pt>
                <c:pt idx="387">
                  <c:v>274.51391981612835</c:v>
                </c:pt>
                <c:pt idx="388">
                  <c:v>275.76607605728339</c:v>
                </c:pt>
                <c:pt idx="389">
                  <c:v>270.86992000142902</c:v>
                </c:pt>
                <c:pt idx="390">
                  <c:v>272.65237697917098</c:v>
                </c:pt>
                <c:pt idx="391">
                  <c:v>266.39052100980769</c:v>
                </c:pt>
                <c:pt idx="392">
                  <c:v>271.86219056599327</c:v>
                </c:pt>
                <c:pt idx="393">
                  <c:v>270.642182128218</c:v>
                </c:pt>
                <c:pt idx="394">
                  <c:v>272.17695274591927</c:v>
                </c:pt>
                <c:pt idx="395">
                  <c:v>274.56679440983839</c:v>
                </c:pt>
                <c:pt idx="396">
                  <c:v>278.15068127681445</c:v>
                </c:pt>
                <c:pt idx="397">
                  <c:v>273.06520012560952</c:v>
                </c:pt>
                <c:pt idx="398">
                  <c:v>277.82023508792076</c:v>
                </c:pt>
                <c:pt idx="399">
                  <c:v>275.22275796063207</c:v>
                </c:pt>
                <c:pt idx="400">
                  <c:v>278.37957047825057</c:v>
                </c:pt>
                <c:pt idx="401">
                  <c:v>275.3804985780879</c:v>
                </c:pt>
                <c:pt idx="402">
                  <c:v>281.35031739738724</c:v>
                </c:pt>
                <c:pt idx="403">
                  <c:v>281.78041240328264</c:v>
                </c:pt>
                <c:pt idx="404">
                  <c:v>281.63267436435069</c:v>
                </c:pt>
                <c:pt idx="405">
                  <c:v>281.80145351472765</c:v>
                </c:pt>
                <c:pt idx="406">
                  <c:v>277.22956251317271</c:v>
                </c:pt>
                <c:pt idx="407">
                  <c:v>275.05894191356128</c:v>
                </c:pt>
                <c:pt idx="408">
                  <c:v>281.19644319987935</c:v>
                </c:pt>
                <c:pt idx="409">
                  <c:v>276.02883071135022</c:v>
                </c:pt>
                <c:pt idx="410">
                  <c:v>274.60988619652051</c:v>
                </c:pt>
                <c:pt idx="411">
                  <c:v>272.79536384939354</c:v>
                </c:pt>
                <c:pt idx="412">
                  <c:v>279.82326743039107</c:v>
                </c:pt>
                <c:pt idx="413">
                  <c:v>277.01265574120475</c:v>
                </c:pt>
                <c:pt idx="414">
                  <c:v>274.64317659731046</c:v>
                </c:pt>
                <c:pt idx="415">
                  <c:v>280.65581128747101</c:v>
                </c:pt>
                <c:pt idx="416">
                  <c:v>283.90429190227132</c:v>
                </c:pt>
                <c:pt idx="417">
                  <c:v>280.25080395337204</c:v>
                </c:pt>
                <c:pt idx="418">
                  <c:v>274.3094873909389</c:v>
                </c:pt>
                <c:pt idx="419">
                  <c:v>280.62937426119436</c:v>
                </c:pt>
                <c:pt idx="420">
                  <c:v>280.97639686887157</c:v>
                </c:pt>
                <c:pt idx="421">
                  <c:v>277.26354704507537</c:v>
                </c:pt>
                <c:pt idx="422">
                  <c:v>280.86860495677797</c:v>
                </c:pt>
                <c:pt idx="423">
                  <c:v>276.48528241569443</c:v>
                </c:pt>
                <c:pt idx="424">
                  <c:v>278.94168354786314</c:v>
                </c:pt>
                <c:pt idx="425">
                  <c:v>283.0968730460786</c:v>
                </c:pt>
                <c:pt idx="426">
                  <c:v>278.75448742193635</c:v>
                </c:pt>
                <c:pt idx="427">
                  <c:v>274.20840104597494</c:v>
                </c:pt>
                <c:pt idx="428">
                  <c:v>274.91565444996604</c:v>
                </c:pt>
                <c:pt idx="429">
                  <c:v>280.66491548898398</c:v>
                </c:pt>
                <c:pt idx="430">
                  <c:v>278.17281218772791</c:v>
                </c:pt>
                <c:pt idx="431">
                  <c:v>277.08415610794202</c:v>
                </c:pt>
                <c:pt idx="432">
                  <c:v>274.01279847979799</c:v>
                </c:pt>
                <c:pt idx="433">
                  <c:v>277.98181841662665</c:v>
                </c:pt>
                <c:pt idx="434">
                  <c:v>278.88864804230161</c:v>
                </c:pt>
                <c:pt idx="435">
                  <c:v>275.91339235793976</c:v>
                </c:pt>
                <c:pt idx="436">
                  <c:v>278.97368165513876</c:v>
                </c:pt>
                <c:pt idx="437">
                  <c:v>277.93268492921266</c:v>
                </c:pt>
                <c:pt idx="438">
                  <c:v>282.144854080762</c:v>
                </c:pt>
                <c:pt idx="439">
                  <c:v>279.24372718183827</c:v>
                </c:pt>
                <c:pt idx="440">
                  <c:v>278.11605456632117</c:v>
                </c:pt>
                <c:pt idx="441">
                  <c:v>285.71221499557225</c:v>
                </c:pt>
                <c:pt idx="442">
                  <c:v>276.26912696385068</c:v>
                </c:pt>
                <c:pt idx="443">
                  <c:v>276.5824482495176</c:v>
                </c:pt>
                <c:pt idx="444">
                  <c:v>276.69018572876871</c:v>
                </c:pt>
                <c:pt idx="445">
                  <c:v>270.85523462679419</c:v>
                </c:pt>
                <c:pt idx="446">
                  <c:v>275.58362109336815</c:v>
                </c:pt>
                <c:pt idx="447">
                  <c:v>276.15627685999459</c:v>
                </c:pt>
                <c:pt idx="448">
                  <c:v>280.58540910755823</c:v>
                </c:pt>
                <c:pt idx="449">
                  <c:v>284.13290074548286</c:v>
                </c:pt>
                <c:pt idx="450">
                  <c:v>275.16954857489873</c:v>
                </c:pt>
                <c:pt idx="451">
                  <c:v>276.18777108291465</c:v>
                </c:pt>
                <c:pt idx="452">
                  <c:v>273.97381175903331</c:v>
                </c:pt>
                <c:pt idx="453">
                  <c:v>279.69724047542854</c:v>
                </c:pt>
                <c:pt idx="454">
                  <c:v>278.03026363425408</c:v>
                </c:pt>
                <c:pt idx="455">
                  <c:v>271.89666189127047</c:v>
                </c:pt>
                <c:pt idx="456">
                  <c:v>277.59442260485434</c:v>
                </c:pt>
                <c:pt idx="457">
                  <c:v>285.94550331715016</c:v>
                </c:pt>
                <c:pt idx="458">
                  <c:v>275.64354086318406</c:v>
                </c:pt>
                <c:pt idx="459">
                  <c:v>278.58534476804164</c:v>
                </c:pt>
                <c:pt idx="460">
                  <c:v>273.16609759862683</c:v>
                </c:pt>
                <c:pt idx="461">
                  <c:v>276.08486203623306</c:v>
                </c:pt>
                <c:pt idx="462">
                  <c:v>271.99968405285256</c:v>
                </c:pt>
                <c:pt idx="463">
                  <c:v>266.00764587793162</c:v>
                </c:pt>
                <c:pt idx="464">
                  <c:v>270.78896474569592</c:v>
                </c:pt>
                <c:pt idx="465">
                  <c:v>270.25659898099138</c:v>
                </c:pt>
                <c:pt idx="466">
                  <c:v>276.16985693545462</c:v>
                </c:pt>
                <c:pt idx="467">
                  <c:v>295.74818540513979</c:v>
                </c:pt>
                <c:pt idx="468">
                  <c:v>309.04866577666144</c:v>
                </c:pt>
                <c:pt idx="469">
                  <c:v>277.71418371782693</c:v>
                </c:pt>
                <c:pt idx="470">
                  <c:v>277.27079501813841</c:v>
                </c:pt>
                <c:pt idx="471">
                  <c:v>274.81807635206189</c:v>
                </c:pt>
                <c:pt idx="472">
                  <c:v>278.91318889016077</c:v>
                </c:pt>
                <c:pt idx="473">
                  <c:v>275.78697762053412</c:v>
                </c:pt>
                <c:pt idx="474">
                  <c:v>275.48713192813341</c:v>
                </c:pt>
                <c:pt idx="475">
                  <c:v>280.05592653922884</c:v>
                </c:pt>
                <c:pt idx="476">
                  <c:v>279.33499363718579</c:v>
                </c:pt>
                <c:pt idx="477">
                  <c:v>280.91246753945882</c:v>
                </c:pt>
                <c:pt idx="478">
                  <c:v>272.28844287327661</c:v>
                </c:pt>
                <c:pt idx="479">
                  <c:v>278.05642941879205</c:v>
                </c:pt>
                <c:pt idx="480">
                  <c:v>283.95993231643718</c:v>
                </c:pt>
                <c:pt idx="481">
                  <c:v>285.70774614609377</c:v>
                </c:pt>
                <c:pt idx="482">
                  <c:v>283.68458394416405</c:v>
                </c:pt>
                <c:pt idx="483">
                  <c:v>286.74000978015738</c:v>
                </c:pt>
                <c:pt idx="484">
                  <c:v>280.50768263852444</c:v>
                </c:pt>
                <c:pt idx="485">
                  <c:v>282.14390547960329</c:v>
                </c:pt>
                <c:pt idx="486">
                  <c:v>273.11903327249763</c:v>
                </c:pt>
                <c:pt idx="487">
                  <c:v>278.50637025025071</c:v>
                </c:pt>
                <c:pt idx="488">
                  <c:v>275.22858690961357</c:v>
                </c:pt>
                <c:pt idx="489">
                  <c:v>276.03258636824398</c:v>
                </c:pt>
                <c:pt idx="490">
                  <c:v>273.70081289878692</c:v>
                </c:pt>
                <c:pt idx="491">
                  <c:v>267.28426152869781</c:v>
                </c:pt>
                <c:pt idx="492">
                  <c:v>286.87555173432611</c:v>
                </c:pt>
                <c:pt idx="493">
                  <c:v>289.60728492848023</c:v>
                </c:pt>
                <c:pt idx="494">
                  <c:v>286.3062155627357</c:v>
                </c:pt>
                <c:pt idx="495">
                  <c:v>347.43817126692102</c:v>
                </c:pt>
                <c:pt idx="496">
                  <c:v>361.32925187320802</c:v>
                </c:pt>
                <c:pt idx="497">
                  <c:v>0</c:v>
                </c:pt>
                <c:pt idx="498">
                  <c:v>0</c:v>
                </c:pt>
                <c:pt idx="499">
                  <c:v>268.26435476259553</c:v>
                </c:pt>
                <c:pt idx="500">
                  <c:v>266.76911022063291</c:v>
                </c:pt>
                <c:pt idx="501">
                  <c:v>273.02752397901315</c:v>
                </c:pt>
                <c:pt idx="502">
                  <c:v>273.6270688313133</c:v>
                </c:pt>
                <c:pt idx="503">
                  <c:v>269.39686230660777</c:v>
                </c:pt>
                <c:pt idx="504">
                  <c:v>274.02076326225085</c:v>
                </c:pt>
                <c:pt idx="505">
                  <c:v>264.7073585502136</c:v>
                </c:pt>
                <c:pt idx="506">
                  <c:v>286.39818751779831</c:v>
                </c:pt>
                <c:pt idx="507">
                  <c:v>272.18440325431425</c:v>
                </c:pt>
                <c:pt idx="508">
                  <c:v>275.69049109109142</c:v>
                </c:pt>
                <c:pt idx="509">
                  <c:v>265.2395911867269</c:v>
                </c:pt>
                <c:pt idx="510">
                  <c:v>265.75555866823424</c:v>
                </c:pt>
                <c:pt idx="511">
                  <c:v>270.77823601135628</c:v>
                </c:pt>
                <c:pt idx="512">
                  <c:v>274.96756164460351</c:v>
                </c:pt>
                <c:pt idx="513">
                  <c:v>271.35926098185985</c:v>
                </c:pt>
                <c:pt idx="514">
                  <c:v>272.16819199428016</c:v>
                </c:pt>
                <c:pt idx="515">
                  <c:v>270.0039825008264</c:v>
                </c:pt>
                <c:pt idx="516">
                  <c:v>270.40462357164847</c:v>
                </c:pt>
                <c:pt idx="517">
                  <c:v>269.57550592806467</c:v>
                </c:pt>
                <c:pt idx="518">
                  <c:v>274.06677257814044</c:v>
                </c:pt>
                <c:pt idx="519">
                  <c:v>270.09015304870275</c:v>
                </c:pt>
                <c:pt idx="520">
                  <c:v>271.1795439845182</c:v>
                </c:pt>
                <c:pt idx="521">
                  <c:v>267.04358190595576</c:v>
                </c:pt>
                <c:pt idx="522">
                  <c:v>270.32005726194939</c:v>
                </c:pt>
                <c:pt idx="523">
                  <c:v>271.18226341535967</c:v>
                </c:pt>
                <c:pt idx="524">
                  <c:v>274.35299096240124</c:v>
                </c:pt>
                <c:pt idx="525">
                  <c:v>274.48229197936985</c:v>
                </c:pt>
                <c:pt idx="526">
                  <c:v>275.11703596678717</c:v>
                </c:pt>
                <c:pt idx="527">
                  <c:v>279.22618822408629</c:v>
                </c:pt>
                <c:pt idx="528">
                  <c:v>273.21220973606137</c:v>
                </c:pt>
                <c:pt idx="529">
                  <c:v>277.11376180748732</c:v>
                </c:pt>
                <c:pt idx="530">
                  <c:v>274.96982006781184</c:v>
                </c:pt>
                <c:pt idx="531">
                  <c:v>274.61192650020701</c:v>
                </c:pt>
                <c:pt idx="532">
                  <c:v>279.72337984788203</c:v>
                </c:pt>
                <c:pt idx="533">
                  <c:v>291.02033309210185</c:v>
                </c:pt>
                <c:pt idx="534">
                  <c:v>278.28725247682314</c:v>
                </c:pt>
                <c:pt idx="535">
                  <c:v>272.43341889997794</c:v>
                </c:pt>
                <c:pt idx="536">
                  <c:v>273.00487907841648</c:v>
                </c:pt>
                <c:pt idx="537">
                  <c:v>280.45198075077474</c:v>
                </c:pt>
                <c:pt idx="538">
                  <c:v>279.09887059468792</c:v>
                </c:pt>
                <c:pt idx="539">
                  <c:v>281.03873146433364</c:v>
                </c:pt>
                <c:pt idx="540">
                  <c:v>280.32657896605815</c:v>
                </c:pt>
                <c:pt idx="541">
                  <c:v>281.09553247069255</c:v>
                </c:pt>
                <c:pt idx="542">
                  <c:v>293.0426221778564</c:v>
                </c:pt>
                <c:pt idx="543">
                  <c:v>273.18507275582692</c:v>
                </c:pt>
                <c:pt idx="544">
                  <c:v>284.77550745249641</c:v>
                </c:pt>
                <c:pt idx="545">
                  <c:v>271.01722539135426</c:v>
                </c:pt>
                <c:pt idx="546">
                  <c:v>270.14553993137713</c:v>
                </c:pt>
                <c:pt idx="547">
                  <c:v>277.99762543911322</c:v>
                </c:pt>
                <c:pt idx="548">
                  <c:v>272.24880630767325</c:v>
                </c:pt>
                <c:pt idx="549">
                  <c:v>276.29332901105624</c:v>
                </c:pt>
                <c:pt idx="550">
                  <c:v>274.31615127841815</c:v>
                </c:pt>
                <c:pt idx="551">
                  <c:v>265.14863729547744</c:v>
                </c:pt>
                <c:pt idx="552">
                  <c:v>271.81091455471301</c:v>
                </c:pt>
                <c:pt idx="553">
                  <c:v>273.85978260648312</c:v>
                </c:pt>
                <c:pt idx="554">
                  <c:v>269.92477652489458</c:v>
                </c:pt>
                <c:pt idx="555">
                  <c:v>276.6274602195665</c:v>
                </c:pt>
                <c:pt idx="556">
                  <c:v>275.78778161261459</c:v>
                </c:pt>
                <c:pt idx="557">
                  <c:v>273.71267461339369</c:v>
                </c:pt>
                <c:pt idx="558">
                  <c:v>269.86207655465648</c:v>
                </c:pt>
                <c:pt idx="559">
                  <c:v>269.50675851720439</c:v>
                </c:pt>
                <c:pt idx="560">
                  <c:v>273.61662161953768</c:v>
                </c:pt>
                <c:pt idx="561">
                  <c:v>273.85104964602579</c:v>
                </c:pt>
                <c:pt idx="562">
                  <c:v>276.05469316354856</c:v>
                </c:pt>
                <c:pt idx="563">
                  <c:v>271.5014778157223</c:v>
                </c:pt>
                <c:pt idx="564">
                  <c:v>278.14746353533258</c:v>
                </c:pt>
                <c:pt idx="565">
                  <c:v>280.09580277016119</c:v>
                </c:pt>
                <c:pt idx="566">
                  <c:v>261.81839824794918</c:v>
                </c:pt>
                <c:pt idx="567">
                  <c:v>275.03043409020438</c:v>
                </c:pt>
                <c:pt idx="568">
                  <c:v>283.77885422334577</c:v>
                </c:pt>
                <c:pt idx="569">
                  <c:v>281.11305960701998</c:v>
                </c:pt>
                <c:pt idx="570">
                  <c:v>285.33295245650186</c:v>
                </c:pt>
                <c:pt idx="571">
                  <c:v>279.91050342590995</c:v>
                </c:pt>
                <c:pt idx="572">
                  <c:v>282.00975319840086</c:v>
                </c:pt>
                <c:pt idx="573">
                  <c:v>279.63095760799263</c:v>
                </c:pt>
                <c:pt idx="574">
                  <c:v>278.68668793579616</c:v>
                </c:pt>
                <c:pt idx="575">
                  <c:v>268.84923975652373</c:v>
                </c:pt>
                <c:pt idx="576">
                  <c:v>268.54863071609623</c:v>
                </c:pt>
                <c:pt idx="577">
                  <c:v>266.23246573474864</c:v>
                </c:pt>
                <c:pt idx="578">
                  <c:v>268.35391916983485</c:v>
                </c:pt>
                <c:pt idx="579">
                  <c:v>273.23579248413046</c:v>
                </c:pt>
                <c:pt idx="580">
                  <c:v>274.13000166588381</c:v>
                </c:pt>
                <c:pt idx="581">
                  <c:v>277.63045647778404</c:v>
                </c:pt>
                <c:pt idx="582">
                  <c:v>275.77780903850544</c:v>
                </c:pt>
                <c:pt idx="583">
                  <c:v>268.56533055212572</c:v>
                </c:pt>
                <c:pt idx="584">
                  <c:v>272.7967351868823</c:v>
                </c:pt>
                <c:pt idx="585">
                  <c:v>278.64400977175524</c:v>
                </c:pt>
                <c:pt idx="586">
                  <c:v>276.92638101918362</c:v>
                </c:pt>
                <c:pt idx="587">
                  <c:v>275.49664480439856</c:v>
                </c:pt>
                <c:pt idx="588">
                  <c:v>278.8223187789813</c:v>
                </c:pt>
                <c:pt idx="589">
                  <c:v>274.24147031745974</c:v>
                </c:pt>
                <c:pt idx="590">
                  <c:v>279.90984778646919</c:v>
                </c:pt>
                <c:pt idx="591">
                  <c:v>279.39008341194619</c:v>
                </c:pt>
                <c:pt idx="592">
                  <c:v>278.07328045394445</c:v>
                </c:pt>
                <c:pt idx="593">
                  <c:v>268.64515412236358</c:v>
                </c:pt>
                <c:pt idx="594">
                  <c:v>266.95046585823513</c:v>
                </c:pt>
                <c:pt idx="595">
                  <c:v>270.57668640152406</c:v>
                </c:pt>
                <c:pt idx="596">
                  <c:v>269.82772410736493</c:v>
                </c:pt>
                <c:pt idx="597">
                  <c:v>271.60070300774134</c:v>
                </c:pt>
                <c:pt idx="598">
                  <c:v>278.31109911912063</c:v>
                </c:pt>
                <c:pt idx="599">
                  <c:v>280.96777055168513</c:v>
                </c:pt>
                <c:pt idx="600">
                  <c:v>282.87900873580759</c:v>
                </c:pt>
                <c:pt idx="601">
                  <c:v>289.82259118278319</c:v>
                </c:pt>
                <c:pt idx="602">
                  <c:v>273.18630908903242</c:v>
                </c:pt>
                <c:pt idx="603">
                  <c:v>270.68596255727334</c:v>
                </c:pt>
                <c:pt idx="604">
                  <c:v>268.27243029674139</c:v>
                </c:pt>
                <c:pt idx="605">
                  <c:v>270.71959267616114</c:v>
                </c:pt>
                <c:pt idx="606">
                  <c:v>272.41363843074089</c:v>
                </c:pt>
                <c:pt idx="607">
                  <c:v>291.33190442713908</c:v>
                </c:pt>
                <c:pt idx="608">
                  <c:v>276.03677346412792</c:v>
                </c:pt>
                <c:pt idx="609">
                  <c:v>277.18020439329723</c:v>
                </c:pt>
                <c:pt idx="610">
                  <c:v>279.67543916540819</c:v>
                </c:pt>
                <c:pt idx="611">
                  <c:v>279.03412907952247</c:v>
                </c:pt>
                <c:pt idx="612">
                  <c:v>266.42711615242467</c:v>
                </c:pt>
                <c:pt idx="613">
                  <c:v>277.63578600991696</c:v>
                </c:pt>
                <c:pt idx="614">
                  <c:v>273.77732942875616</c:v>
                </c:pt>
                <c:pt idx="615">
                  <c:v>279.73783389750031</c:v>
                </c:pt>
                <c:pt idx="616">
                  <c:v>281.47951346039201</c:v>
                </c:pt>
                <c:pt idx="617">
                  <c:v>285.15670950772335</c:v>
                </c:pt>
                <c:pt idx="618">
                  <c:v>274.87208887944837</c:v>
                </c:pt>
                <c:pt idx="619">
                  <c:v>277.25504676482728</c:v>
                </c:pt>
                <c:pt idx="620">
                  <c:v>272.61493441219284</c:v>
                </c:pt>
                <c:pt idx="621">
                  <c:v>281.91893243599998</c:v>
                </c:pt>
                <c:pt idx="622">
                  <c:v>272.92086804484336</c:v>
                </c:pt>
                <c:pt idx="623">
                  <c:v>288.97442407658434</c:v>
                </c:pt>
                <c:pt idx="624">
                  <c:v>280.29841699089741</c:v>
                </c:pt>
                <c:pt idx="625">
                  <c:v>298.70050110984596</c:v>
                </c:pt>
                <c:pt idx="626">
                  <c:v>301.52616886933424</c:v>
                </c:pt>
                <c:pt idx="627">
                  <c:v>301.64323984673888</c:v>
                </c:pt>
                <c:pt idx="628">
                  <c:v>304.46118658052637</c:v>
                </c:pt>
                <c:pt idx="629">
                  <c:v>289.36907649378156</c:v>
                </c:pt>
                <c:pt idx="630">
                  <c:v>281.35422074615383</c:v>
                </c:pt>
                <c:pt idx="631">
                  <c:v>284.000385394977</c:v>
                </c:pt>
                <c:pt idx="632">
                  <c:v>276.21321428560577</c:v>
                </c:pt>
                <c:pt idx="633">
                  <c:v>275.99012783525222</c:v>
                </c:pt>
                <c:pt idx="634">
                  <c:v>270.51277100339951</c:v>
                </c:pt>
                <c:pt idx="635">
                  <c:v>276.47923187652088</c:v>
                </c:pt>
                <c:pt idx="636">
                  <c:v>280.20642568906544</c:v>
                </c:pt>
                <c:pt idx="637">
                  <c:v>277.64194386812062</c:v>
                </c:pt>
                <c:pt idx="638">
                  <c:v>276.67513133573527</c:v>
                </c:pt>
                <c:pt idx="639">
                  <c:v>305.48006565550565</c:v>
                </c:pt>
                <c:pt idx="640">
                  <c:v>308.40368872634133</c:v>
                </c:pt>
                <c:pt idx="641">
                  <c:v>357.93546017531708</c:v>
                </c:pt>
                <c:pt idx="642">
                  <c:v>0</c:v>
                </c:pt>
                <c:pt idx="643">
                  <c:v>236.66710277200218</c:v>
                </c:pt>
                <c:pt idx="644">
                  <c:v>289.87543227035167</c:v>
                </c:pt>
                <c:pt idx="645">
                  <c:v>283.25334980894741</c:v>
                </c:pt>
                <c:pt idx="646">
                  <c:v>288.51514824329001</c:v>
                </c:pt>
                <c:pt idx="647">
                  <c:v>289.58929598577072</c:v>
                </c:pt>
                <c:pt idx="648">
                  <c:v>293.67047493212033</c:v>
                </c:pt>
                <c:pt idx="649">
                  <c:v>282.76494960845798</c:v>
                </c:pt>
                <c:pt idx="650">
                  <c:v>284.1481329655611</c:v>
                </c:pt>
                <c:pt idx="651">
                  <c:v>277.25568641638154</c:v>
                </c:pt>
                <c:pt idx="652">
                  <c:v>278.35057008711726</c:v>
                </c:pt>
                <c:pt idx="653">
                  <c:v>274.75629219657355</c:v>
                </c:pt>
                <c:pt idx="654">
                  <c:v>267.51490742845965</c:v>
                </c:pt>
                <c:pt idx="655">
                  <c:v>269.58331931537691</c:v>
                </c:pt>
                <c:pt idx="656">
                  <c:v>280.55802917732967</c:v>
                </c:pt>
                <c:pt idx="657">
                  <c:v>281.90514275533735</c:v>
                </c:pt>
                <c:pt idx="658">
                  <c:v>277.48408807552642</c:v>
                </c:pt>
                <c:pt idx="659">
                  <c:v>288.40063423402387</c:v>
                </c:pt>
                <c:pt idx="660">
                  <c:v>275.996445744722</c:v>
                </c:pt>
                <c:pt idx="661">
                  <c:v>285.37344829866981</c:v>
                </c:pt>
                <c:pt idx="662">
                  <c:v>270.5013036748195</c:v>
                </c:pt>
                <c:pt idx="663">
                  <c:v>272.7626993001777</c:v>
                </c:pt>
                <c:pt idx="664">
                  <c:v>267.16660482105294</c:v>
                </c:pt>
                <c:pt idx="665">
                  <c:v>270.77639573391059</c:v>
                </c:pt>
                <c:pt idx="666">
                  <c:v>279.55362463135123</c:v>
                </c:pt>
                <c:pt idx="667">
                  <c:v>280.14449409618999</c:v>
                </c:pt>
                <c:pt idx="668">
                  <c:v>280.44053046011243</c:v>
                </c:pt>
                <c:pt idx="669">
                  <c:v>293.30959371829715</c:v>
                </c:pt>
                <c:pt idx="670">
                  <c:v>267.64143301452043</c:v>
                </c:pt>
                <c:pt idx="671">
                  <c:v>280.57881215204213</c:v>
                </c:pt>
                <c:pt idx="672">
                  <c:v>275.63094029494766</c:v>
                </c:pt>
                <c:pt idx="673">
                  <c:v>273.66368409368465</c:v>
                </c:pt>
                <c:pt idx="674">
                  <c:v>278.75915260208262</c:v>
                </c:pt>
                <c:pt idx="675">
                  <c:v>275.3267138965216</c:v>
                </c:pt>
                <c:pt idx="676">
                  <c:v>275.84503244840937</c:v>
                </c:pt>
                <c:pt idx="677">
                  <c:v>278.43870425921875</c:v>
                </c:pt>
                <c:pt idx="678">
                  <c:v>273.11488586713415</c:v>
                </c:pt>
                <c:pt idx="679">
                  <c:v>285.68468927904053</c:v>
                </c:pt>
                <c:pt idx="680">
                  <c:v>277.18066460274315</c:v>
                </c:pt>
                <c:pt idx="681">
                  <c:v>282.92866550344024</c:v>
                </c:pt>
                <c:pt idx="682">
                  <c:v>285.74301846187336</c:v>
                </c:pt>
                <c:pt idx="683">
                  <c:v>267.19676455807007</c:v>
                </c:pt>
                <c:pt idx="684">
                  <c:v>295.89354032051153</c:v>
                </c:pt>
                <c:pt idx="685">
                  <c:v>268.10424621982156</c:v>
                </c:pt>
                <c:pt idx="686">
                  <c:v>276.07598466400509</c:v>
                </c:pt>
                <c:pt idx="687">
                  <c:v>275.22579658854522</c:v>
                </c:pt>
                <c:pt idx="688">
                  <c:v>272.23333783112491</c:v>
                </c:pt>
                <c:pt idx="689">
                  <c:v>273.71381026500853</c:v>
                </c:pt>
                <c:pt idx="690">
                  <c:v>273.22793743954833</c:v>
                </c:pt>
                <c:pt idx="691">
                  <c:v>268.98364067414752</c:v>
                </c:pt>
                <c:pt idx="692">
                  <c:v>276.7552713682187</c:v>
                </c:pt>
                <c:pt idx="693">
                  <c:v>275.66113251348554</c:v>
                </c:pt>
                <c:pt idx="694">
                  <c:v>269.76399654827446</c:v>
                </c:pt>
                <c:pt idx="695">
                  <c:v>274.84524090082868</c:v>
                </c:pt>
                <c:pt idx="696">
                  <c:v>273.46092657846282</c:v>
                </c:pt>
                <c:pt idx="697">
                  <c:v>274.8931955820824</c:v>
                </c:pt>
                <c:pt idx="698">
                  <c:v>271.67432420580724</c:v>
                </c:pt>
                <c:pt idx="699">
                  <c:v>268.130456056296</c:v>
                </c:pt>
                <c:pt idx="700">
                  <c:v>268.3593323299275</c:v>
                </c:pt>
                <c:pt idx="701">
                  <c:v>264.75225045624586</c:v>
                </c:pt>
                <c:pt idx="702">
                  <c:v>273.51557698536101</c:v>
                </c:pt>
                <c:pt idx="703">
                  <c:v>270.14883072673524</c:v>
                </c:pt>
                <c:pt idx="704">
                  <c:v>270.61763366114519</c:v>
                </c:pt>
                <c:pt idx="705">
                  <c:v>268.81850357304495</c:v>
                </c:pt>
                <c:pt idx="706">
                  <c:v>268.74929375824343</c:v>
                </c:pt>
                <c:pt idx="707">
                  <c:v>269.67219224628514</c:v>
                </c:pt>
                <c:pt idx="708">
                  <c:v>283.57004201365385</c:v>
                </c:pt>
                <c:pt idx="709">
                  <c:v>271.5630703190501</c:v>
                </c:pt>
                <c:pt idx="710">
                  <c:v>270.33143841459116</c:v>
                </c:pt>
                <c:pt idx="711">
                  <c:v>266.96247000820006</c:v>
                </c:pt>
                <c:pt idx="712">
                  <c:v>272.26037038189929</c:v>
                </c:pt>
                <c:pt idx="713">
                  <c:v>271.86130243536172</c:v>
                </c:pt>
                <c:pt idx="714">
                  <c:v>264.12446829985004</c:v>
                </c:pt>
                <c:pt idx="715">
                  <c:v>268.52672663467831</c:v>
                </c:pt>
                <c:pt idx="716">
                  <c:v>266.92930381803387</c:v>
                </c:pt>
                <c:pt idx="717">
                  <c:v>271.63887801075509</c:v>
                </c:pt>
                <c:pt idx="718">
                  <c:v>264.15436586910528</c:v>
                </c:pt>
                <c:pt idx="719">
                  <c:v>269.04026908432979</c:v>
                </c:pt>
                <c:pt idx="720">
                  <c:v>251.78170297752331</c:v>
                </c:pt>
                <c:pt idx="721">
                  <c:v>270.71379572269655</c:v>
                </c:pt>
                <c:pt idx="722">
                  <c:v>272.22262191296886</c:v>
                </c:pt>
                <c:pt idx="723">
                  <c:v>276.07803941912471</c:v>
                </c:pt>
                <c:pt idx="724">
                  <c:v>292.7979552729912</c:v>
                </c:pt>
                <c:pt idx="725">
                  <c:v>385.68512274786099</c:v>
                </c:pt>
                <c:pt idx="726">
                  <c:v>222.87328401299101</c:v>
                </c:pt>
                <c:pt idx="727">
                  <c:v>277.04376049955238</c:v>
                </c:pt>
                <c:pt idx="728">
                  <c:v>271.1954234309153</c:v>
                </c:pt>
                <c:pt idx="729">
                  <c:v>267.38101729569644</c:v>
                </c:pt>
                <c:pt idx="730">
                  <c:v>267.14917163057339</c:v>
                </c:pt>
                <c:pt idx="731">
                  <c:v>272.54258379691316</c:v>
                </c:pt>
                <c:pt idx="732">
                  <c:v>273.16005526039714</c:v>
                </c:pt>
                <c:pt idx="733">
                  <c:v>268.68470164656742</c:v>
                </c:pt>
                <c:pt idx="734">
                  <c:v>268.81522834823045</c:v>
                </c:pt>
                <c:pt idx="735">
                  <c:v>269.31227424491613</c:v>
                </c:pt>
                <c:pt idx="736">
                  <c:v>274.1959098144539</c:v>
                </c:pt>
                <c:pt idx="737">
                  <c:v>273.32755179392711</c:v>
                </c:pt>
                <c:pt idx="738">
                  <c:v>273.64059613981078</c:v>
                </c:pt>
                <c:pt idx="739">
                  <c:v>275.512762473061</c:v>
                </c:pt>
                <c:pt idx="740">
                  <c:v>272.2738954045933</c:v>
                </c:pt>
                <c:pt idx="741">
                  <c:v>270.88389182711637</c:v>
                </c:pt>
                <c:pt idx="742">
                  <c:v>280.39479934535223</c:v>
                </c:pt>
                <c:pt idx="743">
                  <c:v>269.5347836392292</c:v>
                </c:pt>
                <c:pt idx="744">
                  <c:v>267.28220484386964</c:v>
                </c:pt>
                <c:pt idx="745">
                  <c:v>265.89944147537028</c:v>
                </c:pt>
                <c:pt idx="746">
                  <c:v>266.25255006810676</c:v>
                </c:pt>
                <c:pt idx="747">
                  <c:v>268.05564473777429</c:v>
                </c:pt>
                <c:pt idx="748">
                  <c:v>266.59184856961804</c:v>
                </c:pt>
                <c:pt idx="749">
                  <c:v>269.53531229555585</c:v>
                </c:pt>
                <c:pt idx="750">
                  <c:v>267.2818380233939</c:v>
                </c:pt>
                <c:pt idx="751">
                  <c:v>263.71493392319837</c:v>
                </c:pt>
                <c:pt idx="752">
                  <c:v>256.65261780276421</c:v>
                </c:pt>
                <c:pt idx="753">
                  <c:v>270.93691897648557</c:v>
                </c:pt>
                <c:pt idx="754">
                  <c:v>266.06268401774616</c:v>
                </c:pt>
                <c:pt idx="755">
                  <c:v>265.52886065518612</c:v>
                </c:pt>
                <c:pt idx="756">
                  <c:v>268.49257925899349</c:v>
                </c:pt>
                <c:pt idx="757">
                  <c:v>264.48289104337118</c:v>
                </c:pt>
                <c:pt idx="758">
                  <c:v>271.91422987407566</c:v>
                </c:pt>
                <c:pt idx="759">
                  <c:v>272.0566644545969</c:v>
                </c:pt>
                <c:pt idx="760">
                  <c:v>269.75241025746402</c:v>
                </c:pt>
                <c:pt idx="761">
                  <c:v>275.02452600022627</c:v>
                </c:pt>
                <c:pt idx="762">
                  <c:v>274.55239009816921</c:v>
                </c:pt>
                <c:pt idx="763">
                  <c:v>268.43651211332474</c:v>
                </c:pt>
                <c:pt idx="764">
                  <c:v>270.00295446836401</c:v>
                </c:pt>
                <c:pt idx="765">
                  <c:v>274.93183626766859</c:v>
                </c:pt>
                <c:pt idx="766">
                  <c:v>266.64614640121988</c:v>
                </c:pt>
                <c:pt idx="767">
                  <c:v>268.99733462534982</c:v>
                </c:pt>
                <c:pt idx="768">
                  <c:v>268.74657576326877</c:v>
                </c:pt>
                <c:pt idx="769">
                  <c:v>268.81881402372937</c:v>
                </c:pt>
                <c:pt idx="770">
                  <c:v>271.65691820351742</c:v>
                </c:pt>
                <c:pt idx="771">
                  <c:v>270.34724806965835</c:v>
                </c:pt>
                <c:pt idx="772">
                  <c:v>264.76814218766822</c:v>
                </c:pt>
                <c:pt idx="773">
                  <c:v>267.67776680485179</c:v>
                </c:pt>
                <c:pt idx="774">
                  <c:v>266.95803545267165</c:v>
                </c:pt>
                <c:pt idx="775">
                  <c:v>268.26104687203315</c:v>
                </c:pt>
                <c:pt idx="776">
                  <c:v>265.18879907421899</c:v>
                </c:pt>
                <c:pt idx="777">
                  <c:v>266.61016056422852</c:v>
                </c:pt>
                <c:pt idx="778">
                  <c:v>265.57095120757356</c:v>
                </c:pt>
                <c:pt idx="779">
                  <c:v>261.59400642217406</c:v>
                </c:pt>
                <c:pt idx="780">
                  <c:v>263.66330969279579</c:v>
                </c:pt>
                <c:pt idx="781">
                  <c:v>264.79804277403036</c:v>
                </c:pt>
                <c:pt idx="782">
                  <c:v>265.86801762747643</c:v>
                </c:pt>
                <c:pt idx="783">
                  <c:v>266.54747680117725</c:v>
                </c:pt>
                <c:pt idx="784">
                  <c:v>272.15424026077017</c:v>
                </c:pt>
                <c:pt idx="785">
                  <c:v>274.83880399920724</c:v>
                </c:pt>
                <c:pt idx="786">
                  <c:v>270.33452862736556</c:v>
                </c:pt>
                <c:pt idx="787">
                  <c:v>270.87293063527397</c:v>
                </c:pt>
                <c:pt idx="788">
                  <c:v>277.78592262580935</c:v>
                </c:pt>
                <c:pt idx="789">
                  <c:v>267.3604729008656</c:v>
                </c:pt>
                <c:pt idx="790">
                  <c:v>269.94173587134298</c:v>
                </c:pt>
                <c:pt idx="791">
                  <c:v>257.79206726563245</c:v>
                </c:pt>
                <c:pt idx="792">
                  <c:v>262.69717078407143</c:v>
                </c:pt>
                <c:pt idx="793">
                  <c:v>268.51213626094204</c:v>
                </c:pt>
                <c:pt idx="794">
                  <c:v>267.01184914525015</c:v>
                </c:pt>
                <c:pt idx="795">
                  <c:v>265.38628840762215</c:v>
                </c:pt>
                <c:pt idx="796">
                  <c:v>269.41425601374215</c:v>
                </c:pt>
                <c:pt idx="797">
                  <c:v>272.49150674261591</c:v>
                </c:pt>
                <c:pt idx="798">
                  <c:v>269.83892088136383</c:v>
                </c:pt>
                <c:pt idx="799">
                  <c:v>269.89187353098487</c:v>
                </c:pt>
                <c:pt idx="800">
                  <c:v>273.06921630369254</c:v>
                </c:pt>
                <c:pt idx="801">
                  <c:v>268.92289799857963</c:v>
                </c:pt>
                <c:pt idx="802">
                  <c:v>274.91424267199727</c:v>
                </c:pt>
                <c:pt idx="803">
                  <c:v>277.30402270369177</c:v>
                </c:pt>
                <c:pt idx="804">
                  <c:v>268.13886537312271</c:v>
                </c:pt>
                <c:pt idx="805">
                  <c:v>280.55765247724128</c:v>
                </c:pt>
                <c:pt idx="806">
                  <c:v>278.02961408689953</c:v>
                </c:pt>
                <c:pt idx="807">
                  <c:v>269.18113541818593</c:v>
                </c:pt>
                <c:pt idx="808">
                  <c:v>274.71736816457781</c:v>
                </c:pt>
                <c:pt idx="809">
                  <c:v>277.1199608367682</c:v>
                </c:pt>
                <c:pt idx="810">
                  <c:v>274.76416712437288</c:v>
                </c:pt>
                <c:pt idx="811">
                  <c:v>267.66219632570596</c:v>
                </c:pt>
                <c:pt idx="812">
                  <c:v>275.23978573111685</c:v>
                </c:pt>
                <c:pt idx="813">
                  <c:v>271.98690113540681</c:v>
                </c:pt>
                <c:pt idx="814">
                  <c:v>270.08821947753279</c:v>
                </c:pt>
                <c:pt idx="815">
                  <c:v>266.43992607622317</c:v>
                </c:pt>
                <c:pt idx="816">
                  <c:v>267.66607427369456</c:v>
                </c:pt>
                <c:pt idx="817">
                  <c:v>270.11322085516849</c:v>
                </c:pt>
                <c:pt idx="818">
                  <c:v>272.64227768595129</c:v>
                </c:pt>
                <c:pt idx="819">
                  <c:v>275.26835282005095</c:v>
                </c:pt>
                <c:pt idx="820">
                  <c:v>275.32828129538302</c:v>
                </c:pt>
                <c:pt idx="821">
                  <c:v>275.05122929495872</c:v>
                </c:pt>
                <c:pt idx="822">
                  <c:v>273.41003735719403</c:v>
                </c:pt>
                <c:pt idx="823">
                  <c:v>281.90078462656072</c:v>
                </c:pt>
                <c:pt idx="824">
                  <c:v>276.47282550302816</c:v>
                </c:pt>
                <c:pt idx="825">
                  <c:v>290.65080644669092</c:v>
                </c:pt>
                <c:pt idx="826">
                  <c:v>279.74248941396911</c:v>
                </c:pt>
                <c:pt idx="827">
                  <c:v>282.4577374048223</c:v>
                </c:pt>
                <c:pt idx="828">
                  <c:v>284.53676863792282</c:v>
                </c:pt>
                <c:pt idx="829">
                  <c:v>287.63563899910616</c:v>
                </c:pt>
                <c:pt idx="830">
                  <c:v>285.67683259265391</c:v>
                </c:pt>
                <c:pt idx="831">
                  <c:v>287.77782436440691</c:v>
                </c:pt>
                <c:pt idx="832">
                  <c:v>278.24043413737104</c:v>
                </c:pt>
                <c:pt idx="833">
                  <c:v>282.20351521846999</c:v>
                </c:pt>
                <c:pt idx="834">
                  <c:v>284.59106800797952</c:v>
                </c:pt>
                <c:pt idx="835">
                  <c:v>270.17051694813665</c:v>
                </c:pt>
                <c:pt idx="836">
                  <c:v>274.48014912418932</c:v>
                </c:pt>
                <c:pt idx="837">
                  <c:v>275.00868143255991</c:v>
                </c:pt>
                <c:pt idx="838">
                  <c:v>272.86170355956858</c:v>
                </c:pt>
                <c:pt idx="839">
                  <c:v>275.80265834166244</c:v>
                </c:pt>
                <c:pt idx="840">
                  <c:v>277.89980268204124</c:v>
                </c:pt>
                <c:pt idx="841">
                  <c:v>277.28283110865777</c:v>
                </c:pt>
                <c:pt idx="842">
                  <c:v>277.52699890677195</c:v>
                </c:pt>
                <c:pt idx="843">
                  <c:v>278.83376609110519</c:v>
                </c:pt>
                <c:pt idx="844">
                  <c:v>281.50685087138254</c:v>
                </c:pt>
                <c:pt idx="845">
                  <c:v>274.00667569417089</c:v>
                </c:pt>
                <c:pt idx="846">
                  <c:v>292.13253166952416</c:v>
                </c:pt>
                <c:pt idx="847">
                  <c:v>278.1653118094946</c:v>
                </c:pt>
                <c:pt idx="848">
                  <c:v>273.20625422426792</c:v>
                </c:pt>
                <c:pt idx="849">
                  <c:v>280.68058705013289</c:v>
                </c:pt>
                <c:pt idx="850">
                  <c:v>274.31262480147279</c:v>
                </c:pt>
                <c:pt idx="851">
                  <c:v>272.14391826023586</c:v>
                </c:pt>
                <c:pt idx="852">
                  <c:v>284.04780926754574</c:v>
                </c:pt>
                <c:pt idx="853">
                  <c:v>274.09998813323841</c:v>
                </c:pt>
                <c:pt idx="854">
                  <c:v>279.74327849019869</c:v>
                </c:pt>
                <c:pt idx="855">
                  <c:v>275.47806312846592</c:v>
                </c:pt>
                <c:pt idx="856">
                  <c:v>277.9976402922041</c:v>
                </c:pt>
                <c:pt idx="857">
                  <c:v>280.96680716032768</c:v>
                </c:pt>
                <c:pt idx="858">
                  <c:v>279.56840809944174</c:v>
                </c:pt>
                <c:pt idx="859">
                  <c:v>279.14523780146419</c:v>
                </c:pt>
                <c:pt idx="860">
                  <c:v>284.45366825293138</c:v>
                </c:pt>
                <c:pt idx="861">
                  <c:v>297.72040360571077</c:v>
                </c:pt>
                <c:pt idx="862">
                  <c:v>228.71893280802078</c:v>
                </c:pt>
                <c:pt idx="863">
                  <c:v>275.71564304074718</c:v>
                </c:pt>
                <c:pt idx="864">
                  <c:v>306.63091377180479</c:v>
                </c:pt>
                <c:pt idx="865">
                  <c:v>302.33919523466773</c:v>
                </c:pt>
                <c:pt idx="866">
                  <c:v>270.33733025422055</c:v>
                </c:pt>
                <c:pt idx="867">
                  <c:v>281.12505473384817</c:v>
                </c:pt>
                <c:pt idx="868">
                  <c:v>287.60551160234718</c:v>
                </c:pt>
                <c:pt idx="869">
                  <c:v>285.22371997001528</c:v>
                </c:pt>
                <c:pt idx="870">
                  <c:v>276.50359036436691</c:v>
                </c:pt>
                <c:pt idx="871">
                  <c:v>281.53098994909556</c:v>
                </c:pt>
                <c:pt idx="872">
                  <c:v>273.4259907202196</c:v>
                </c:pt>
                <c:pt idx="873">
                  <c:v>275.6855271200244</c:v>
                </c:pt>
                <c:pt idx="874">
                  <c:v>275.08808140033295</c:v>
                </c:pt>
                <c:pt idx="875">
                  <c:v>277.67362957103876</c:v>
                </c:pt>
                <c:pt idx="876">
                  <c:v>274.71925954831579</c:v>
                </c:pt>
                <c:pt idx="877">
                  <c:v>275.13123865894249</c:v>
                </c:pt>
                <c:pt idx="878">
                  <c:v>274.40273697037844</c:v>
                </c:pt>
                <c:pt idx="879">
                  <c:v>275.29493247666255</c:v>
                </c:pt>
                <c:pt idx="880">
                  <c:v>275.70149165350415</c:v>
                </c:pt>
                <c:pt idx="881">
                  <c:v>275.28477969451296</c:v>
                </c:pt>
                <c:pt idx="882">
                  <c:v>280.07777841631605</c:v>
                </c:pt>
                <c:pt idx="883">
                  <c:v>275.1689181555447</c:v>
                </c:pt>
                <c:pt idx="884">
                  <c:v>281.21039590644614</c:v>
                </c:pt>
                <c:pt idx="885">
                  <c:v>278.29717136833949</c:v>
                </c:pt>
                <c:pt idx="886">
                  <c:v>281.46497579797426</c:v>
                </c:pt>
                <c:pt idx="887">
                  <c:v>276.87815692870709</c:v>
                </c:pt>
                <c:pt idx="888">
                  <c:v>276.36770392909</c:v>
                </c:pt>
                <c:pt idx="889">
                  <c:v>270.68566813238624</c:v>
                </c:pt>
                <c:pt idx="890">
                  <c:v>274.39418286345085</c:v>
                </c:pt>
                <c:pt idx="891">
                  <c:v>271.86132833819136</c:v>
                </c:pt>
                <c:pt idx="892">
                  <c:v>276.16234233715261</c:v>
                </c:pt>
                <c:pt idx="893">
                  <c:v>272.67336830402462</c:v>
                </c:pt>
                <c:pt idx="894">
                  <c:v>270.87674458943764</c:v>
                </c:pt>
                <c:pt idx="895">
                  <c:v>271.08373538604337</c:v>
                </c:pt>
                <c:pt idx="896">
                  <c:v>272.34144334846417</c:v>
                </c:pt>
                <c:pt idx="897">
                  <c:v>273.76595314261647</c:v>
                </c:pt>
                <c:pt idx="898">
                  <c:v>276.05091259759297</c:v>
                </c:pt>
                <c:pt idx="899">
                  <c:v>276.40761978686146</c:v>
                </c:pt>
                <c:pt idx="900">
                  <c:v>273.61536254043403</c:v>
                </c:pt>
                <c:pt idx="901">
                  <c:v>274.77729063382105</c:v>
                </c:pt>
                <c:pt idx="902">
                  <c:v>268.94443847786124</c:v>
                </c:pt>
                <c:pt idx="903">
                  <c:v>268.185717191545</c:v>
                </c:pt>
                <c:pt idx="904">
                  <c:v>272.7684103885141</c:v>
                </c:pt>
                <c:pt idx="905">
                  <c:v>276.31032434133556</c:v>
                </c:pt>
                <c:pt idx="906">
                  <c:v>272.41387404756063</c:v>
                </c:pt>
                <c:pt idx="907">
                  <c:v>275.92454422812443</c:v>
                </c:pt>
                <c:pt idx="908">
                  <c:v>272.23978353379357</c:v>
                </c:pt>
                <c:pt idx="909">
                  <c:v>272.60186180355299</c:v>
                </c:pt>
                <c:pt idx="910">
                  <c:v>273.65204616028916</c:v>
                </c:pt>
                <c:pt idx="911">
                  <c:v>275.71264610967762</c:v>
                </c:pt>
                <c:pt idx="912">
                  <c:v>273.83543860759289</c:v>
                </c:pt>
                <c:pt idx="913">
                  <c:v>271.31002247957099</c:v>
                </c:pt>
                <c:pt idx="914">
                  <c:v>275.17197737916001</c:v>
                </c:pt>
                <c:pt idx="915">
                  <c:v>272.46777397349547</c:v>
                </c:pt>
                <c:pt idx="916">
                  <c:v>276.47804466411822</c:v>
                </c:pt>
                <c:pt idx="917">
                  <c:v>275.42449363050184</c:v>
                </c:pt>
                <c:pt idx="918">
                  <c:v>278.2239301646714</c:v>
                </c:pt>
                <c:pt idx="919">
                  <c:v>281.87373138465182</c:v>
                </c:pt>
                <c:pt idx="920">
                  <c:v>279.26800484404475</c:v>
                </c:pt>
                <c:pt idx="921">
                  <c:v>273.62874832336604</c:v>
                </c:pt>
                <c:pt idx="922">
                  <c:v>281.66702248820184</c:v>
                </c:pt>
                <c:pt idx="923">
                  <c:v>286.38304613868149</c:v>
                </c:pt>
                <c:pt idx="924">
                  <c:v>278.82333270770039</c:v>
                </c:pt>
                <c:pt idx="925">
                  <c:v>273.59130063992257</c:v>
                </c:pt>
                <c:pt idx="926">
                  <c:v>270.07365854896011</c:v>
                </c:pt>
                <c:pt idx="927">
                  <c:v>269.4733615454345</c:v>
                </c:pt>
                <c:pt idx="928">
                  <c:v>271.85594569778425</c:v>
                </c:pt>
                <c:pt idx="929">
                  <c:v>268.66266972500728</c:v>
                </c:pt>
                <c:pt idx="930">
                  <c:v>272.49282539267836</c:v>
                </c:pt>
                <c:pt idx="931">
                  <c:v>279.30593960352951</c:v>
                </c:pt>
                <c:pt idx="932">
                  <c:v>277.56981406232876</c:v>
                </c:pt>
                <c:pt idx="933">
                  <c:v>273.85538000403471</c:v>
                </c:pt>
                <c:pt idx="934">
                  <c:v>274.0829037240735</c:v>
                </c:pt>
                <c:pt idx="935">
                  <c:v>273.00661105167887</c:v>
                </c:pt>
                <c:pt idx="936">
                  <c:v>269.7376262960039</c:v>
                </c:pt>
                <c:pt idx="937">
                  <c:v>275.70973736113353</c:v>
                </c:pt>
                <c:pt idx="938">
                  <c:v>277.24118408020638</c:v>
                </c:pt>
                <c:pt idx="939">
                  <c:v>268.73689381846441</c:v>
                </c:pt>
                <c:pt idx="940">
                  <c:v>272.5044771785723</c:v>
                </c:pt>
                <c:pt idx="941">
                  <c:v>273.00504402040099</c:v>
                </c:pt>
                <c:pt idx="942">
                  <c:v>271.48672703599141</c:v>
                </c:pt>
                <c:pt idx="943">
                  <c:v>271.96323580293324</c:v>
                </c:pt>
                <c:pt idx="944">
                  <c:v>268.9571335508374</c:v>
                </c:pt>
                <c:pt idx="945">
                  <c:v>275.94023912212981</c:v>
                </c:pt>
                <c:pt idx="946">
                  <c:v>276.47051210620691</c:v>
                </c:pt>
                <c:pt idx="947">
                  <c:v>278.42235083031596</c:v>
                </c:pt>
                <c:pt idx="948">
                  <c:v>277.26807597722097</c:v>
                </c:pt>
                <c:pt idx="949">
                  <c:v>279.05555396586647</c:v>
                </c:pt>
                <c:pt idx="950">
                  <c:v>277.78158837419085</c:v>
                </c:pt>
                <c:pt idx="951">
                  <c:v>276.419802153864</c:v>
                </c:pt>
                <c:pt idx="952">
                  <c:v>271.90256715388705</c:v>
                </c:pt>
                <c:pt idx="953">
                  <c:v>273.2993871069599</c:v>
                </c:pt>
                <c:pt idx="954">
                  <c:v>271.83677370623036</c:v>
                </c:pt>
                <c:pt idx="955">
                  <c:v>280.58338315024901</c:v>
                </c:pt>
                <c:pt idx="956">
                  <c:v>388.75059641408143</c:v>
                </c:pt>
                <c:pt idx="957">
                  <c:v>241.36540664134566</c:v>
                </c:pt>
                <c:pt idx="958">
                  <c:v>286.93205770452607</c:v>
                </c:pt>
                <c:pt idx="959">
                  <c:v>273.38443051234447</c:v>
                </c:pt>
                <c:pt idx="960">
                  <c:v>275.610852843609</c:v>
                </c:pt>
                <c:pt idx="961">
                  <c:v>273.83111826272489</c:v>
                </c:pt>
                <c:pt idx="962">
                  <c:v>269.76142856453191</c:v>
                </c:pt>
                <c:pt idx="963">
                  <c:v>276.47734638369718</c:v>
                </c:pt>
                <c:pt idx="964">
                  <c:v>274.78071316808018</c:v>
                </c:pt>
                <c:pt idx="965">
                  <c:v>272.52386610162671</c:v>
                </c:pt>
                <c:pt idx="966">
                  <c:v>270.46568287743764</c:v>
                </c:pt>
                <c:pt idx="967">
                  <c:v>270.09725544621153</c:v>
                </c:pt>
                <c:pt idx="968">
                  <c:v>272.78367173778724</c:v>
                </c:pt>
                <c:pt idx="969">
                  <c:v>273.11191743743234</c:v>
                </c:pt>
                <c:pt idx="970">
                  <c:v>267.74972255441412</c:v>
                </c:pt>
                <c:pt idx="971">
                  <c:v>273.59238753247598</c:v>
                </c:pt>
                <c:pt idx="972">
                  <c:v>269.36486880229938</c:v>
                </c:pt>
                <c:pt idx="973">
                  <c:v>270.40263682847421</c:v>
                </c:pt>
                <c:pt idx="974">
                  <c:v>277.69350790659962</c:v>
                </c:pt>
                <c:pt idx="975">
                  <c:v>272.07262409567841</c:v>
                </c:pt>
                <c:pt idx="976">
                  <c:v>273.34262098739134</c:v>
                </c:pt>
                <c:pt idx="977">
                  <c:v>270.14501849869851</c:v>
                </c:pt>
                <c:pt idx="978">
                  <c:v>275.12679448033327</c:v>
                </c:pt>
                <c:pt idx="979">
                  <c:v>272.21750276750231</c:v>
                </c:pt>
                <c:pt idx="980">
                  <c:v>276.1162898827107</c:v>
                </c:pt>
                <c:pt idx="981">
                  <c:v>275.32598019618183</c:v>
                </c:pt>
                <c:pt idx="982">
                  <c:v>275.54607374056741</c:v>
                </c:pt>
                <c:pt idx="983">
                  <c:v>276.82133840550125</c:v>
                </c:pt>
                <c:pt idx="984">
                  <c:v>278.71345564098351</c:v>
                </c:pt>
                <c:pt idx="985">
                  <c:v>281.92628789692594</c:v>
                </c:pt>
                <c:pt idx="986">
                  <c:v>284.42452149998803</c:v>
                </c:pt>
                <c:pt idx="987">
                  <c:v>282.56894734334867</c:v>
                </c:pt>
                <c:pt idx="988">
                  <c:v>273.43445429100404</c:v>
                </c:pt>
                <c:pt idx="989">
                  <c:v>277.88045427117299</c:v>
                </c:pt>
                <c:pt idx="990">
                  <c:v>280.33877373828511</c:v>
                </c:pt>
                <c:pt idx="991">
                  <c:v>277.54356476632654</c:v>
                </c:pt>
                <c:pt idx="992">
                  <c:v>275.12213669775565</c:v>
                </c:pt>
                <c:pt idx="993">
                  <c:v>273.52209554500996</c:v>
                </c:pt>
                <c:pt idx="994">
                  <c:v>275.73361620043488</c:v>
                </c:pt>
                <c:pt idx="995">
                  <c:v>273.92984607265328</c:v>
                </c:pt>
                <c:pt idx="996">
                  <c:v>276.12731723480738</c:v>
                </c:pt>
                <c:pt idx="997">
                  <c:v>282.30085886939537</c:v>
                </c:pt>
                <c:pt idx="998">
                  <c:v>247.229627968974</c:v>
                </c:pt>
                <c:pt idx="999">
                  <c:v>275.17315716096437</c:v>
                </c:pt>
                <c:pt idx="1000">
                  <c:v>275.53194314826828</c:v>
                </c:pt>
                <c:pt idx="1001">
                  <c:v>283.9760714008778</c:v>
                </c:pt>
                <c:pt idx="1002">
                  <c:v>275.76203568345977</c:v>
                </c:pt>
                <c:pt idx="1003">
                  <c:v>274.56032135614862</c:v>
                </c:pt>
                <c:pt idx="1004">
                  <c:v>280.31108568682396</c:v>
                </c:pt>
                <c:pt idx="1005">
                  <c:v>278.21640228083595</c:v>
                </c:pt>
                <c:pt idx="1006">
                  <c:v>282.15652122454708</c:v>
                </c:pt>
                <c:pt idx="1007">
                  <c:v>277.75452320042825</c:v>
                </c:pt>
                <c:pt idx="1008">
                  <c:v>284.50503605959307</c:v>
                </c:pt>
                <c:pt idx="1009">
                  <c:v>273.89222398244772</c:v>
                </c:pt>
                <c:pt idx="1010">
                  <c:v>279.08633356030191</c:v>
                </c:pt>
                <c:pt idx="1011">
                  <c:v>284.27180594812808</c:v>
                </c:pt>
                <c:pt idx="1012">
                  <c:v>283.36575932783853</c:v>
                </c:pt>
                <c:pt idx="1013">
                  <c:v>277.39636659023904</c:v>
                </c:pt>
                <c:pt idx="1014">
                  <c:v>267.57255000990313</c:v>
                </c:pt>
                <c:pt idx="1015">
                  <c:v>273.41347538731179</c:v>
                </c:pt>
                <c:pt idx="1016">
                  <c:v>275.23607424315912</c:v>
                </c:pt>
                <c:pt idx="1017">
                  <c:v>275.97189479569545</c:v>
                </c:pt>
                <c:pt idx="1018">
                  <c:v>273.62256686020305</c:v>
                </c:pt>
                <c:pt idx="1019">
                  <c:v>273.15454505856235</c:v>
                </c:pt>
                <c:pt idx="1020">
                  <c:v>276.81376166822042</c:v>
                </c:pt>
                <c:pt idx="1021">
                  <c:v>278.91225402523969</c:v>
                </c:pt>
                <c:pt idx="1022">
                  <c:v>277.79481460330965</c:v>
                </c:pt>
                <c:pt idx="1023">
                  <c:v>274.73796388920289</c:v>
                </c:pt>
                <c:pt idx="1024">
                  <c:v>272.9359687770617</c:v>
                </c:pt>
                <c:pt idx="1025">
                  <c:v>271.32312182669875</c:v>
                </c:pt>
                <c:pt idx="1026">
                  <c:v>284.10584139073205</c:v>
                </c:pt>
                <c:pt idx="1027">
                  <c:v>270.73471271195626</c:v>
                </c:pt>
                <c:pt idx="1028">
                  <c:v>290.74141155968982</c:v>
                </c:pt>
                <c:pt idx="1029">
                  <c:v>289.67403009297175</c:v>
                </c:pt>
                <c:pt idx="1030">
                  <c:v>299.41834111872174</c:v>
                </c:pt>
                <c:pt idx="1031">
                  <c:v>289.10824207670748</c:v>
                </c:pt>
                <c:pt idx="1032">
                  <c:v>284.14092719903078</c:v>
                </c:pt>
                <c:pt idx="1033">
                  <c:v>276.47145680037772</c:v>
                </c:pt>
                <c:pt idx="1034">
                  <c:v>270.80093538234212</c:v>
                </c:pt>
                <c:pt idx="1035">
                  <c:v>264.76962184661204</c:v>
                </c:pt>
                <c:pt idx="1036">
                  <c:v>286.02293146108877</c:v>
                </c:pt>
                <c:pt idx="1037">
                  <c:v>272.11479567840843</c:v>
                </c:pt>
                <c:pt idx="1038">
                  <c:v>274.17049267363598</c:v>
                </c:pt>
                <c:pt idx="1039">
                  <c:v>275.7280042574929</c:v>
                </c:pt>
                <c:pt idx="1040">
                  <c:v>279.56213294760937</c:v>
                </c:pt>
                <c:pt idx="1041">
                  <c:v>267.71807688309502</c:v>
                </c:pt>
                <c:pt idx="1042">
                  <c:v>278.76990243579326</c:v>
                </c:pt>
                <c:pt idx="1043">
                  <c:v>305.15456479521197</c:v>
                </c:pt>
                <c:pt idx="1044">
                  <c:v>280.43293439943193</c:v>
                </c:pt>
                <c:pt idx="1045">
                  <c:v>273.36650034530305</c:v>
                </c:pt>
                <c:pt idx="1046">
                  <c:v>273.06475416284104</c:v>
                </c:pt>
                <c:pt idx="1047">
                  <c:v>270.60882921010568</c:v>
                </c:pt>
                <c:pt idx="1048">
                  <c:v>274.64490155037458</c:v>
                </c:pt>
                <c:pt idx="1049">
                  <c:v>274.6326786362265</c:v>
                </c:pt>
                <c:pt idx="1050">
                  <c:v>277.7075308323025</c:v>
                </c:pt>
                <c:pt idx="1051">
                  <c:v>272.29948118440257</c:v>
                </c:pt>
                <c:pt idx="1052">
                  <c:v>272.11666125637589</c:v>
                </c:pt>
                <c:pt idx="1053">
                  <c:v>274.40112433874015</c:v>
                </c:pt>
                <c:pt idx="1054">
                  <c:v>282.95618267061366</c:v>
                </c:pt>
                <c:pt idx="1055">
                  <c:v>280.52798534499959</c:v>
                </c:pt>
                <c:pt idx="1056">
                  <c:v>276.19152732554608</c:v>
                </c:pt>
                <c:pt idx="1057">
                  <c:v>267.02492388469364</c:v>
                </c:pt>
                <c:pt idx="1058">
                  <c:v>276.51945361648768</c:v>
                </c:pt>
                <c:pt idx="1059">
                  <c:v>274.36958750519386</c:v>
                </c:pt>
                <c:pt idx="1060">
                  <c:v>261.0591888021163</c:v>
                </c:pt>
                <c:pt idx="1061">
                  <c:v>267.03892281325443</c:v>
                </c:pt>
                <c:pt idx="1062">
                  <c:v>267.94204857672003</c:v>
                </c:pt>
                <c:pt idx="1063">
                  <c:v>274.08981217297412</c:v>
                </c:pt>
                <c:pt idx="1064">
                  <c:v>274.10120479460295</c:v>
                </c:pt>
                <c:pt idx="1065">
                  <c:v>273.24514955779784</c:v>
                </c:pt>
                <c:pt idx="1066">
                  <c:v>274.056867550128</c:v>
                </c:pt>
                <c:pt idx="1067">
                  <c:v>272.04773076938034</c:v>
                </c:pt>
                <c:pt idx="1068">
                  <c:v>274.76215456016348</c:v>
                </c:pt>
                <c:pt idx="1069">
                  <c:v>275.45107610162836</c:v>
                </c:pt>
                <c:pt idx="1070">
                  <c:v>273.78202369570124</c:v>
                </c:pt>
                <c:pt idx="1071">
                  <c:v>272.61579513570859</c:v>
                </c:pt>
                <c:pt idx="1072">
                  <c:v>274.23647046829808</c:v>
                </c:pt>
                <c:pt idx="1073">
                  <c:v>271.66007015175069</c:v>
                </c:pt>
                <c:pt idx="1074">
                  <c:v>272.51481096316843</c:v>
                </c:pt>
                <c:pt idx="1075">
                  <c:v>265.82173626099654</c:v>
                </c:pt>
                <c:pt idx="1076">
                  <c:v>279.40419758058442</c:v>
                </c:pt>
                <c:pt idx="1077">
                  <c:v>272.46132943399493</c:v>
                </c:pt>
                <c:pt idx="1078">
                  <c:v>273.80018129295172</c:v>
                </c:pt>
                <c:pt idx="1079">
                  <c:v>267.1843723382658</c:v>
                </c:pt>
                <c:pt idx="1080">
                  <c:v>270.27768975658284</c:v>
                </c:pt>
                <c:pt idx="1081">
                  <c:v>275.9988897850526</c:v>
                </c:pt>
                <c:pt idx="1082">
                  <c:v>274.01694225814879</c:v>
                </c:pt>
                <c:pt idx="1083">
                  <c:v>275.08772298923327</c:v>
                </c:pt>
                <c:pt idx="1084">
                  <c:v>298.09698697465274</c:v>
                </c:pt>
                <c:pt idx="1085">
                  <c:v>283.02869772448275</c:v>
                </c:pt>
                <c:pt idx="1086">
                  <c:v>262.47661023615524</c:v>
                </c:pt>
                <c:pt idx="1087">
                  <c:v>273.26963422422591</c:v>
                </c:pt>
                <c:pt idx="1088">
                  <c:v>264.22266628716329</c:v>
                </c:pt>
                <c:pt idx="1089">
                  <c:v>264.84611379001615</c:v>
                </c:pt>
                <c:pt idx="1090">
                  <c:v>266.47512858644893</c:v>
                </c:pt>
                <c:pt idx="1091">
                  <c:v>267.31691765308381</c:v>
                </c:pt>
                <c:pt idx="1092">
                  <c:v>269.53999358713554</c:v>
                </c:pt>
                <c:pt idx="1093">
                  <c:v>267.02102653367172</c:v>
                </c:pt>
                <c:pt idx="1094">
                  <c:v>269.77798130657447</c:v>
                </c:pt>
                <c:pt idx="1095">
                  <c:v>273.64901323931872</c:v>
                </c:pt>
              </c:numCache>
            </c:numRef>
          </c:yVal>
          <c:smooth val="0"/>
          <c:extLst>
            <c:ext xmlns:c16="http://schemas.microsoft.com/office/drawing/2014/chart" uri="{C3380CC4-5D6E-409C-BE32-E72D297353CC}">
              <c16:uniqueId val="{00000000-B98A-47F5-8E04-1E4C7D62B8A6}"/>
            </c:ext>
          </c:extLst>
        </c:ser>
        <c:dLbls>
          <c:showLegendKey val="0"/>
          <c:showVal val="0"/>
          <c:showCatName val="0"/>
          <c:showSerName val="0"/>
          <c:showPercent val="0"/>
          <c:showBubbleSize val="0"/>
        </c:dLbls>
        <c:axId val="1408032495"/>
        <c:axId val="1408032911"/>
      </c:scatterChart>
      <c:valAx>
        <c:axId val="1408032495"/>
        <c:scaling>
          <c:orientation val="minMax"/>
          <c:max val="370"/>
          <c:min val="3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32911"/>
        <c:crosses val="autoZero"/>
        <c:crossBetween val="midCat"/>
      </c:valAx>
      <c:valAx>
        <c:axId val="1408032911"/>
        <c:scaling>
          <c:orientation val="minMax"/>
          <c:max val="295"/>
          <c:min val="26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32495"/>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O</a:t>
            </a:r>
            <a:r>
              <a:rPr lang="en-US" sz="1800" b="0" i="0" baseline="-25000">
                <a:effectLst/>
              </a:rPr>
              <a:t>2</a:t>
            </a:r>
            <a:r>
              <a:rPr lang="en-US" sz="1800" b="0" i="0" baseline="0">
                <a:effectLst/>
              </a:rPr>
              <a:t> (Nm3)  v/s ETA CO</a:t>
            </a:r>
            <a:endParaRPr lang="en-US">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2!$K$1</c:f>
              <c:strCache>
                <c:ptCount val="1"/>
                <c:pt idx="0">
                  <c:v>new o2 eta</c:v>
                </c:pt>
              </c:strCache>
            </c:strRef>
          </c:tx>
          <c:spPr>
            <a:ln w="19050" cap="rnd">
              <a:noFill/>
              <a:round/>
            </a:ln>
            <a:effectLst/>
          </c:spPr>
          <c:marker>
            <c:symbol val="circle"/>
            <c:size val="5"/>
            <c:spPr>
              <a:solidFill>
                <a:schemeClr val="accent1"/>
              </a:solidFill>
              <a:ln w="9525">
                <a:solidFill>
                  <a:schemeClr val="accent1"/>
                </a:solidFill>
              </a:ln>
              <a:effectLst/>
            </c:spPr>
          </c:marker>
          <c:xVal>
            <c:numRef>
              <c:f>Sheet2!$A$2:$A$1131</c:f>
              <c:numCache>
                <c:formatCode>General</c:formatCode>
                <c:ptCount val="1130"/>
                <c:pt idx="1">
                  <c:v>#N/A</c:v>
                </c:pt>
                <c:pt idx="2">
                  <c:v>#N/A</c:v>
                </c:pt>
                <c:pt idx="3">
                  <c:v>0.519213141325092</c:v>
                </c:pt>
                <c:pt idx="4">
                  <c:v>0.50730858408022572</c:v>
                </c:pt>
                <c:pt idx="5">
                  <c:v>0.50416659520414131</c:v>
                </c:pt>
                <c:pt idx="6">
                  <c:v>0.51059923955978881</c:v>
                </c:pt>
                <c:pt idx="7">
                  <c:v>0.50914034555171117</c:v>
                </c:pt>
                <c:pt idx="8">
                  <c:v>0.51115461362300241</c:v>
                </c:pt>
                <c:pt idx="9">
                  <c:v>0.50491303077040672</c:v>
                </c:pt>
                <c:pt idx="10">
                  <c:v>0.51703197429369807</c:v>
                </c:pt>
                <c:pt idx="11">
                  <c:v>0.51652745680419621</c:v>
                </c:pt>
                <c:pt idx="12">
                  <c:v>0.51055732263936937</c:v>
                </c:pt>
                <c:pt idx="13">
                  <c:v>0.50595222104700965</c:v>
                </c:pt>
                <c:pt idx="14">
                  <c:v>0.50773566238194578</c:v>
                </c:pt>
                <c:pt idx="15">
                  <c:v>0.50407606672947547</c:v>
                </c:pt>
                <c:pt idx="16">
                  <c:v>0.50677715510528698</c:v>
                </c:pt>
                <c:pt idx="17">
                  <c:v>0.50277971785589792</c:v>
                </c:pt>
                <c:pt idx="18">
                  <c:v>0.50223851350524151</c:v>
                </c:pt>
                <c:pt idx="19">
                  <c:v>0.50799838472148151</c:v>
                </c:pt>
                <c:pt idx="20">
                  <c:v>0.51163197470040711</c:v>
                </c:pt>
                <c:pt idx="21">
                  <c:v>0.50664407228033437</c:v>
                </c:pt>
                <c:pt idx="22">
                  <c:v>0.50936320108218791</c:v>
                </c:pt>
                <c:pt idx="23">
                  <c:v>0.50528599264191087</c:v>
                </c:pt>
                <c:pt idx="24">
                  <c:v>0.50285066764845843</c:v>
                </c:pt>
                <c:pt idx="25">
                  <c:v>0.50490561093921393</c:v>
                </c:pt>
                <c:pt idx="26">
                  <c:v>0.5043299298713213</c:v>
                </c:pt>
                <c:pt idx="27">
                  <c:v>0.50043511781749705</c:v>
                </c:pt>
                <c:pt idx="28">
                  <c:v>0.4995882454720259</c:v>
                </c:pt>
                <c:pt idx="29">
                  <c:v>0.50422084722571026</c:v>
                </c:pt>
                <c:pt idx="30">
                  <c:v>0.51393310684319127</c:v>
                </c:pt>
                <c:pt idx="31">
                  <c:v>0.51356718649202016</c:v>
                </c:pt>
                <c:pt idx="32">
                  <c:v>#N/A</c:v>
                </c:pt>
                <c:pt idx="33">
                  <c:v>0.51943131047074054</c:v>
                </c:pt>
                <c:pt idx="34">
                  <c:v>0.5160222559131018</c:v>
                </c:pt>
                <c:pt idx="35">
                  <c:v>0.51655008352916809</c:v>
                </c:pt>
                <c:pt idx="36">
                  <c:v>0.50828954124933823</c:v>
                </c:pt>
                <c:pt idx="37">
                  <c:v>0.50725341656633649</c:v>
                </c:pt>
                <c:pt idx="38">
                  <c:v>0.50949373455468905</c:v>
                </c:pt>
                <c:pt idx="39">
                  <c:v>0.51592892871640283</c:v>
                </c:pt>
                <c:pt idx="40">
                  <c:v>0.51990821623909611</c:v>
                </c:pt>
                <c:pt idx="41">
                  <c:v>0.51234142885665124</c:v>
                </c:pt>
                <c:pt idx="42">
                  <c:v>0.51732377134319762</c:v>
                </c:pt>
                <c:pt idx="43">
                  <c:v>0.5094435095577885</c:v>
                </c:pt>
                <c:pt idx="44">
                  <c:v>0.51549203596224447</c:v>
                </c:pt>
                <c:pt idx="45">
                  <c:v>0.51821195033945444</c:v>
                </c:pt>
                <c:pt idx="46">
                  <c:v>0.51528232239683802</c:v>
                </c:pt>
                <c:pt idx="47">
                  <c:v>0.51172579365622162</c:v>
                </c:pt>
                <c:pt idx="48">
                  <c:v>0.51143668370228823</c:v>
                </c:pt>
                <c:pt idx="49">
                  <c:v>#N/A</c:v>
                </c:pt>
                <c:pt idx="50">
                  <c:v>0.5197585133007816</c:v>
                </c:pt>
                <c:pt idx="51">
                  <c:v>0.50916219524865891</c:v>
                </c:pt>
                <c:pt idx="52">
                  <c:v>0.51129979467596509</c:v>
                </c:pt>
                <c:pt idx="53">
                  <c:v>#N/A</c:v>
                </c:pt>
                <c:pt idx="54">
                  <c:v>0.51309529193552483</c:v>
                </c:pt>
                <c:pt idx="55">
                  <c:v>0.51871709234820995</c:v>
                </c:pt>
                <c:pt idx="56">
                  <c:v>0.51252658447403909</c:v>
                </c:pt>
                <c:pt idx="57">
                  <c:v>0.51361456956032425</c:v>
                </c:pt>
                <c:pt idx="58">
                  <c:v>0.50787869976372435</c:v>
                </c:pt>
                <c:pt idx="59">
                  <c:v>0.51504770946492495</c:v>
                </c:pt>
                <c:pt idx="60">
                  <c:v>0.51390234907872456</c:v>
                </c:pt>
                <c:pt idx="61">
                  <c:v>0.51385754958464691</c:v>
                </c:pt>
                <c:pt idx="62">
                  <c:v>0.51054617475820385</c:v>
                </c:pt>
                <c:pt idx="63">
                  <c:v>0.5084377975476303</c:v>
                </c:pt>
                <c:pt idx="64">
                  <c:v>0.52002459900737963</c:v>
                </c:pt>
                <c:pt idx="65">
                  <c:v>#N/A</c:v>
                </c:pt>
                <c:pt idx="66">
                  <c:v>#N/A</c:v>
                </c:pt>
                <c:pt idx="67">
                  <c:v>0.52078013058132067</c:v>
                </c:pt>
                <c:pt idx="68">
                  <c:v>0.51143138543318822</c:v>
                </c:pt>
                <c:pt idx="69">
                  <c:v>0.51125220998327969</c:v>
                </c:pt>
                <c:pt idx="70">
                  <c:v>0.51541361719232237</c:v>
                </c:pt>
                <c:pt idx="71">
                  <c:v>0.51928027746282701</c:v>
                </c:pt>
                <c:pt idx="72">
                  <c:v>#N/A</c:v>
                </c:pt>
                <c:pt idx="73">
                  <c:v>0.51876494354151947</c:v>
                </c:pt>
                <c:pt idx="74">
                  <c:v>#N/A</c:v>
                </c:pt>
                <c:pt idx="75">
                  <c:v>0.51955549517760979</c:v>
                </c:pt>
                <c:pt idx="76">
                  <c:v>0.51594114943614344</c:v>
                </c:pt>
                <c:pt idx="77">
                  <c:v>0.5198376905432166</c:v>
                </c:pt>
                <c:pt idx="78">
                  <c:v>0.51433715794204926</c:v>
                </c:pt>
                <c:pt idx="79">
                  <c:v>0.51596146919688701</c:v>
                </c:pt>
                <c:pt idx="80">
                  <c:v>0.5177466552390565</c:v>
                </c:pt>
                <c:pt idx="81">
                  <c:v>0.51427380895778374</c:v>
                </c:pt>
                <c:pt idx="82">
                  <c:v>0.5098411040022397</c:v>
                </c:pt>
                <c:pt idx="83">
                  <c:v>0.50853073088034662</c:v>
                </c:pt>
                <c:pt idx="84">
                  <c:v>0.50899124799719531</c:v>
                </c:pt>
                <c:pt idx="85">
                  <c:v>0.51845291795783843</c:v>
                </c:pt>
                <c:pt idx="86">
                  <c:v>0.51719990708060581</c:v>
                </c:pt>
                <c:pt idx="87">
                  <c:v>0.51777380125639394</c:v>
                </c:pt>
                <c:pt idx="88">
                  <c:v>#N/A</c:v>
                </c:pt>
                <c:pt idx="89">
                  <c:v>0.51697055616128651</c:v>
                </c:pt>
                <c:pt idx="90">
                  <c:v>#N/A</c:v>
                </c:pt>
                <c:pt idx="91">
                  <c:v>#N/A</c:v>
                </c:pt>
                <c:pt idx="92">
                  <c:v>#N/A</c:v>
                </c:pt>
                <c:pt idx="93">
                  <c:v>0.51857566391598586</c:v>
                </c:pt>
                <c:pt idx="94">
                  <c:v>0.51328868615536816</c:v>
                </c:pt>
                <c:pt idx="95">
                  <c:v>0.51382384568937967</c:v>
                </c:pt>
                <c:pt idx="96">
                  <c:v>0.52039972980852156</c:v>
                </c:pt>
                <c:pt idx="97">
                  <c:v>0.51694020349956105</c:v>
                </c:pt>
                <c:pt idx="98">
                  <c:v>0.51642118986354635</c:v>
                </c:pt>
                <c:pt idx="99">
                  <c:v>0.52077454526253819</c:v>
                </c:pt>
                <c:pt idx="100">
                  <c:v>#N/A</c:v>
                </c:pt>
                <c:pt idx="101">
                  <c:v>#N/A</c:v>
                </c:pt>
                <c:pt idx="102">
                  <c:v>#N/A</c:v>
                </c:pt>
                <c:pt idx="103">
                  <c:v>#N/A</c:v>
                </c:pt>
                <c:pt idx="104">
                  <c:v>#N/A</c:v>
                </c:pt>
                <c:pt idx="105">
                  <c:v>0.51936249840042437</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0.51692113932386652</c:v>
                </c:pt>
                <c:pt idx="128">
                  <c:v>0.51236981413131755</c:v>
                </c:pt>
                <c:pt idx="129">
                  <c:v>0.51617168930486124</c:v>
                </c:pt>
                <c:pt idx="130">
                  <c:v>0.51922841245753082</c:v>
                </c:pt>
                <c:pt idx="131">
                  <c:v>#N/A</c:v>
                </c:pt>
                <c:pt idx="132">
                  <c:v>0.51980511836977761</c:v>
                </c:pt>
                <c:pt idx="133">
                  <c:v>0.51842304155105834</c:v>
                </c:pt>
                <c:pt idx="134">
                  <c:v>#N/A</c:v>
                </c:pt>
                <c:pt idx="135">
                  <c:v>0.5204595853018722</c:v>
                </c:pt>
                <c:pt idx="136">
                  <c:v>0.51267844774715077</c:v>
                </c:pt>
                <c:pt idx="137">
                  <c:v>0.51408643311399227</c:v>
                </c:pt>
                <c:pt idx="138">
                  <c:v>0.51456044071099272</c:v>
                </c:pt>
                <c:pt idx="139">
                  <c:v>0.50542669354309255</c:v>
                </c:pt>
                <c:pt idx="140">
                  <c:v>0.50542669354309255</c:v>
                </c:pt>
                <c:pt idx="141">
                  <c:v>0.50155508103319146</c:v>
                </c:pt>
                <c:pt idx="142">
                  <c:v>0.51257504483192484</c:v>
                </c:pt>
                <c:pt idx="143">
                  <c:v>0.51841019119742937</c:v>
                </c:pt>
                <c:pt idx="144">
                  <c:v>0.51467597115738772</c:v>
                </c:pt>
                <c:pt idx="145">
                  <c:v>#N/A</c:v>
                </c:pt>
                <c:pt idx="146">
                  <c:v>#N/A</c:v>
                </c:pt>
                <c:pt idx="147">
                  <c:v>0.5174322862880546</c:v>
                </c:pt>
                <c:pt idx="148">
                  <c:v>#N/A</c:v>
                </c:pt>
                <c:pt idx="149">
                  <c:v>#N/A</c:v>
                </c:pt>
                <c:pt idx="150">
                  <c:v>#N/A</c:v>
                </c:pt>
                <c:pt idx="151">
                  <c:v>#N/A</c:v>
                </c:pt>
                <c:pt idx="152">
                  <c:v>#N/A</c:v>
                </c:pt>
                <c:pt idx="153">
                  <c:v>#N/A</c:v>
                </c:pt>
                <c:pt idx="154">
                  <c:v>#N/A</c:v>
                </c:pt>
                <c:pt idx="155">
                  <c:v>0.52021846733758403</c:v>
                </c:pt>
                <c:pt idx="156">
                  <c:v>0.51922276050210447</c:v>
                </c:pt>
                <c:pt idx="157">
                  <c:v>#N/A</c:v>
                </c:pt>
                <c:pt idx="158">
                  <c:v>#N/A</c:v>
                </c:pt>
                <c:pt idx="159">
                  <c:v>#N/A</c:v>
                </c:pt>
                <c:pt idx="160">
                  <c:v>#N/A</c:v>
                </c:pt>
                <c:pt idx="161">
                  <c:v>#N/A</c:v>
                </c:pt>
                <c:pt idx="162">
                  <c:v>#N/A</c:v>
                </c:pt>
                <c:pt idx="163">
                  <c:v>#N/A</c:v>
                </c:pt>
                <c:pt idx="164">
                  <c:v>#N/A</c:v>
                </c:pt>
                <c:pt idx="165">
                  <c:v>#N/A</c:v>
                </c:pt>
                <c:pt idx="166">
                  <c:v>0.51629334179280928</c:v>
                </c:pt>
                <c:pt idx="167">
                  <c:v>#N/A</c:v>
                </c:pt>
                <c:pt idx="168">
                  <c:v>0.52012685300983708</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0</c:v>
                </c:pt>
                <c:pt idx="219">
                  <c:v>0</c:v>
                </c:pt>
                <c:pt idx="220">
                  <c:v>0</c:v>
                </c:pt>
                <c:pt idx="221">
                  <c:v>#N/A</c:v>
                </c:pt>
                <c:pt idx="222">
                  <c:v>#N/A</c:v>
                </c:pt>
                <c:pt idx="223">
                  <c:v>#N/A</c:v>
                </c:pt>
                <c:pt idx="224">
                  <c:v>#N/A</c:v>
                </c:pt>
                <c:pt idx="225">
                  <c:v>#N/A</c:v>
                </c:pt>
                <c:pt idx="226">
                  <c:v>#N/A</c:v>
                </c:pt>
                <c:pt idx="227">
                  <c:v>#N/A</c:v>
                </c:pt>
                <c:pt idx="228">
                  <c:v>0.51860561693415352</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0.5209815618843513</c:v>
                </c:pt>
                <c:pt idx="345">
                  <c:v>#N/A</c:v>
                </c:pt>
                <c:pt idx="346">
                  <c:v>#N/A</c:v>
                </c:pt>
                <c:pt idx="347">
                  <c:v>#N/A</c:v>
                </c:pt>
                <c:pt idx="348">
                  <c:v>0.51889270371018503</c:v>
                </c:pt>
                <c:pt idx="349">
                  <c:v>0.51928256243776161</c:v>
                </c:pt>
                <c:pt idx="350">
                  <c:v>0.51950421659752333</c:v>
                </c:pt>
                <c:pt idx="351">
                  <c:v>#N/A</c:v>
                </c:pt>
                <c:pt idx="352">
                  <c:v>#N/A</c:v>
                </c:pt>
                <c:pt idx="353">
                  <c:v>#N/A</c:v>
                </c:pt>
                <c:pt idx="354">
                  <c:v>#N/A</c:v>
                </c:pt>
                <c:pt idx="355">
                  <c:v>#N/A</c:v>
                </c:pt>
                <c:pt idx="356">
                  <c:v>0.51857894854487785</c:v>
                </c:pt>
                <c:pt idx="357">
                  <c:v>0.51868155047966447</c:v>
                </c:pt>
                <c:pt idx="358">
                  <c:v>#N/A</c:v>
                </c:pt>
                <c:pt idx="359">
                  <c:v>#N/A</c:v>
                </c:pt>
                <c:pt idx="360">
                  <c:v>#N/A</c:v>
                </c:pt>
                <c:pt idx="361">
                  <c:v>#N/A</c:v>
                </c:pt>
                <c:pt idx="362">
                  <c:v>0.51758971990813119</c:v>
                </c:pt>
                <c:pt idx="363">
                  <c:v>0.51242668337841701</c:v>
                </c:pt>
                <c:pt idx="364">
                  <c:v>0.51517019522952534</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0.51968145802208343</c:v>
                </c:pt>
                <c:pt idx="378">
                  <c:v>0.51889171921490118</c:v>
                </c:pt>
                <c:pt idx="379">
                  <c:v>0.51714328520487884</c:v>
                </c:pt>
                <c:pt idx="380">
                  <c:v>#N/A</c:v>
                </c:pt>
                <c:pt idx="381">
                  <c:v>#N/A</c:v>
                </c:pt>
                <c:pt idx="382">
                  <c:v>#N/A</c:v>
                </c:pt>
                <c:pt idx="383">
                  <c:v>0.52096192630920868</c:v>
                </c:pt>
                <c:pt idx="384">
                  <c:v>#N/A</c:v>
                </c:pt>
                <c:pt idx="385">
                  <c:v>#N/A</c:v>
                </c:pt>
                <c:pt idx="386">
                  <c:v>#N/A</c:v>
                </c:pt>
                <c:pt idx="387">
                  <c:v>#N/A</c:v>
                </c:pt>
                <c:pt idx="388">
                  <c:v>#N/A</c:v>
                </c:pt>
                <c:pt idx="389">
                  <c:v>#N/A</c:v>
                </c:pt>
                <c:pt idx="390">
                  <c:v>#N/A</c:v>
                </c:pt>
                <c:pt idx="391">
                  <c:v>0.52063979752580936</c:v>
                </c:pt>
                <c:pt idx="392">
                  <c:v>#N/A</c:v>
                </c:pt>
                <c:pt idx="393">
                  <c:v>#N/A</c:v>
                </c:pt>
                <c:pt idx="394">
                  <c:v>#N/A</c:v>
                </c:pt>
                <c:pt idx="395">
                  <c:v>#N/A</c:v>
                </c:pt>
                <c:pt idx="396">
                  <c:v>#N/A</c:v>
                </c:pt>
                <c:pt idx="397">
                  <c:v>#N/A</c:v>
                </c:pt>
                <c:pt idx="398">
                  <c:v>#N/A</c:v>
                </c:pt>
                <c:pt idx="399">
                  <c:v>#N/A</c:v>
                </c:pt>
                <c:pt idx="400">
                  <c:v>#N/A</c:v>
                </c:pt>
                <c:pt idx="401">
                  <c:v>0.52046365869717459</c:v>
                </c:pt>
                <c:pt idx="402">
                  <c:v>0.51868352818648022</c:v>
                </c:pt>
                <c:pt idx="403">
                  <c:v>0.51695574734020655</c:v>
                </c:pt>
                <c:pt idx="404">
                  <c:v>#N/A</c:v>
                </c:pt>
                <c:pt idx="405">
                  <c:v>#N/A</c:v>
                </c:pt>
                <c:pt idx="406">
                  <c:v>0.51699418921050289</c:v>
                </c:pt>
                <c:pt idx="407">
                  <c:v>0.51950588978441159</c:v>
                </c:pt>
                <c:pt idx="408">
                  <c:v>#N/A</c:v>
                </c:pt>
                <c:pt idx="409">
                  <c:v>#N/A</c:v>
                </c:pt>
                <c:pt idx="410">
                  <c:v>0.51970739222493223</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0.51579757489537936</c:v>
                </c:pt>
                <c:pt idx="433">
                  <c:v>0.51791073579783276</c:v>
                </c:pt>
                <c:pt idx="434">
                  <c:v>0.51812407371818503</c:v>
                </c:pt>
                <c:pt idx="435">
                  <c:v>#N/A</c:v>
                </c:pt>
                <c:pt idx="436">
                  <c:v>#N/A</c:v>
                </c:pt>
                <c:pt idx="437">
                  <c:v>#N/A</c:v>
                </c:pt>
                <c:pt idx="438">
                  <c:v>#N/A</c:v>
                </c:pt>
                <c:pt idx="439">
                  <c:v>#N/A</c:v>
                </c:pt>
                <c:pt idx="440">
                  <c:v>#N/A</c:v>
                </c:pt>
                <c:pt idx="441">
                  <c:v>#N/A</c:v>
                </c:pt>
                <c:pt idx="442">
                  <c:v>#N/A</c:v>
                </c:pt>
                <c:pt idx="443">
                  <c:v>#N/A</c:v>
                </c:pt>
                <c:pt idx="444">
                  <c:v>0.51958605729797269</c:v>
                </c:pt>
                <c:pt idx="445">
                  <c:v>#N/A</c:v>
                </c:pt>
                <c:pt idx="446">
                  <c:v>#N/A</c:v>
                </c:pt>
                <c:pt idx="447">
                  <c:v>#N/A</c:v>
                </c:pt>
                <c:pt idx="448">
                  <c:v>#N/A</c:v>
                </c:pt>
                <c:pt idx="449">
                  <c:v>#N/A</c:v>
                </c:pt>
                <c:pt idx="450">
                  <c:v>#N/A</c:v>
                </c:pt>
                <c:pt idx="451">
                  <c:v>#N/A</c:v>
                </c:pt>
                <c:pt idx="452">
                  <c:v>#N/A</c:v>
                </c:pt>
                <c:pt idx="453">
                  <c:v>#N/A</c:v>
                </c:pt>
                <c:pt idx="454">
                  <c:v>#N/A</c:v>
                </c:pt>
                <c:pt idx="455">
                  <c:v>0</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0.51767368343824294</c:v>
                </c:pt>
                <c:pt idx="478">
                  <c:v>#N/A</c:v>
                </c:pt>
                <c:pt idx="479">
                  <c:v>0.51921175993864466</c:v>
                </c:pt>
                <c:pt idx="480">
                  <c:v>#N/A</c:v>
                </c:pt>
                <c:pt idx="481">
                  <c:v>#N/A</c:v>
                </c:pt>
                <c:pt idx="482">
                  <c:v>#N/A</c:v>
                </c:pt>
                <c:pt idx="483">
                  <c:v>#N/A</c:v>
                </c:pt>
                <c:pt idx="484">
                  <c:v>#N/A</c:v>
                </c:pt>
                <c:pt idx="485">
                  <c:v>#N/A</c:v>
                </c:pt>
                <c:pt idx="486">
                  <c:v>#N/A</c:v>
                </c:pt>
                <c:pt idx="487">
                  <c:v>#N/A</c:v>
                </c:pt>
                <c:pt idx="488">
                  <c:v>0.51842964501714395</c:v>
                </c:pt>
                <c:pt idx="489">
                  <c:v>0.51662018232065543</c:v>
                </c:pt>
                <c:pt idx="490">
                  <c:v>#N/A</c:v>
                </c:pt>
                <c:pt idx="491">
                  <c:v>#N/A</c:v>
                </c:pt>
                <c:pt idx="492">
                  <c:v>#N/A</c:v>
                </c:pt>
                <c:pt idx="493">
                  <c:v>0.52081347254107868</c:v>
                </c:pt>
                <c:pt idx="494">
                  <c:v>0.51991981517473751</c:v>
                </c:pt>
                <c:pt idx="495">
                  <c:v>#N/A</c:v>
                </c:pt>
                <c:pt idx="496">
                  <c:v>#N/A</c:v>
                </c:pt>
                <c:pt idx="497">
                  <c:v>#N/A</c:v>
                </c:pt>
                <c:pt idx="498">
                  <c:v>#N/A</c:v>
                </c:pt>
                <c:pt idx="499">
                  <c:v>#N/A</c:v>
                </c:pt>
                <c:pt idx="500">
                  <c:v>0.51387876047321723</c:v>
                </c:pt>
                <c:pt idx="501">
                  <c:v>0.51319018548364803</c:v>
                </c:pt>
                <c:pt idx="502">
                  <c:v>0.51836231873044614</c:v>
                </c:pt>
                <c:pt idx="503">
                  <c:v>0.51603692555574121</c:v>
                </c:pt>
                <c:pt idx="504">
                  <c:v>0.51935917777210905</c:v>
                </c:pt>
                <c:pt idx="505">
                  <c:v>#N/A</c:v>
                </c:pt>
                <c:pt idx="506">
                  <c:v>#N/A</c:v>
                </c:pt>
                <c:pt idx="507">
                  <c:v>#N/A</c:v>
                </c:pt>
                <c:pt idx="508">
                  <c:v>#N/A</c:v>
                </c:pt>
                <c:pt idx="509">
                  <c:v>#N/A</c:v>
                </c:pt>
                <c:pt idx="510">
                  <c:v>#N/A</c:v>
                </c:pt>
                <c:pt idx="511">
                  <c:v>#N/A</c:v>
                </c:pt>
                <c:pt idx="512">
                  <c:v>0.51794117738121115</c:v>
                </c:pt>
                <c:pt idx="513">
                  <c:v>#N/A</c:v>
                </c:pt>
                <c:pt idx="514">
                  <c:v>0.51244738106990717</c:v>
                </c:pt>
                <c:pt idx="515">
                  <c:v>0.51836209711517622</c:v>
                </c:pt>
                <c:pt idx="516">
                  <c:v>#N/A</c:v>
                </c:pt>
                <c:pt idx="517">
                  <c:v>0.51709108311340479</c:v>
                </c:pt>
                <c:pt idx="518">
                  <c:v>0.52020165677519459</c:v>
                </c:pt>
                <c:pt idx="519">
                  <c:v>0.51326004733986297</c:v>
                </c:pt>
                <c:pt idx="520">
                  <c:v>#N/A</c:v>
                </c:pt>
                <c:pt idx="521">
                  <c:v>0.51861490302690405</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0.51893188761453879</c:v>
                </c:pt>
                <c:pt idx="535">
                  <c:v>0.51006690258522247</c:v>
                </c:pt>
                <c:pt idx="536">
                  <c:v>0.51184529204528939</c:v>
                </c:pt>
                <c:pt idx="537">
                  <c:v>0.51165821610428952</c:v>
                </c:pt>
                <c:pt idx="538">
                  <c:v>0.51442293345377266</c:v>
                </c:pt>
                <c:pt idx="539">
                  <c:v>0.51633801727010475</c:v>
                </c:pt>
                <c:pt idx="540">
                  <c:v>0.51922675051706357</c:v>
                </c:pt>
                <c:pt idx="541">
                  <c:v>0.52079810423456074</c:v>
                </c:pt>
                <c:pt idx="542">
                  <c:v>0.51208706004656235</c:v>
                </c:pt>
                <c:pt idx="543">
                  <c:v>0.50443454356149287</c:v>
                </c:pt>
                <c:pt idx="544">
                  <c:v>0.51113507750665454</c:v>
                </c:pt>
                <c:pt idx="545">
                  <c:v>0.5130584183998087</c:v>
                </c:pt>
                <c:pt idx="546">
                  <c:v>0.5153087184304288</c:v>
                </c:pt>
                <c:pt idx="547">
                  <c:v>0.51811571468763828</c:v>
                </c:pt>
                <c:pt idx="548">
                  <c:v>#N/A</c:v>
                </c:pt>
                <c:pt idx="549">
                  <c:v>#N/A</c:v>
                </c:pt>
                <c:pt idx="550">
                  <c:v>#N/A</c:v>
                </c:pt>
                <c:pt idx="551">
                  <c:v>0.52095675868778712</c:v>
                </c:pt>
                <c:pt idx="552">
                  <c:v>#N/A</c:v>
                </c:pt>
                <c:pt idx="553">
                  <c:v>#N/A</c:v>
                </c:pt>
                <c:pt idx="554">
                  <c:v>#N/A</c:v>
                </c:pt>
                <c:pt idx="555">
                  <c:v>#N/A</c:v>
                </c:pt>
                <c:pt idx="556">
                  <c:v>#N/A</c:v>
                </c:pt>
                <c:pt idx="557">
                  <c:v>#N/A</c:v>
                </c:pt>
                <c:pt idx="558">
                  <c:v>#N/A</c:v>
                </c:pt>
                <c:pt idx="559">
                  <c:v>0.52093323153518556</c:v>
                </c:pt>
                <c:pt idx="560">
                  <c:v>0.51898570128395494</c:v>
                </c:pt>
                <c:pt idx="561">
                  <c:v>0.51420915530156042</c:v>
                </c:pt>
                <c:pt idx="562">
                  <c:v>0.51105381666297178</c:v>
                </c:pt>
                <c:pt idx="563">
                  <c:v>0.52086836222200161</c:v>
                </c:pt>
                <c:pt idx="564">
                  <c:v>#N/A</c:v>
                </c:pt>
                <c:pt idx="565">
                  <c:v>#N/A</c:v>
                </c:pt>
                <c:pt idx="566">
                  <c:v>0.5131313131313131</c:v>
                </c:pt>
                <c:pt idx="567">
                  <c:v>0.51928335406307491</c:v>
                </c:pt>
                <c:pt idx="568">
                  <c:v>#N/A</c:v>
                </c:pt>
                <c:pt idx="569">
                  <c:v>0.51238057321304264</c:v>
                </c:pt>
                <c:pt idx="570">
                  <c:v>#N/A</c:v>
                </c:pt>
                <c:pt idx="571">
                  <c:v>0.51578321214235001</c:v>
                </c:pt>
                <c:pt idx="572">
                  <c:v>0.51676918186728704</c:v>
                </c:pt>
                <c:pt idx="573">
                  <c:v>0.51629514814368804</c:v>
                </c:pt>
                <c:pt idx="574">
                  <c:v>0.51304171109086594</c:v>
                </c:pt>
                <c:pt idx="575">
                  <c:v>0.51731293389956756</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0</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0.51087244972942425</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0.51744733269499321</c:v>
                </c:pt>
                <c:pt idx="633">
                  <c:v>0.51528675203588004</c:v>
                </c:pt>
                <c:pt idx="634">
                  <c:v>0.5152968149574324</c:v>
                </c:pt>
                <c:pt idx="635">
                  <c:v>0.51395260676390619</c:v>
                </c:pt>
                <c:pt idx="636">
                  <c:v>0.51767416176797576</c:v>
                </c:pt>
                <c:pt idx="637">
                  <c:v>0.51453439304214788</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0.51972541645943293</c:v>
                </c:pt>
                <c:pt idx="664">
                  <c:v>#N/A</c:v>
                </c:pt>
                <c:pt idx="665">
                  <c:v>#N/A</c:v>
                </c:pt>
                <c:pt idx="666">
                  <c:v>0.51877562873465655</c:v>
                </c:pt>
                <c:pt idx="667">
                  <c:v>0.52077312118203523</c:v>
                </c:pt>
                <c:pt idx="668">
                  <c:v>0.51638056987928793</c:v>
                </c:pt>
                <c:pt idx="669">
                  <c:v>0.50968206644271163</c:v>
                </c:pt>
                <c:pt idx="670">
                  <c:v>0.50939348660199113</c:v>
                </c:pt>
                <c:pt idx="671">
                  <c:v>0.51508746260056582</c:v>
                </c:pt>
                <c:pt idx="672">
                  <c:v>#N/A</c:v>
                </c:pt>
                <c:pt idx="673">
                  <c:v>0.51894072186532914</c:v>
                </c:pt>
                <c:pt idx="674">
                  <c:v>0.52047198941402895</c:v>
                </c:pt>
                <c:pt idx="675">
                  <c:v>#N/A</c:v>
                </c:pt>
                <c:pt idx="676">
                  <c:v>#N/A</c:v>
                </c:pt>
                <c:pt idx="677">
                  <c:v>0.51995411096768607</c:v>
                </c:pt>
                <c:pt idx="678">
                  <c:v>0.51678724292702594</c:v>
                </c:pt>
                <c:pt idx="679">
                  <c:v>0.51487958240425313</c:v>
                </c:pt>
                <c:pt idx="680">
                  <c:v>#N/A</c:v>
                </c:pt>
                <c:pt idx="681">
                  <c:v>#N/A</c:v>
                </c:pt>
                <c:pt idx="682">
                  <c:v>#N/A</c:v>
                </c:pt>
                <c:pt idx="683">
                  <c:v>#N/A</c:v>
                </c:pt>
                <c:pt idx="684">
                  <c:v>#N/A</c:v>
                </c:pt>
                <c:pt idx="685">
                  <c:v>#N/A</c:v>
                </c:pt>
                <c:pt idx="686">
                  <c:v>0.52052806809790797</c:v>
                </c:pt>
                <c:pt idx="687">
                  <c:v>#N/A</c:v>
                </c:pt>
                <c:pt idx="688">
                  <c:v>#N/A</c:v>
                </c:pt>
                <c:pt idx="689">
                  <c:v>0.51860177719621448</c:v>
                </c:pt>
                <c:pt idx="690">
                  <c:v>0.51683811837546434</c:v>
                </c:pt>
                <c:pt idx="691">
                  <c:v>0.51590968726835706</c:v>
                </c:pt>
                <c:pt idx="692">
                  <c:v>#N/A</c:v>
                </c:pt>
                <c:pt idx="693">
                  <c:v>0.52079330173301497</c:v>
                </c:pt>
                <c:pt idx="694">
                  <c:v>0.51915130698675638</c:v>
                </c:pt>
                <c:pt idx="695">
                  <c:v>0.51797349054329689</c:v>
                </c:pt>
                <c:pt idx="696">
                  <c:v>0.51740034068295704</c:v>
                </c:pt>
                <c:pt idx="697">
                  <c:v>0.51757912513152482</c:v>
                </c:pt>
                <c:pt idx="698">
                  <c:v>0.51649247556212508</c:v>
                </c:pt>
                <c:pt idx="699">
                  <c:v>0.51549496891771496</c:v>
                </c:pt>
                <c:pt idx="700">
                  <c:v>0.51350890364813429</c:v>
                </c:pt>
                <c:pt idx="701">
                  <c:v>0.51312006955987111</c:v>
                </c:pt>
                <c:pt idx="702">
                  <c:v>0.51194538731242045</c:v>
                </c:pt>
                <c:pt idx="703">
                  <c:v>0.51305516997699274</c:v>
                </c:pt>
                <c:pt idx="704">
                  <c:v>0.50488719185451647</c:v>
                </c:pt>
                <c:pt idx="705">
                  <c:v>0.50680306765788452</c:v>
                </c:pt>
                <c:pt idx="706">
                  <c:v>0.50591976438689468</c:v>
                </c:pt>
                <c:pt idx="707">
                  <c:v>0.50650631474457886</c:v>
                </c:pt>
                <c:pt idx="708">
                  <c:v>0.51618409833945311</c:v>
                </c:pt>
                <c:pt idx="709">
                  <c:v>0.5160818295079046</c:v>
                </c:pt>
                <c:pt idx="710">
                  <c:v>0.51174251838103413</c:v>
                </c:pt>
                <c:pt idx="711">
                  <c:v>0.50830789261236298</c:v>
                </c:pt>
                <c:pt idx="712">
                  <c:v>0.5054958481416193</c:v>
                </c:pt>
                <c:pt idx="713">
                  <c:v>0.50174669071549338</c:v>
                </c:pt>
                <c:pt idx="714">
                  <c:v>0.50079215955638667</c:v>
                </c:pt>
                <c:pt idx="715">
                  <c:v>0.50203783558566539</c:v>
                </c:pt>
                <c:pt idx="716">
                  <c:v>0.49974004775421121</c:v>
                </c:pt>
                <c:pt idx="717">
                  <c:v>0.50458900770735071</c:v>
                </c:pt>
                <c:pt idx="718">
                  <c:v>0.50584619811589127</c:v>
                </c:pt>
                <c:pt idx="719">
                  <c:v>0.51074578765862488</c:v>
                </c:pt>
                <c:pt idx="720">
                  <c:v>0.51668100087097557</c:v>
                </c:pt>
                <c:pt idx="721">
                  <c:v>0.51270593243573426</c:v>
                </c:pt>
                <c:pt idx="722">
                  <c:v>0.51171988491522402</c:v>
                </c:pt>
                <c:pt idx="723">
                  <c:v>0.50522738788091426</c:v>
                </c:pt>
                <c:pt idx="724">
                  <c:v>0.50585636858690408</c:v>
                </c:pt>
                <c:pt idx="725">
                  <c:v>0.50478362263122878</c:v>
                </c:pt>
                <c:pt idx="726">
                  <c:v>0.50384138150568791</c:v>
                </c:pt>
                <c:pt idx="727">
                  <c:v>0.50734333878962956</c:v>
                </c:pt>
                <c:pt idx="728">
                  <c:v>0.50908154264486682</c:v>
                </c:pt>
                <c:pt idx="729">
                  <c:v>0.50798267664272012</c:v>
                </c:pt>
                <c:pt idx="730">
                  <c:v>0.51033212523159954</c:v>
                </c:pt>
                <c:pt idx="731">
                  <c:v>0.51342293253068094</c:v>
                </c:pt>
                <c:pt idx="732">
                  <c:v>0.50742934077548896</c:v>
                </c:pt>
                <c:pt idx="733">
                  <c:v>0.51481288592277796</c:v>
                </c:pt>
                <c:pt idx="734">
                  <c:v>0.51207583051663264</c:v>
                </c:pt>
                <c:pt idx="735">
                  <c:v>0.51530519180480505</c:v>
                </c:pt>
                <c:pt idx="736">
                  <c:v>0.5107570377906846</c:v>
                </c:pt>
                <c:pt idx="737">
                  <c:v>0.511132247180623</c:v>
                </c:pt>
                <c:pt idx="738">
                  <c:v>0.50914483477156114</c:v>
                </c:pt>
                <c:pt idx="739">
                  <c:v>0.50613755858833187</c:v>
                </c:pt>
                <c:pt idx="740">
                  <c:v>0.51695435835555426</c:v>
                </c:pt>
                <c:pt idx="741">
                  <c:v>#N/A</c:v>
                </c:pt>
                <c:pt idx="742">
                  <c:v>#N/A</c:v>
                </c:pt>
                <c:pt idx="743">
                  <c:v>#N/A</c:v>
                </c:pt>
                <c:pt idx="744">
                  <c:v>0.52009012893266515</c:v>
                </c:pt>
                <c:pt idx="745">
                  <c:v>0.52031510289428662</c:v>
                </c:pt>
                <c:pt idx="746">
                  <c:v>0.52040077772824178</c:v>
                </c:pt>
                <c:pt idx="747">
                  <c:v>0.51333376398885455</c:v>
                </c:pt>
                <c:pt idx="748">
                  <c:v>0.5096453527904703</c:v>
                </c:pt>
                <c:pt idx="749">
                  <c:v>0.51504158205691719</c:v>
                </c:pt>
                <c:pt idx="750">
                  <c:v>#N/A</c:v>
                </c:pt>
                <c:pt idx="751">
                  <c:v>#N/A</c:v>
                </c:pt>
                <c:pt idx="752">
                  <c:v>0.51810043885694712</c:v>
                </c:pt>
                <c:pt idx="753">
                  <c:v>0.51715882569515026</c:v>
                </c:pt>
                <c:pt idx="754">
                  <c:v>0.50551764385904963</c:v>
                </c:pt>
                <c:pt idx="755">
                  <c:v>0.51314586132489659</c:v>
                </c:pt>
                <c:pt idx="756">
                  <c:v>0.51799500032462864</c:v>
                </c:pt>
                <c:pt idx="757">
                  <c:v>#N/A</c:v>
                </c:pt>
                <c:pt idx="758">
                  <c:v>#N/A</c:v>
                </c:pt>
                <c:pt idx="759">
                  <c:v>#N/A</c:v>
                </c:pt>
                <c:pt idx="760">
                  <c:v>0.51679386513704173</c:v>
                </c:pt>
                <c:pt idx="761">
                  <c:v>0.51866786801986542</c:v>
                </c:pt>
                <c:pt idx="762">
                  <c:v>#N/A</c:v>
                </c:pt>
                <c:pt idx="763">
                  <c:v>#N/A</c:v>
                </c:pt>
                <c:pt idx="764">
                  <c:v>#N/A</c:v>
                </c:pt>
                <c:pt idx="765">
                  <c:v>#N/A</c:v>
                </c:pt>
                <c:pt idx="766">
                  <c:v>#N/A</c:v>
                </c:pt>
                <c:pt idx="767">
                  <c:v>#N/A</c:v>
                </c:pt>
                <c:pt idx="768">
                  <c:v>#N/A</c:v>
                </c:pt>
                <c:pt idx="769">
                  <c:v>#N/A</c:v>
                </c:pt>
                <c:pt idx="770">
                  <c:v>#N/A</c:v>
                </c:pt>
                <c:pt idx="771">
                  <c:v>0.52009456349872907</c:v>
                </c:pt>
                <c:pt idx="772">
                  <c:v>#N/A</c:v>
                </c:pt>
                <c:pt idx="773">
                  <c:v>#N/A</c:v>
                </c:pt>
                <c:pt idx="774">
                  <c:v>0.51715266075743038</c:v>
                </c:pt>
                <c:pt idx="775">
                  <c:v>0.51658259629233605</c:v>
                </c:pt>
                <c:pt idx="776">
                  <c:v>0.51851742842174042</c:v>
                </c:pt>
                <c:pt idx="777">
                  <c:v>#N/A</c:v>
                </c:pt>
                <c:pt idx="778">
                  <c:v>#N/A</c:v>
                </c:pt>
                <c:pt idx="779">
                  <c:v>#N/A</c:v>
                </c:pt>
                <c:pt idx="780">
                  <c:v>0.52003819342395341</c:v>
                </c:pt>
                <c:pt idx="781">
                  <c:v>0.51755090704587292</c:v>
                </c:pt>
                <c:pt idx="782">
                  <c:v>0.51356381988119015</c:v>
                </c:pt>
                <c:pt idx="783">
                  <c:v>0.51892952108414991</c:v>
                </c:pt>
                <c:pt idx="784">
                  <c:v>#N/A</c:v>
                </c:pt>
                <c:pt idx="785">
                  <c:v>#N/A</c:v>
                </c:pt>
                <c:pt idx="786">
                  <c:v>0.51719434737790249</c:v>
                </c:pt>
                <c:pt idx="787">
                  <c:v>#N/A</c:v>
                </c:pt>
                <c:pt idx="788">
                  <c:v>#N/A</c:v>
                </c:pt>
                <c:pt idx="789">
                  <c:v>0.51956390379451922</c:v>
                </c:pt>
                <c:pt idx="790">
                  <c:v>0.51888216025914469</c:v>
                </c:pt>
                <c:pt idx="791">
                  <c:v>0.51826895513525995</c:v>
                </c:pt>
                <c:pt idx="792">
                  <c:v>0.51003249964867647</c:v>
                </c:pt>
                <c:pt idx="793">
                  <c:v>0.51699519568515151</c:v>
                </c:pt>
                <c:pt idx="794">
                  <c:v>0.51182173070144987</c:v>
                </c:pt>
                <c:pt idx="795">
                  <c:v>0.51111502711578305</c:v>
                </c:pt>
                <c:pt idx="796">
                  <c:v>#N/A</c:v>
                </c:pt>
                <c:pt idx="797">
                  <c:v>#N/A</c:v>
                </c:pt>
                <c:pt idx="798">
                  <c:v>#N/A</c:v>
                </c:pt>
                <c:pt idx="799">
                  <c:v>#N/A</c:v>
                </c:pt>
                <c:pt idx="800">
                  <c:v>#N/A</c:v>
                </c:pt>
                <c:pt idx="801">
                  <c:v>#N/A</c:v>
                </c:pt>
                <c:pt idx="802">
                  <c:v>0.51869198759732238</c:v>
                </c:pt>
                <c:pt idx="803">
                  <c:v>0.51915726098403292</c:v>
                </c:pt>
                <c:pt idx="804">
                  <c:v>0.51743421370616161</c:v>
                </c:pt>
                <c:pt idx="805">
                  <c:v>0.51893446404789667</c:v>
                </c:pt>
                <c:pt idx="806">
                  <c:v>#N/A</c:v>
                </c:pt>
                <c:pt idx="807">
                  <c:v>#N/A</c:v>
                </c:pt>
                <c:pt idx="808">
                  <c:v>#N/A</c:v>
                </c:pt>
                <c:pt idx="809">
                  <c:v>0.51036077513147549</c:v>
                </c:pt>
                <c:pt idx="810">
                  <c:v>0.51945121135999639</c:v>
                </c:pt>
                <c:pt idx="811">
                  <c:v>0.51689399999784957</c:v>
                </c:pt>
                <c:pt idx="812">
                  <c:v>0.51699216958044381</c:v>
                </c:pt>
                <c:pt idx="813">
                  <c:v>#N/A</c:v>
                </c:pt>
                <c:pt idx="814">
                  <c:v>#N/A</c:v>
                </c:pt>
                <c:pt idx="815">
                  <c:v>#N/A</c:v>
                </c:pt>
                <c:pt idx="816">
                  <c:v>#N/A</c:v>
                </c:pt>
                <c:pt idx="817">
                  <c:v>0.5121328373686046</c:v>
                </c:pt>
                <c:pt idx="818">
                  <c:v>0.51112379438316891</c:v>
                </c:pt>
                <c:pt idx="819">
                  <c:v>0.51494862558493104</c:v>
                </c:pt>
                <c:pt idx="820">
                  <c:v>0.51097583826373472</c:v>
                </c:pt>
                <c:pt idx="821">
                  <c:v>0.5131247481669422</c:v>
                </c:pt>
                <c:pt idx="822">
                  <c:v>#N/A</c:v>
                </c:pt>
                <c:pt idx="823">
                  <c:v>#N/A</c:v>
                </c:pt>
                <c:pt idx="824">
                  <c:v>0.52026568206736024</c:v>
                </c:pt>
                <c:pt idx="825">
                  <c:v>0.51569640465383215</c:v>
                </c:pt>
                <c:pt idx="826">
                  <c:v>#N/A</c:v>
                </c:pt>
                <c:pt idx="827">
                  <c:v>#N/A</c:v>
                </c:pt>
                <c:pt idx="828">
                  <c:v>#N/A</c:v>
                </c:pt>
                <c:pt idx="829">
                  <c:v>#N/A</c:v>
                </c:pt>
                <c:pt idx="830">
                  <c:v>#N/A</c:v>
                </c:pt>
                <c:pt idx="831">
                  <c:v>#N/A</c:v>
                </c:pt>
                <c:pt idx="832">
                  <c:v>#N/A</c:v>
                </c:pt>
                <c:pt idx="833">
                  <c:v>#N/A</c:v>
                </c:pt>
                <c:pt idx="834">
                  <c:v>0.52064995775005096</c:v>
                </c:pt>
                <c:pt idx="835">
                  <c:v>#N/A</c:v>
                </c:pt>
                <c:pt idx="836">
                  <c:v>#N/A</c:v>
                </c:pt>
                <c:pt idx="837">
                  <c:v>#N/A</c:v>
                </c:pt>
                <c:pt idx="838">
                  <c:v>0.52037627219941285</c:v>
                </c:pt>
                <c:pt idx="839">
                  <c:v>0.52087221472608136</c:v>
                </c:pt>
                <c:pt idx="840">
                  <c:v>#N/A</c:v>
                </c:pt>
                <c:pt idx="841">
                  <c:v>#N/A</c:v>
                </c:pt>
                <c:pt idx="842">
                  <c:v>#N/A</c:v>
                </c:pt>
                <c:pt idx="843">
                  <c:v>#N/A</c:v>
                </c:pt>
                <c:pt idx="844">
                  <c:v>#N/A</c:v>
                </c:pt>
                <c:pt idx="845">
                  <c:v>#N/A</c:v>
                </c:pt>
                <c:pt idx="846">
                  <c:v>0.51797565981072657</c:v>
                </c:pt>
                <c:pt idx="847">
                  <c:v>0.51394087594279791</c:v>
                </c:pt>
                <c:pt idx="848">
                  <c:v>0.50922321164471041</c:v>
                </c:pt>
                <c:pt idx="849">
                  <c:v>0.51191123355701529</c:v>
                </c:pt>
                <c:pt idx="850">
                  <c:v>0.50854892044045164</c:v>
                </c:pt>
                <c:pt idx="851">
                  <c:v>0.51292750696526934</c:v>
                </c:pt>
                <c:pt idx="852">
                  <c:v>0.51972418416739119</c:v>
                </c:pt>
                <c:pt idx="853">
                  <c:v>0.51920928775854325</c:v>
                </c:pt>
                <c:pt idx="854">
                  <c:v>#N/A</c:v>
                </c:pt>
                <c:pt idx="855">
                  <c:v>0.51330862707910685</c:v>
                </c:pt>
                <c:pt idx="856">
                  <c:v>0.51282095611417045</c:v>
                </c:pt>
                <c:pt idx="857">
                  <c:v>0.51734626733338418</c:v>
                </c:pt>
                <c:pt idx="858">
                  <c:v>0.51267797465881537</c:v>
                </c:pt>
                <c:pt idx="859">
                  <c:v>0.50911830602117503</c:v>
                </c:pt>
                <c:pt idx="860">
                  <c:v>0.50704773911315604</c:v>
                </c:pt>
                <c:pt idx="861">
                  <c:v>0.50780070144303424</c:v>
                </c:pt>
                <c:pt idx="862">
                  <c:v>0.51093269782901229</c:v>
                </c:pt>
                <c:pt idx="863">
                  <c:v>0.51988349127565714</c:v>
                </c:pt>
                <c:pt idx="864">
                  <c:v>#N/A</c:v>
                </c:pt>
                <c:pt idx="865">
                  <c:v>#N/A</c:v>
                </c:pt>
                <c:pt idx="866">
                  <c:v>#N/A</c:v>
                </c:pt>
                <c:pt idx="867">
                  <c:v>#N/A</c:v>
                </c:pt>
                <c:pt idx="868">
                  <c:v>0.5169366992733655</c:v>
                </c:pt>
                <c:pt idx="869">
                  <c:v>#N/A</c:v>
                </c:pt>
                <c:pt idx="870">
                  <c:v>#N/A</c:v>
                </c:pt>
                <c:pt idx="871">
                  <c:v>#N/A</c:v>
                </c:pt>
                <c:pt idx="872">
                  <c:v>#N/A</c:v>
                </c:pt>
                <c:pt idx="873">
                  <c:v>0.51940703327818027</c:v>
                </c:pt>
                <c:pt idx="874">
                  <c:v>0.51618836631495535</c:v>
                </c:pt>
                <c:pt idx="875">
                  <c:v>0.51306377491369759</c:v>
                </c:pt>
                <c:pt idx="876">
                  <c:v>#N/A</c:v>
                </c:pt>
                <c:pt idx="877">
                  <c:v>0.5173225331544079</c:v>
                </c:pt>
                <c:pt idx="878">
                  <c:v>0.52049167411031294</c:v>
                </c:pt>
                <c:pt idx="879">
                  <c:v>0.5141844238308646</c:v>
                </c:pt>
                <c:pt idx="880">
                  <c:v>0.50725834957743676</c:v>
                </c:pt>
                <c:pt idx="881">
                  <c:v>0.51305311731722769</c:v>
                </c:pt>
                <c:pt idx="882">
                  <c:v>0.51549058403225856</c:v>
                </c:pt>
                <c:pt idx="883">
                  <c:v>0.51932342896829053</c:v>
                </c:pt>
                <c:pt idx="884">
                  <c:v>#N/A</c:v>
                </c:pt>
                <c:pt idx="885">
                  <c:v>#N/A</c:v>
                </c:pt>
                <c:pt idx="886">
                  <c:v>0.51228223100544923</c:v>
                </c:pt>
                <c:pt idx="887">
                  <c:v>0.51246044457613205</c:v>
                </c:pt>
                <c:pt idx="888">
                  <c:v>0.50982681424496434</c:v>
                </c:pt>
                <c:pt idx="889">
                  <c:v>0.51932609267116614</c:v>
                </c:pt>
                <c:pt idx="890">
                  <c:v>0.51887740583032982</c:v>
                </c:pt>
                <c:pt idx="891">
                  <c:v>0.51712476251968953</c:v>
                </c:pt>
                <c:pt idx="892">
                  <c:v>0.51829132467070871</c:v>
                </c:pt>
                <c:pt idx="893">
                  <c:v>0.51984442873008974</c:v>
                </c:pt>
                <c:pt idx="894">
                  <c:v>0.52065434608975902</c:v>
                </c:pt>
                <c:pt idx="895">
                  <c:v>0.51922882262229719</c:v>
                </c:pt>
                <c:pt idx="896">
                  <c:v>#N/A</c:v>
                </c:pt>
                <c:pt idx="897">
                  <c:v>#N/A</c:v>
                </c:pt>
                <c:pt idx="898">
                  <c:v>0.51972993002823886</c:v>
                </c:pt>
                <c:pt idx="899">
                  <c:v>0.51209884400311778</c:v>
                </c:pt>
                <c:pt idx="900">
                  <c:v>0.51595132942903499</c:v>
                </c:pt>
                <c:pt idx="901">
                  <c:v>#N/A</c:v>
                </c:pt>
                <c:pt idx="902">
                  <c:v>0.52093141995841463</c:v>
                </c:pt>
                <c:pt idx="903">
                  <c:v>#N/A</c:v>
                </c:pt>
                <c:pt idx="904">
                  <c:v>0.51898491924208989</c:v>
                </c:pt>
                <c:pt idx="905">
                  <c:v>0.5161049698263116</c:v>
                </c:pt>
                <c:pt idx="906">
                  <c:v>0.51899346074748298</c:v>
                </c:pt>
                <c:pt idx="907">
                  <c:v>0.5179525643261681</c:v>
                </c:pt>
                <c:pt idx="908">
                  <c:v>0.51837307733754123</c:v>
                </c:pt>
                <c:pt idx="909">
                  <c:v>#N/A</c:v>
                </c:pt>
                <c:pt idx="910">
                  <c:v>#N/A</c:v>
                </c:pt>
                <c:pt idx="911">
                  <c:v>#N/A</c:v>
                </c:pt>
                <c:pt idx="912">
                  <c:v>#N/A</c:v>
                </c:pt>
                <c:pt idx="913">
                  <c:v>0.51796800443372637</c:v>
                </c:pt>
                <c:pt idx="914">
                  <c:v>0.51221607659322832</c:v>
                </c:pt>
                <c:pt idx="915">
                  <c:v>0.51575802447694441</c:v>
                </c:pt>
                <c:pt idx="916">
                  <c:v>#N/A</c:v>
                </c:pt>
                <c:pt idx="917">
                  <c:v>#N/A</c:v>
                </c:pt>
                <c:pt idx="918">
                  <c:v>#N/A</c:v>
                </c:pt>
                <c:pt idx="919">
                  <c:v>#N/A</c:v>
                </c:pt>
                <c:pt idx="920">
                  <c:v>#N/A</c:v>
                </c:pt>
                <c:pt idx="921">
                  <c:v>#N/A</c:v>
                </c:pt>
                <c:pt idx="922">
                  <c:v>#N/A</c:v>
                </c:pt>
                <c:pt idx="923">
                  <c:v>#N/A</c:v>
                </c:pt>
                <c:pt idx="924">
                  <c:v>0.51538053913988846</c:v>
                </c:pt>
                <c:pt idx="925">
                  <c:v>0.51315313826399367</c:v>
                </c:pt>
                <c:pt idx="926">
                  <c:v>0.51989146551325649</c:v>
                </c:pt>
                <c:pt idx="927">
                  <c:v>#N/A</c:v>
                </c:pt>
                <c:pt idx="928">
                  <c:v>0.5116369921528755</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0.51887354737800129</c:v>
                </c:pt>
                <c:pt idx="946">
                  <c:v>#N/A</c:v>
                </c:pt>
                <c:pt idx="947">
                  <c:v>#N/A</c:v>
                </c:pt>
                <c:pt idx="948">
                  <c:v>#N/A</c:v>
                </c:pt>
                <c:pt idx="949">
                  <c:v>0.51943127945842027</c:v>
                </c:pt>
                <c:pt idx="950">
                  <c:v>0.52076262707304322</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0.5195305737546928</c:v>
                </c:pt>
                <c:pt idx="983">
                  <c:v>#N/A</c:v>
                </c:pt>
                <c:pt idx="984">
                  <c:v>0.51774984789311951</c:v>
                </c:pt>
                <c:pt idx="985">
                  <c:v>#N/A</c:v>
                </c:pt>
                <c:pt idx="986">
                  <c:v>0.51670650513818894</c:v>
                </c:pt>
                <c:pt idx="987">
                  <c:v>0.51626330739626825</c:v>
                </c:pt>
                <c:pt idx="988">
                  <c:v>0.51476007424965742</c:v>
                </c:pt>
                <c:pt idx="989">
                  <c:v>0.51816795837896623</c:v>
                </c:pt>
                <c:pt idx="990">
                  <c:v>0.51555430279108572</c:v>
                </c:pt>
                <c:pt idx="991">
                  <c:v>0.51165411327804766</c:v>
                </c:pt>
                <c:pt idx="992">
                  <c:v>0.51325083426646356</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0.51978403237571758</c:v>
                </c:pt>
                <c:pt idx="1071">
                  <c:v>#N/A</c:v>
                </c:pt>
                <c:pt idx="1072">
                  <c:v>#N/A</c:v>
                </c:pt>
                <c:pt idx="1073">
                  <c:v>#N/A</c:v>
                </c:pt>
                <c:pt idx="1074">
                  <c:v>#N/A</c:v>
                </c:pt>
                <c:pt idx="1075">
                  <c:v>0.51834323492667556</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numCache>
            </c:numRef>
          </c:xVal>
          <c:yVal>
            <c:numRef>
              <c:f>Sheet2!$K$2:$K$1131</c:f>
              <c:numCache>
                <c:formatCode>General</c:formatCode>
                <c:ptCount val="1130"/>
                <c:pt idx="1">
                  <c:v>#N/A</c:v>
                </c:pt>
                <c:pt idx="2">
                  <c:v>#N/A</c:v>
                </c:pt>
                <c:pt idx="3">
                  <c:v>271.80282553606332</c:v>
                </c:pt>
                <c:pt idx="4">
                  <c:v>271.97165623925764</c:v>
                </c:pt>
                <c:pt idx="5">
                  <c:v>278.31748766708085</c:v>
                </c:pt>
                <c:pt idx="6">
                  <c:v>281.05401655230048</c:v>
                </c:pt>
                <c:pt idx="7">
                  <c:v>#N/A</c:v>
                </c:pt>
                <c:pt idx="8">
                  <c:v>275.05510194271108</c:v>
                </c:pt>
                <c:pt idx="9">
                  <c:v>277.84054787215018</c:v>
                </c:pt>
                <c:pt idx="10">
                  <c:v>279.95565441548115</c:v>
                </c:pt>
                <c:pt idx="11">
                  <c:v>273.75306164166511</c:v>
                </c:pt>
                <c:pt idx="12">
                  <c:v>274.8880975912989</c:v>
                </c:pt>
                <c:pt idx="13">
                  <c:v>278.61392552557538</c:v>
                </c:pt>
                <c:pt idx="14">
                  <c:v>#N/A</c:v>
                </c:pt>
                <c:pt idx="15">
                  <c:v>#N/A</c:v>
                </c:pt>
                <c:pt idx="16">
                  <c:v>274.91528488747304</c:v>
                </c:pt>
                <c:pt idx="17">
                  <c:v>271.83207947105723</c:v>
                </c:pt>
                <c:pt idx="18">
                  <c:v>274.82510348656012</c:v>
                </c:pt>
                <c:pt idx="19">
                  <c:v>#N/A</c:v>
                </c:pt>
                <c:pt idx="20">
                  <c:v>273.25444858913534</c:v>
                </c:pt>
                <c:pt idx="21">
                  <c:v>277.29966597133853</c:v>
                </c:pt>
                <c:pt idx="22">
                  <c:v>273.14768861711593</c:v>
                </c:pt>
                <c:pt idx="23">
                  <c:v>278.3499056871625</c:v>
                </c:pt>
                <c:pt idx="24">
                  <c:v>#N/A</c:v>
                </c:pt>
                <c:pt idx="25">
                  <c:v>278.2303478693492</c:v>
                </c:pt>
                <c:pt idx="26">
                  <c:v>275.32689315975847</c:v>
                </c:pt>
                <c:pt idx="27">
                  <c:v>#N/A</c:v>
                </c:pt>
                <c:pt idx="28">
                  <c:v>#N/A</c:v>
                </c:pt>
                <c:pt idx="29">
                  <c:v>279.36027086428237</c:v>
                </c:pt>
                <c:pt idx="30">
                  <c:v>281.17479393959593</c:v>
                </c:pt>
                <c:pt idx="31">
                  <c:v>284.62139288037611</c:v>
                </c:pt>
                <c:pt idx="32">
                  <c:v>#N/A</c:v>
                </c:pt>
                <c:pt idx="33">
                  <c:v>282.22840530473729</c:v>
                </c:pt>
                <c:pt idx="34">
                  <c:v>280.17666488887471</c:v>
                </c:pt>
                <c:pt idx="35">
                  <c:v>284.41129479856215</c:v>
                </c:pt>
                <c:pt idx="36">
                  <c:v>273.24130026615114</c:v>
                </c:pt>
                <c:pt idx="37">
                  <c:v>271.61030593980684</c:v>
                </c:pt>
                <c:pt idx="38">
                  <c:v>#N/A</c:v>
                </c:pt>
                <c:pt idx="39">
                  <c:v>276.14102297745546</c:v>
                </c:pt>
                <c:pt idx="40">
                  <c:v>282.34877274508347</c:v>
                </c:pt>
                <c:pt idx="41">
                  <c:v>279.23553304455868</c:v>
                </c:pt>
                <c:pt idx="42">
                  <c:v>277.82853886991848</c:v>
                </c:pt>
                <c:pt idx="43">
                  <c:v>279.48514545053069</c:v>
                </c:pt>
                <c:pt idx="44">
                  <c:v>#N/A</c:v>
                </c:pt>
                <c:pt idx="45">
                  <c:v>274.62201769886985</c:v>
                </c:pt>
                <c:pt idx="46">
                  <c:v>#N/A</c:v>
                </c:pt>
                <c:pt idx="47">
                  <c:v>235.5877423128984</c:v>
                </c:pt>
                <c:pt idx="48">
                  <c:v>281.00402560667521</c:v>
                </c:pt>
                <c:pt idx="49">
                  <c:v>#N/A</c:v>
                </c:pt>
                <c:pt idx="50">
                  <c:v>278.03699057654592</c:v>
                </c:pt>
                <c:pt idx="51">
                  <c:v>275.12614023304843</c:v>
                </c:pt>
                <c:pt idx="52">
                  <c:v>279.21051362325193</c:v>
                </c:pt>
                <c:pt idx="53">
                  <c:v>#N/A</c:v>
                </c:pt>
                <c:pt idx="54">
                  <c:v>276.21089791037241</c:v>
                </c:pt>
                <c:pt idx="55">
                  <c:v>275.26206438568192</c:v>
                </c:pt>
                <c:pt idx="56">
                  <c:v>273.58122866380268</c:v>
                </c:pt>
                <c:pt idx="57">
                  <c:v>273.14089689646949</c:v>
                </c:pt>
                <c:pt idx="58">
                  <c:v>#N/A</c:v>
                </c:pt>
                <c:pt idx="59">
                  <c:v>284.85931051242255</c:v>
                </c:pt>
                <c:pt idx="60">
                  <c:v>279.27667716419739</c:v>
                </c:pt>
                <c:pt idx="61">
                  <c:v>263.29082445487154</c:v>
                </c:pt>
                <c:pt idx="62">
                  <c:v>276.87525792674114</c:v>
                </c:pt>
                <c:pt idx="63">
                  <c:v>278.06704463690096</c:v>
                </c:pt>
                <c:pt idx="64">
                  <c:v>277.28150595089824</c:v>
                </c:pt>
                <c:pt idx="65">
                  <c:v>#N/A</c:v>
                </c:pt>
                <c:pt idx="66">
                  <c:v>#N/A</c:v>
                </c:pt>
                <c:pt idx="67">
                  <c:v>276.98796784350475</c:v>
                </c:pt>
                <c:pt idx="68">
                  <c:v>280.77989136421138</c:v>
                </c:pt>
                <c:pt idx="69">
                  <c:v>276.99300425266358</c:v>
                </c:pt>
                <c:pt idx="70">
                  <c:v>247.7833412359671</c:v>
                </c:pt>
                <c:pt idx="71">
                  <c:v>282.58536459609149</c:v>
                </c:pt>
                <c:pt idx="72">
                  <c:v>#N/A</c:v>
                </c:pt>
                <c:pt idx="73">
                  <c:v>281.95781863024695</c:v>
                </c:pt>
                <c:pt idx="74">
                  <c:v>#N/A</c:v>
                </c:pt>
                <c:pt idx="75">
                  <c:v>275.56195653349766</c:v>
                </c:pt>
                <c:pt idx="76">
                  <c:v>270.77879238789421</c:v>
                </c:pt>
                <c:pt idx="77">
                  <c:v>276.60483480750236</c:v>
                </c:pt>
                <c:pt idx="78">
                  <c:v>270.0438489821737</c:v>
                </c:pt>
                <c:pt idx="79">
                  <c:v>273.35009137348231</c:v>
                </c:pt>
                <c:pt idx="80">
                  <c:v>274.81469754927798</c:v>
                </c:pt>
                <c:pt idx="81">
                  <c:v>275.96241815792428</c:v>
                </c:pt>
                <c:pt idx="82">
                  <c:v>278.94910973502317</c:v>
                </c:pt>
                <c:pt idx="83">
                  <c:v>273.56473045852385</c:v>
                </c:pt>
                <c:pt idx="84">
                  <c:v>275.61858590919064</c:v>
                </c:pt>
                <c:pt idx="85">
                  <c:v>278.00188244783078</c:v>
                </c:pt>
                <c:pt idx="86">
                  <c:v>280.50174809364034</c:v>
                </c:pt>
                <c:pt idx="87">
                  <c:v>279.49116499295997</c:v>
                </c:pt>
                <c:pt idx="88">
                  <c:v>#N/A</c:v>
                </c:pt>
                <c:pt idx="89">
                  <c:v>273.67818243399984</c:v>
                </c:pt>
                <c:pt idx="90">
                  <c:v>#N/A</c:v>
                </c:pt>
                <c:pt idx="91">
                  <c:v>#N/A</c:v>
                </c:pt>
                <c:pt idx="92">
                  <c:v>#N/A</c:v>
                </c:pt>
                <c:pt idx="93">
                  <c:v>279.07764225026699</c:v>
                </c:pt>
                <c:pt idx="94">
                  <c:v>273.35245532202157</c:v>
                </c:pt>
                <c:pt idx="95">
                  <c:v>282.8510336176264</c:v>
                </c:pt>
                <c:pt idx="96">
                  <c:v>281.47404661194014</c:v>
                </c:pt>
                <c:pt idx="97">
                  <c:v>278.2245792703502</c:v>
                </c:pt>
                <c:pt idx="98">
                  <c:v>279.01459907581636</c:v>
                </c:pt>
                <c:pt idx="99">
                  <c:v>274.05462565832056</c:v>
                </c:pt>
                <c:pt idx="100">
                  <c:v>#N/A</c:v>
                </c:pt>
                <c:pt idx="101">
                  <c:v>#N/A</c:v>
                </c:pt>
                <c:pt idx="102">
                  <c:v>#N/A</c:v>
                </c:pt>
                <c:pt idx="103">
                  <c:v>#N/A</c:v>
                </c:pt>
                <c:pt idx="104">
                  <c:v>#N/A</c:v>
                </c:pt>
                <c:pt idx="105">
                  <c:v>287.63717809794798</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284.44894269012264</c:v>
                </c:pt>
                <c:pt idx="128">
                  <c:v>281.74166899381373</c:v>
                </c:pt>
                <c:pt idx="129">
                  <c:v>281.0443953819605</c:v>
                </c:pt>
                <c:pt idx="130">
                  <c:v>282.71511037736832</c:v>
                </c:pt>
                <c:pt idx="131">
                  <c:v>#N/A</c:v>
                </c:pt>
                <c:pt idx="132">
                  <c:v>287.4474359391819</c:v>
                </c:pt>
                <c:pt idx="133">
                  <c:v>287.86692017371877</c:v>
                </c:pt>
                <c:pt idx="134">
                  <c:v>#N/A</c:v>
                </c:pt>
                <c:pt idx="135">
                  <c:v>284.21338409541465</c:v>
                </c:pt>
                <c:pt idx="136">
                  <c:v>#N/A</c:v>
                </c:pt>
                <c:pt idx="137">
                  <c:v>275.8618681882142</c:v>
                </c:pt>
                <c:pt idx="138">
                  <c:v>279.17287422468701</c:v>
                </c:pt>
                <c:pt idx="139">
                  <c:v>279.56876477681794</c:v>
                </c:pt>
                <c:pt idx="140">
                  <c:v>275.34246121802278</c:v>
                </c:pt>
                <c:pt idx="141">
                  <c:v>#N/A</c:v>
                </c:pt>
                <c:pt idx="142">
                  <c:v>#N/A</c:v>
                </c:pt>
                <c:pt idx="143">
                  <c:v>#N/A</c:v>
                </c:pt>
                <c:pt idx="144">
                  <c:v>#N/A</c:v>
                </c:pt>
                <c:pt idx="145">
                  <c:v>#N/A</c:v>
                </c:pt>
                <c:pt idx="146">
                  <c:v>#N/A</c:v>
                </c:pt>
                <c:pt idx="147">
                  <c:v>0</c:v>
                </c:pt>
                <c:pt idx="148">
                  <c:v>0</c:v>
                </c:pt>
                <c:pt idx="149">
                  <c:v>0</c:v>
                </c:pt>
                <c:pt idx="150">
                  <c:v>#N/A</c:v>
                </c:pt>
                <c:pt idx="151">
                  <c:v>#N/A</c:v>
                </c:pt>
                <c:pt idx="152">
                  <c:v>#N/A</c:v>
                </c:pt>
                <c:pt idx="153">
                  <c:v>#N/A</c:v>
                </c:pt>
                <c:pt idx="154">
                  <c:v>#N/A</c:v>
                </c:pt>
                <c:pt idx="155">
                  <c:v>274.32562272082896</c:v>
                </c:pt>
                <c:pt idx="156">
                  <c:v>278.23401610154804</c:v>
                </c:pt>
                <c:pt idx="157">
                  <c:v>#N/A</c:v>
                </c:pt>
                <c:pt idx="158">
                  <c:v>#N/A</c:v>
                </c:pt>
                <c:pt idx="159">
                  <c:v>#N/A</c:v>
                </c:pt>
                <c:pt idx="160">
                  <c:v>#N/A</c:v>
                </c:pt>
                <c:pt idx="161">
                  <c:v>#N/A</c:v>
                </c:pt>
                <c:pt idx="162">
                  <c:v>#N/A</c:v>
                </c:pt>
                <c:pt idx="163">
                  <c:v>#N/A</c:v>
                </c:pt>
                <c:pt idx="164">
                  <c:v>#N/A</c:v>
                </c:pt>
                <c:pt idx="165">
                  <c:v>#N/A</c:v>
                </c:pt>
                <c:pt idx="166">
                  <c:v>274.74291440493676</c:v>
                </c:pt>
                <c:pt idx="167">
                  <c:v>#N/A</c:v>
                </c:pt>
                <c:pt idx="168">
                  <c:v>280.96043993450769</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0</c:v>
                </c:pt>
                <c:pt idx="219">
                  <c:v>0</c:v>
                </c:pt>
                <c:pt idx="220">
                  <c:v>0</c:v>
                </c:pt>
                <c:pt idx="221">
                  <c:v>#N/A</c:v>
                </c:pt>
                <c:pt idx="222">
                  <c:v>#N/A</c:v>
                </c:pt>
                <c:pt idx="223">
                  <c:v>#N/A</c:v>
                </c:pt>
                <c:pt idx="224">
                  <c:v>#N/A</c:v>
                </c:pt>
                <c:pt idx="225">
                  <c:v>#N/A</c:v>
                </c:pt>
                <c:pt idx="226">
                  <c:v>#N/A</c:v>
                </c:pt>
                <c:pt idx="227">
                  <c:v>#N/A</c:v>
                </c:pt>
                <c:pt idx="228">
                  <c:v>271.32045734863675</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277.49507275759606</c:v>
                </c:pt>
                <c:pt idx="345">
                  <c:v>#N/A</c:v>
                </c:pt>
                <c:pt idx="346">
                  <c:v>#N/A</c:v>
                </c:pt>
                <c:pt idx="347">
                  <c:v>#N/A</c:v>
                </c:pt>
                <c:pt idx="348">
                  <c:v>276.19300221526464</c:v>
                </c:pt>
                <c:pt idx="349">
                  <c:v>275.74673667060085</c:v>
                </c:pt>
                <c:pt idx="350">
                  <c:v>276.74615558592234</c:v>
                </c:pt>
                <c:pt idx="351">
                  <c:v>#N/A</c:v>
                </c:pt>
                <c:pt idx="352">
                  <c:v>#N/A</c:v>
                </c:pt>
                <c:pt idx="353">
                  <c:v>#N/A</c:v>
                </c:pt>
                <c:pt idx="354">
                  <c:v>#N/A</c:v>
                </c:pt>
                <c:pt idx="355">
                  <c:v>#N/A</c:v>
                </c:pt>
                <c:pt idx="356">
                  <c:v>279.3361041669649</c:v>
                </c:pt>
                <c:pt idx="357">
                  <c:v>280.12921500577113</c:v>
                </c:pt>
                <c:pt idx="358">
                  <c:v>#N/A</c:v>
                </c:pt>
                <c:pt idx="359">
                  <c:v>#N/A</c:v>
                </c:pt>
                <c:pt idx="360">
                  <c:v>#N/A</c:v>
                </c:pt>
                <c:pt idx="361">
                  <c:v>#N/A</c:v>
                </c:pt>
                <c:pt idx="362">
                  <c:v>276.7031178302567</c:v>
                </c:pt>
                <c:pt idx="363">
                  <c:v>278.36371689467012</c:v>
                </c:pt>
                <c:pt idx="364">
                  <c:v>286.05042296620957</c:v>
                </c:pt>
                <c:pt idx="365">
                  <c:v>#N/A</c:v>
                </c:pt>
                <c:pt idx="366">
                  <c:v>#N/A</c:v>
                </c:pt>
                <c:pt idx="367">
                  <c:v>#N/A</c:v>
                </c:pt>
                <c:pt idx="368">
                  <c:v>#N/A</c:v>
                </c:pt>
                <c:pt idx="369">
                  <c:v>#N/A</c:v>
                </c:pt>
                <c:pt idx="370">
                  <c:v>#N/A</c:v>
                </c:pt>
                <c:pt idx="371">
                  <c:v>#N/A</c:v>
                </c:pt>
                <c:pt idx="372">
                  <c:v>#N/A</c:v>
                </c:pt>
                <c:pt idx="373">
                  <c:v>#N/A</c:v>
                </c:pt>
                <c:pt idx="374">
                  <c:v>#N/A</c:v>
                </c:pt>
                <c:pt idx="375">
                  <c:v>#N/A</c:v>
                </c:pt>
                <c:pt idx="376">
                  <c:v>#N/A</c:v>
                </c:pt>
                <c:pt idx="377">
                  <c:v>277.14474620881697</c:v>
                </c:pt>
                <c:pt idx="378">
                  <c:v>277.21098066973286</c:v>
                </c:pt>
                <c:pt idx="379">
                  <c:v>275.56624092488073</c:v>
                </c:pt>
                <c:pt idx="380">
                  <c:v>#N/A</c:v>
                </c:pt>
                <c:pt idx="381">
                  <c:v>#N/A</c:v>
                </c:pt>
                <c:pt idx="382">
                  <c:v>#N/A</c:v>
                </c:pt>
                <c:pt idx="383">
                  <c:v>273.94160881679841</c:v>
                </c:pt>
                <c:pt idx="384">
                  <c:v>#N/A</c:v>
                </c:pt>
                <c:pt idx="385">
                  <c:v>#N/A</c:v>
                </c:pt>
                <c:pt idx="386">
                  <c:v>#N/A</c:v>
                </c:pt>
                <c:pt idx="387">
                  <c:v>#N/A</c:v>
                </c:pt>
                <c:pt idx="388">
                  <c:v>#N/A</c:v>
                </c:pt>
                <c:pt idx="389">
                  <c:v>#N/A</c:v>
                </c:pt>
                <c:pt idx="390">
                  <c:v>#N/A</c:v>
                </c:pt>
                <c:pt idx="391">
                  <c:v>272.65237697917098</c:v>
                </c:pt>
                <c:pt idx="392">
                  <c:v>#N/A</c:v>
                </c:pt>
                <c:pt idx="393">
                  <c:v>#N/A</c:v>
                </c:pt>
                <c:pt idx="394">
                  <c:v>#N/A</c:v>
                </c:pt>
                <c:pt idx="395">
                  <c:v>#N/A</c:v>
                </c:pt>
                <c:pt idx="396">
                  <c:v>#N/A</c:v>
                </c:pt>
                <c:pt idx="397">
                  <c:v>#N/A</c:v>
                </c:pt>
                <c:pt idx="398">
                  <c:v>#N/A</c:v>
                </c:pt>
                <c:pt idx="399">
                  <c:v>#N/A</c:v>
                </c:pt>
                <c:pt idx="400">
                  <c:v>#N/A</c:v>
                </c:pt>
                <c:pt idx="401">
                  <c:v>278.37957047825057</c:v>
                </c:pt>
                <c:pt idx="402">
                  <c:v>275.3804985780879</c:v>
                </c:pt>
                <c:pt idx="403">
                  <c:v>281.35031739738724</c:v>
                </c:pt>
                <c:pt idx="404">
                  <c:v>#N/A</c:v>
                </c:pt>
                <c:pt idx="405">
                  <c:v>#N/A</c:v>
                </c:pt>
                <c:pt idx="406">
                  <c:v>281.80145351472765</c:v>
                </c:pt>
                <c:pt idx="407">
                  <c:v>277.22956251317271</c:v>
                </c:pt>
                <c:pt idx="408">
                  <c:v>#N/A</c:v>
                </c:pt>
                <c:pt idx="409">
                  <c:v>#N/A</c:v>
                </c:pt>
                <c:pt idx="410">
                  <c:v>276.02883071135022</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277.08415610794202</c:v>
                </c:pt>
                <c:pt idx="433">
                  <c:v>274.01279847979799</c:v>
                </c:pt>
                <c:pt idx="434">
                  <c:v>277.98181841662665</c:v>
                </c:pt>
                <c:pt idx="435">
                  <c:v>#N/A</c:v>
                </c:pt>
                <c:pt idx="436">
                  <c:v>#N/A</c:v>
                </c:pt>
                <c:pt idx="437">
                  <c:v>#N/A</c:v>
                </c:pt>
                <c:pt idx="438">
                  <c:v>#N/A</c:v>
                </c:pt>
                <c:pt idx="439">
                  <c:v>#N/A</c:v>
                </c:pt>
                <c:pt idx="440">
                  <c:v>#N/A</c:v>
                </c:pt>
                <c:pt idx="441">
                  <c:v>#N/A</c:v>
                </c:pt>
                <c:pt idx="442">
                  <c:v>#N/A</c:v>
                </c:pt>
                <c:pt idx="443">
                  <c:v>#N/A</c:v>
                </c:pt>
                <c:pt idx="444">
                  <c:v>276.5824482495176</c:v>
                </c:pt>
                <c:pt idx="445">
                  <c:v>#N/A</c:v>
                </c:pt>
                <c:pt idx="446">
                  <c:v>#N/A</c:v>
                </c:pt>
                <c:pt idx="447">
                  <c:v>#N/A</c:v>
                </c:pt>
                <c:pt idx="448">
                  <c:v>#N/A</c:v>
                </c:pt>
                <c:pt idx="449">
                  <c:v>#N/A</c:v>
                </c:pt>
                <c:pt idx="450">
                  <c:v>#N/A</c:v>
                </c:pt>
                <c:pt idx="451">
                  <c:v>#N/A</c:v>
                </c:pt>
                <c:pt idx="452">
                  <c:v>#N/A</c:v>
                </c:pt>
                <c:pt idx="453">
                  <c:v>#N/A</c:v>
                </c:pt>
                <c:pt idx="454">
                  <c:v>#N/A</c:v>
                </c:pt>
                <c:pt idx="455">
                  <c:v>0</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279.33499363718579</c:v>
                </c:pt>
                <c:pt idx="478">
                  <c:v>#N/A</c:v>
                </c:pt>
                <c:pt idx="479">
                  <c:v>272.28844287327661</c:v>
                </c:pt>
                <c:pt idx="480">
                  <c:v>#N/A</c:v>
                </c:pt>
                <c:pt idx="481">
                  <c:v>#N/A</c:v>
                </c:pt>
                <c:pt idx="482">
                  <c:v>#N/A</c:v>
                </c:pt>
                <c:pt idx="483">
                  <c:v>#N/A</c:v>
                </c:pt>
                <c:pt idx="484">
                  <c:v>#N/A</c:v>
                </c:pt>
                <c:pt idx="485">
                  <c:v>#N/A</c:v>
                </c:pt>
                <c:pt idx="486">
                  <c:v>#N/A</c:v>
                </c:pt>
                <c:pt idx="487">
                  <c:v>#N/A</c:v>
                </c:pt>
                <c:pt idx="488">
                  <c:v>278.50637025025071</c:v>
                </c:pt>
                <c:pt idx="489">
                  <c:v>275.22858690961357</c:v>
                </c:pt>
                <c:pt idx="490">
                  <c:v>#N/A</c:v>
                </c:pt>
                <c:pt idx="491">
                  <c:v>#N/A</c:v>
                </c:pt>
                <c:pt idx="492">
                  <c:v>#N/A</c:v>
                </c:pt>
                <c:pt idx="493">
                  <c:v>286.87555173432611</c:v>
                </c:pt>
                <c:pt idx="494">
                  <c:v>289.60728492848023</c:v>
                </c:pt>
                <c:pt idx="495">
                  <c:v>#N/A</c:v>
                </c:pt>
                <c:pt idx="496">
                  <c:v>#N/A</c:v>
                </c:pt>
                <c:pt idx="497">
                  <c:v>#N/A</c:v>
                </c:pt>
                <c:pt idx="498">
                  <c:v>0</c:v>
                </c:pt>
                <c:pt idx="499">
                  <c:v>#N/A</c:v>
                </c:pt>
                <c:pt idx="500">
                  <c:v>268.26435476259553</c:v>
                </c:pt>
                <c:pt idx="501">
                  <c:v>266.76911022063291</c:v>
                </c:pt>
                <c:pt idx="502">
                  <c:v>273.02752397901315</c:v>
                </c:pt>
                <c:pt idx="503">
                  <c:v>273.6270688313133</c:v>
                </c:pt>
                <c:pt idx="504">
                  <c:v>269.39686230660777</c:v>
                </c:pt>
                <c:pt idx="505">
                  <c:v>#N/A</c:v>
                </c:pt>
                <c:pt idx="506">
                  <c:v>#N/A</c:v>
                </c:pt>
                <c:pt idx="507">
                  <c:v>#N/A</c:v>
                </c:pt>
                <c:pt idx="508">
                  <c:v>#N/A</c:v>
                </c:pt>
                <c:pt idx="509">
                  <c:v>#N/A</c:v>
                </c:pt>
                <c:pt idx="510">
                  <c:v>#N/A</c:v>
                </c:pt>
                <c:pt idx="511">
                  <c:v>#N/A</c:v>
                </c:pt>
                <c:pt idx="512">
                  <c:v>270.77823601135628</c:v>
                </c:pt>
                <c:pt idx="513">
                  <c:v>#N/A</c:v>
                </c:pt>
                <c:pt idx="514">
                  <c:v>271.35926098185985</c:v>
                </c:pt>
                <c:pt idx="515">
                  <c:v>272.16819199428016</c:v>
                </c:pt>
                <c:pt idx="516">
                  <c:v>#N/A</c:v>
                </c:pt>
                <c:pt idx="517">
                  <c:v>270.40462357164847</c:v>
                </c:pt>
                <c:pt idx="518">
                  <c:v>269.57550592806467</c:v>
                </c:pt>
                <c:pt idx="519">
                  <c:v>274.06677257814044</c:v>
                </c:pt>
                <c:pt idx="520">
                  <c:v>#N/A</c:v>
                </c:pt>
                <c:pt idx="521">
                  <c:v>271.1795439845182</c:v>
                </c:pt>
                <c:pt idx="522">
                  <c:v>#N/A</c:v>
                </c:pt>
                <c:pt idx="523">
                  <c:v>#N/A</c:v>
                </c:pt>
                <c:pt idx="524">
                  <c:v>#N/A</c:v>
                </c:pt>
                <c:pt idx="525">
                  <c:v>#N/A</c:v>
                </c:pt>
                <c:pt idx="526">
                  <c:v>#N/A</c:v>
                </c:pt>
                <c:pt idx="527">
                  <c:v>#N/A</c:v>
                </c:pt>
                <c:pt idx="528">
                  <c:v>#N/A</c:v>
                </c:pt>
                <c:pt idx="529">
                  <c:v>#N/A</c:v>
                </c:pt>
                <c:pt idx="530">
                  <c:v>#N/A</c:v>
                </c:pt>
                <c:pt idx="531">
                  <c:v>#N/A</c:v>
                </c:pt>
                <c:pt idx="532">
                  <c:v>#N/A</c:v>
                </c:pt>
                <c:pt idx="533">
                  <c:v>#N/A</c:v>
                </c:pt>
                <c:pt idx="534">
                  <c:v>#N/A</c:v>
                </c:pt>
                <c:pt idx="535">
                  <c:v>278.28725247682314</c:v>
                </c:pt>
                <c:pt idx="536">
                  <c:v>272.43341889997794</c:v>
                </c:pt>
                <c:pt idx="537">
                  <c:v>273.00487907841648</c:v>
                </c:pt>
                <c:pt idx="538">
                  <c:v>280.45198075077474</c:v>
                </c:pt>
                <c:pt idx="539">
                  <c:v>279.09887059468792</c:v>
                </c:pt>
                <c:pt idx="540">
                  <c:v>281.03873146433364</c:v>
                </c:pt>
                <c:pt idx="541">
                  <c:v>280.32657896605815</c:v>
                </c:pt>
                <c:pt idx="542">
                  <c:v>281.09553247069255</c:v>
                </c:pt>
                <c:pt idx="543">
                  <c:v>#N/A</c:v>
                </c:pt>
                <c:pt idx="544">
                  <c:v>273.18507275582692</c:v>
                </c:pt>
                <c:pt idx="545">
                  <c:v>284.77550745249641</c:v>
                </c:pt>
                <c:pt idx="546">
                  <c:v>271.01722539135426</c:v>
                </c:pt>
                <c:pt idx="547">
                  <c:v>270.14553993137713</c:v>
                </c:pt>
                <c:pt idx="548">
                  <c:v>#N/A</c:v>
                </c:pt>
                <c:pt idx="549">
                  <c:v>#N/A</c:v>
                </c:pt>
                <c:pt idx="550">
                  <c:v>#N/A</c:v>
                </c:pt>
                <c:pt idx="551">
                  <c:v>274.31615127841815</c:v>
                </c:pt>
                <c:pt idx="552">
                  <c:v>#N/A</c:v>
                </c:pt>
                <c:pt idx="553">
                  <c:v>#N/A</c:v>
                </c:pt>
                <c:pt idx="554">
                  <c:v>#N/A</c:v>
                </c:pt>
                <c:pt idx="555">
                  <c:v>#N/A</c:v>
                </c:pt>
                <c:pt idx="556">
                  <c:v>#N/A</c:v>
                </c:pt>
                <c:pt idx="557">
                  <c:v>#N/A</c:v>
                </c:pt>
                <c:pt idx="558">
                  <c:v>#N/A</c:v>
                </c:pt>
                <c:pt idx="559">
                  <c:v>269.86207655465648</c:v>
                </c:pt>
                <c:pt idx="560">
                  <c:v>269.50675851720439</c:v>
                </c:pt>
                <c:pt idx="561">
                  <c:v>273.61662161953768</c:v>
                </c:pt>
                <c:pt idx="562">
                  <c:v>273.85104964602579</c:v>
                </c:pt>
                <c:pt idx="563">
                  <c:v>276.05469316354856</c:v>
                </c:pt>
                <c:pt idx="564">
                  <c:v>#N/A</c:v>
                </c:pt>
                <c:pt idx="565">
                  <c:v>#N/A</c:v>
                </c:pt>
                <c:pt idx="566">
                  <c:v>280.09580277016119</c:v>
                </c:pt>
                <c:pt idx="567">
                  <c:v>261.81839824794918</c:v>
                </c:pt>
                <c:pt idx="568">
                  <c:v>#N/A</c:v>
                </c:pt>
                <c:pt idx="569">
                  <c:v>283.77885422334577</c:v>
                </c:pt>
                <c:pt idx="570">
                  <c:v>#N/A</c:v>
                </c:pt>
                <c:pt idx="571">
                  <c:v>285.33295245650186</c:v>
                </c:pt>
                <c:pt idx="572">
                  <c:v>279.91050342590995</c:v>
                </c:pt>
                <c:pt idx="573">
                  <c:v>282.00975319840086</c:v>
                </c:pt>
                <c:pt idx="574">
                  <c:v>279.63095760799263</c:v>
                </c:pt>
                <c:pt idx="575">
                  <c:v>278.68668793579616</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N/A</c:v>
                </c:pt>
                <c:pt idx="600">
                  <c:v>0</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N/A</c:v>
                </c:pt>
                <c:pt idx="614">
                  <c:v>277.63578600991696</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284.000385394977</c:v>
                </c:pt>
                <c:pt idx="633">
                  <c:v>276.21321428560577</c:v>
                </c:pt>
                <c:pt idx="634">
                  <c:v>275.99012783525222</c:v>
                </c:pt>
                <c:pt idx="635">
                  <c:v>270.51277100339951</c:v>
                </c:pt>
                <c:pt idx="636">
                  <c:v>276.47923187652088</c:v>
                </c:pt>
                <c:pt idx="637">
                  <c:v>280.20642568906544</c:v>
                </c:pt>
                <c:pt idx="638">
                  <c:v>#N/A</c:v>
                </c:pt>
                <c:pt idx="639">
                  <c:v>#N/A</c:v>
                </c:pt>
                <c:pt idx="640">
                  <c:v>#N/A</c:v>
                </c:pt>
                <c:pt idx="641">
                  <c:v>#N/A</c:v>
                </c:pt>
                <c:pt idx="642">
                  <c:v>#N/A</c:v>
                </c:pt>
                <c:pt idx="643">
                  <c:v>0</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N/A</c:v>
                </c:pt>
                <c:pt idx="663">
                  <c:v>270.5013036748195</c:v>
                </c:pt>
                <c:pt idx="664">
                  <c:v>#N/A</c:v>
                </c:pt>
                <c:pt idx="665">
                  <c:v>#N/A</c:v>
                </c:pt>
                <c:pt idx="666">
                  <c:v>270.77639573391059</c:v>
                </c:pt>
                <c:pt idx="667">
                  <c:v>279.55362463135123</c:v>
                </c:pt>
                <c:pt idx="668">
                  <c:v>280.14449409618999</c:v>
                </c:pt>
                <c:pt idx="669">
                  <c:v>280.44053046011243</c:v>
                </c:pt>
                <c:pt idx="670">
                  <c:v>#N/A</c:v>
                </c:pt>
                <c:pt idx="671">
                  <c:v>267.64143301452043</c:v>
                </c:pt>
                <c:pt idx="672">
                  <c:v>#N/A</c:v>
                </c:pt>
                <c:pt idx="673">
                  <c:v>275.63094029494766</c:v>
                </c:pt>
                <c:pt idx="674">
                  <c:v>273.66368409368465</c:v>
                </c:pt>
                <c:pt idx="675">
                  <c:v>#N/A</c:v>
                </c:pt>
                <c:pt idx="676">
                  <c:v>#N/A</c:v>
                </c:pt>
                <c:pt idx="677">
                  <c:v>275.84503244840937</c:v>
                </c:pt>
                <c:pt idx="678">
                  <c:v>278.43870425921875</c:v>
                </c:pt>
                <c:pt idx="679">
                  <c:v>273.11488586713415</c:v>
                </c:pt>
                <c:pt idx="680">
                  <c:v>#N/A</c:v>
                </c:pt>
                <c:pt idx="681">
                  <c:v>#N/A</c:v>
                </c:pt>
                <c:pt idx="682">
                  <c:v>#N/A</c:v>
                </c:pt>
                <c:pt idx="683">
                  <c:v>#N/A</c:v>
                </c:pt>
                <c:pt idx="684">
                  <c:v>#N/A</c:v>
                </c:pt>
                <c:pt idx="685">
                  <c:v>#N/A</c:v>
                </c:pt>
                <c:pt idx="686">
                  <c:v>268.10424621982156</c:v>
                </c:pt>
                <c:pt idx="687">
                  <c:v>#N/A</c:v>
                </c:pt>
                <c:pt idx="688">
                  <c:v>#N/A</c:v>
                </c:pt>
                <c:pt idx="689">
                  <c:v>272.23333783112491</c:v>
                </c:pt>
                <c:pt idx="690">
                  <c:v>273.71381026500853</c:v>
                </c:pt>
                <c:pt idx="691">
                  <c:v>273.22793743954833</c:v>
                </c:pt>
                <c:pt idx="692">
                  <c:v>#N/A</c:v>
                </c:pt>
                <c:pt idx="693">
                  <c:v>276.7552713682187</c:v>
                </c:pt>
                <c:pt idx="694">
                  <c:v>275.66113251348554</c:v>
                </c:pt>
                <c:pt idx="695">
                  <c:v>269.76399654827446</c:v>
                </c:pt>
                <c:pt idx="696">
                  <c:v>274.84524090082868</c:v>
                </c:pt>
                <c:pt idx="697">
                  <c:v>273.46092657846282</c:v>
                </c:pt>
                <c:pt idx="698">
                  <c:v>274.8931955820824</c:v>
                </c:pt>
                <c:pt idx="699">
                  <c:v>271.67432420580724</c:v>
                </c:pt>
                <c:pt idx="700">
                  <c:v>268.130456056296</c:v>
                </c:pt>
                <c:pt idx="701">
                  <c:v>268.3593323299275</c:v>
                </c:pt>
                <c:pt idx="702">
                  <c:v>264.75225045624586</c:v>
                </c:pt>
                <c:pt idx="703">
                  <c:v>273.51557698536101</c:v>
                </c:pt>
                <c:pt idx="704">
                  <c:v>270.14883072673524</c:v>
                </c:pt>
                <c:pt idx="705">
                  <c:v>270.61763366114519</c:v>
                </c:pt>
                <c:pt idx="706">
                  <c:v>268.81850357304495</c:v>
                </c:pt>
                <c:pt idx="707">
                  <c:v>268.74929375824343</c:v>
                </c:pt>
                <c:pt idx="708">
                  <c:v>269.67219224628514</c:v>
                </c:pt>
                <c:pt idx="709">
                  <c:v>283.57004201365385</c:v>
                </c:pt>
                <c:pt idx="710">
                  <c:v>271.5630703190501</c:v>
                </c:pt>
                <c:pt idx="711">
                  <c:v>270.33143841459116</c:v>
                </c:pt>
                <c:pt idx="712">
                  <c:v>266.96247000820006</c:v>
                </c:pt>
                <c:pt idx="713">
                  <c:v>272.26037038189929</c:v>
                </c:pt>
                <c:pt idx="714">
                  <c:v>271.86130243536172</c:v>
                </c:pt>
                <c:pt idx="715">
                  <c:v>264.12446829985004</c:v>
                </c:pt>
                <c:pt idx="716">
                  <c:v>268.52672663467831</c:v>
                </c:pt>
                <c:pt idx="717">
                  <c:v>266.92930381803387</c:v>
                </c:pt>
                <c:pt idx="718">
                  <c:v>271.63887801075509</c:v>
                </c:pt>
                <c:pt idx="719">
                  <c:v>264.15436586910528</c:v>
                </c:pt>
                <c:pt idx="720">
                  <c:v>269.04026908432979</c:v>
                </c:pt>
                <c:pt idx="721">
                  <c:v>251.78170297752331</c:v>
                </c:pt>
                <c:pt idx="722">
                  <c:v>270.71379572269655</c:v>
                </c:pt>
                <c:pt idx="723">
                  <c:v>272.22262191296886</c:v>
                </c:pt>
                <c:pt idx="724">
                  <c:v>276.07803941912471</c:v>
                </c:pt>
                <c:pt idx="725">
                  <c:v>#N/A</c:v>
                </c:pt>
                <c:pt idx="726">
                  <c:v>#N/A</c:v>
                </c:pt>
                <c:pt idx="727">
                  <c:v>222.87328401299101</c:v>
                </c:pt>
                <c:pt idx="728">
                  <c:v>277.04376049955238</c:v>
                </c:pt>
                <c:pt idx="729">
                  <c:v>271.1954234309153</c:v>
                </c:pt>
                <c:pt idx="730">
                  <c:v>267.38101729569644</c:v>
                </c:pt>
                <c:pt idx="731">
                  <c:v>267.14917163057339</c:v>
                </c:pt>
                <c:pt idx="732">
                  <c:v>272.54258379691316</c:v>
                </c:pt>
                <c:pt idx="733">
                  <c:v>273.16005526039714</c:v>
                </c:pt>
                <c:pt idx="734">
                  <c:v>268.68470164656742</c:v>
                </c:pt>
                <c:pt idx="735">
                  <c:v>268.81522834823045</c:v>
                </c:pt>
                <c:pt idx="736">
                  <c:v>269.31227424491613</c:v>
                </c:pt>
                <c:pt idx="737">
                  <c:v>274.1959098144539</c:v>
                </c:pt>
                <c:pt idx="738">
                  <c:v>273.32755179392711</c:v>
                </c:pt>
                <c:pt idx="739">
                  <c:v>273.64059613981078</c:v>
                </c:pt>
                <c:pt idx="740">
                  <c:v>275.512762473061</c:v>
                </c:pt>
                <c:pt idx="741">
                  <c:v>#N/A</c:v>
                </c:pt>
                <c:pt idx="742">
                  <c:v>#N/A</c:v>
                </c:pt>
                <c:pt idx="743">
                  <c:v>#N/A</c:v>
                </c:pt>
                <c:pt idx="744">
                  <c:v>269.5347836392292</c:v>
                </c:pt>
                <c:pt idx="745">
                  <c:v>267.28220484386964</c:v>
                </c:pt>
                <c:pt idx="746">
                  <c:v>265.89944147537028</c:v>
                </c:pt>
                <c:pt idx="747">
                  <c:v>266.25255006810676</c:v>
                </c:pt>
                <c:pt idx="748">
                  <c:v>268.05564473777429</c:v>
                </c:pt>
                <c:pt idx="749">
                  <c:v>266.59184856961804</c:v>
                </c:pt>
                <c:pt idx="750">
                  <c:v>#N/A</c:v>
                </c:pt>
                <c:pt idx="751">
                  <c:v>#N/A</c:v>
                </c:pt>
                <c:pt idx="752">
                  <c:v>263.71493392319837</c:v>
                </c:pt>
                <c:pt idx="753">
                  <c:v>256.65261780276421</c:v>
                </c:pt>
                <c:pt idx="754">
                  <c:v>270.93691897648557</c:v>
                </c:pt>
                <c:pt idx="755">
                  <c:v>266.06268401774616</c:v>
                </c:pt>
                <c:pt idx="756">
                  <c:v>265.52886065518612</c:v>
                </c:pt>
                <c:pt idx="757">
                  <c:v>#N/A</c:v>
                </c:pt>
                <c:pt idx="758">
                  <c:v>#N/A</c:v>
                </c:pt>
                <c:pt idx="759">
                  <c:v>#N/A</c:v>
                </c:pt>
                <c:pt idx="760">
                  <c:v>272.0566644545969</c:v>
                </c:pt>
                <c:pt idx="761">
                  <c:v>269.75241025746402</c:v>
                </c:pt>
                <c:pt idx="762">
                  <c:v>#N/A</c:v>
                </c:pt>
                <c:pt idx="763">
                  <c:v>#N/A</c:v>
                </c:pt>
                <c:pt idx="764">
                  <c:v>#N/A</c:v>
                </c:pt>
                <c:pt idx="765">
                  <c:v>#N/A</c:v>
                </c:pt>
                <c:pt idx="766">
                  <c:v>#N/A</c:v>
                </c:pt>
                <c:pt idx="767">
                  <c:v>#N/A</c:v>
                </c:pt>
                <c:pt idx="768">
                  <c:v>#N/A</c:v>
                </c:pt>
                <c:pt idx="769">
                  <c:v>#N/A</c:v>
                </c:pt>
                <c:pt idx="770">
                  <c:v>#N/A</c:v>
                </c:pt>
                <c:pt idx="771">
                  <c:v>271.65691820351742</c:v>
                </c:pt>
                <c:pt idx="772">
                  <c:v>#N/A</c:v>
                </c:pt>
                <c:pt idx="773">
                  <c:v>#N/A</c:v>
                </c:pt>
                <c:pt idx="774">
                  <c:v>267.67776680485179</c:v>
                </c:pt>
                <c:pt idx="775">
                  <c:v>266.95803545267165</c:v>
                </c:pt>
                <c:pt idx="776">
                  <c:v>268.26104687203315</c:v>
                </c:pt>
                <c:pt idx="777">
                  <c:v>#N/A</c:v>
                </c:pt>
                <c:pt idx="778">
                  <c:v>#N/A</c:v>
                </c:pt>
                <c:pt idx="779">
                  <c:v>#N/A</c:v>
                </c:pt>
                <c:pt idx="780">
                  <c:v>261.59400642217406</c:v>
                </c:pt>
                <c:pt idx="781">
                  <c:v>263.66330969279579</c:v>
                </c:pt>
                <c:pt idx="782">
                  <c:v>264.79804277403036</c:v>
                </c:pt>
                <c:pt idx="783">
                  <c:v>265.86801762747643</c:v>
                </c:pt>
                <c:pt idx="784">
                  <c:v>#N/A</c:v>
                </c:pt>
                <c:pt idx="785">
                  <c:v>#N/A</c:v>
                </c:pt>
                <c:pt idx="786">
                  <c:v>274.83880399920724</c:v>
                </c:pt>
                <c:pt idx="787">
                  <c:v>#N/A</c:v>
                </c:pt>
                <c:pt idx="788">
                  <c:v>#N/A</c:v>
                </c:pt>
                <c:pt idx="789">
                  <c:v>277.78592262580935</c:v>
                </c:pt>
                <c:pt idx="790">
                  <c:v>267.3604729008656</c:v>
                </c:pt>
                <c:pt idx="791">
                  <c:v>269.94173587134298</c:v>
                </c:pt>
                <c:pt idx="792">
                  <c:v>257.79206726563245</c:v>
                </c:pt>
                <c:pt idx="793">
                  <c:v>262.69717078407143</c:v>
                </c:pt>
                <c:pt idx="794">
                  <c:v>268.51213626094204</c:v>
                </c:pt>
                <c:pt idx="795">
                  <c:v>267.01184914525015</c:v>
                </c:pt>
                <c:pt idx="796">
                  <c:v>#N/A</c:v>
                </c:pt>
                <c:pt idx="797">
                  <c:v>#N/A</c:v>
                </c:pt>
                <c:pt idx="798">
                  <c:v>#N/A</c:v>
                </c:pt>
                <c:pt idx="799">
                  <c:v>#N/A</c:v>
                </c:pt>
                <c:pt idx="800">
                  <c:v>#N/A</c:v>
                </c:pt>
                <c:pt idx="801">
                  <c:v>#N/A</c:v>
                </c:pt>
                <c:pt idx="802">
                  <c:v>268.92289799857963</c:v>
                </c:pt>
                <c:pt idx="803">
                  <c:v>274.91424267199727</c:v>
                </c:pt>
                <c:pt idx="804">
                  <c:v>277.30402270369177</c:v>
                </c:pt>
                <c:pt idx="805">
                  <c:v>268.13886537312271</c:v>
                </c:pt>
                <c:pt idx="806">
                  <c:v>#N/A</c:v>
                </c:pt>
                <c:pt idx="807">
                  <c:v>#N/A</c:v>
                </c:pt>
                <c:pt idx="808">
                  <c:v>#N/A</c:v>
                </c:pt>
                <c:pt idx="809">
                  <c:v>274.71736816457781</c:v>
                </c:pt>
                <c:pt idx="810">
                  <c:v>277.1199608367682</c:v>
                </c:pt>
                <c:pt idx="811">
                  <c:v>274.76416712437288</c:v>
                </c:pt>
                <c:pt idx="812">
                  <c:v>267.66219632570596</c:v>
                </c:pt>
                <c:pt idx="813">
                  <c:v>#N/A</c:v>
                </c:pt>
                <c:pt idx="814">
                  <c:v>#N/A</c:v>
                </c:pt>
                <c:pt idx="815">
                  <c:v>#N/A</c:v>
                </c:pt>
                <c:pt idx="816">
                  <c:v>#N/A</c:v>
                </c:pt>
                <c:pt idx="817">
                  <c:v>267.66607427369456</c:v>
                </c:pt>
                <c:pt idx="818">
                  <c:v>270.11322085516849</c:v>
                </c:pt>
                <c:pt idx="819">
                  <c:v>272.64227768595129</c:v>
                </c:pt>
                <c:pt idx="820">
                  <c:v>275.26835282005095</c:v>
                </c:pt>
                <c:pt idx="821">
                  <c:v>275.32828129538302</c:v>
                </c:pt>
                <c:pt idx="822">
                  <c:v>#N/A</c:v>
                </c:pt>
                <c:pt idx="823">
                  <c:v>#N/A</c:v>
                </c:pt>
                <c:pt idx="824">
                  <c:v>281.90078462656072</c:v>
                </c:pt>
                <c:pt idx="825">
                  <c:v>276.47282550302816</c:v>
                </c:pt>
                <c:pt idx="826">
                  <c:v>#N/A</c:v>
                </c:pt>
                <c:pt idx="827">
                  <c:v>#N/A</c:v>
                </c:pt>
                <c:pt idx="828">
                  <c:v>#N/A</c:v>
                </c:pt>
                <c:pt idx="829">
                  <c:v>#N/A</c:v>
                </c:pt>
                <c:pt idx="830">
                  <c:v>#N/A</c:v>
                </c:pt>
                <c:pt idx="831">
                  <c:v>#N/A</c:v>
                </c:pt>
                <c:pt idx="832">
                  <c:v>#N/A</c:v>
                </c:pt>
                <c:pt idx="833">
                  <c:v>#N/A</c:v>
                </c:pt>
                <c:pt idx="834">
                  <c:v>282.20351521846999</c:v>
                </c:pt>
                <c:pt idx="835">
                  <c:v>#N/A</c:v>
                </c:pt>
                <c:pt idx="836">
                  <c:v>#N/A</c:v>
                </c:pt>
                <c:pt idx="837">
                  <c:v>#N/A</c:v>
                </c:pt>
                <c:pt idx="838">
                  <c:v>275.00868143255991</c:v>
                </c:pt>
                <c:pt idx="839">
                  <c:v>272.86170355956858</c:v>
                </c:pt>
                <c:pt idx="840">
                  <c:v>#N/A</c:v>
                </c:pt>
                <c:pt idx="841">
                  <c:v>#N/A</c:v>
                </c:pt>
                <c:pt idx="842">
                  <c:v>#N/A</c:v>
                </c:pt>
                <c:pt idx="843">
                  <c:v>#N/A</c:v>
                </c:pt>
                <c:pt idx="844">
                  <c:v>#N/A</c:v>
                </c:pt>
                <c:pt idx="845">
                  <c:v>#N/A</c:v>
                </c:pt>
                <c:pt idx="846">
                  <c:v>274.00667569417089</c:v>
                </c:pt>
                <c:pt idx="847">
                  <c:v>#N/A</c:v>
                </c:pt>
                <c:pt idx="848">
                  <c:v>278.1653118094946</c:v>
                </c:pt>
                <c:pt idx="849">
                  <c:v>273.20625422426792</c:v>
                </c:pt>
                <c:pt idx="850">
                  <c:v>280.68058705013289</c:v>
                </c:pt>
                <c:pt idx="851">
                  <c:v>274.31262480147279</c:v>
                </c:pt>
                <c:pt idx="852">
                  <c:v>272.14391826023586</c:v>
                </c:pt>
                <c:pt idx="853">
                  <c:v>284.04780926754574</c:v>
                </c:pt>
                <c:pt idx="854">
                  <c:v>#N/A</c:v>
                </c:pt>
                <c:pt idx="855">
                  <c:v>279.74327849019869</c:v>
                </c:pt>
                <c:pt idx="856">
                  <c:v>275.47806312846592</c:v>
                </c:pt>
                <c:pt idx="857">
                  <c:v>277.9976402922041</c:v>
                </c:pt>
                <c:pt idx="858">
                  <c:v>280.96680716032768</c:v>
                </c:pt>
                <c:pt idx="859">
                  <c:v>279.56840809944174</c:v>
                </c:pt>
                <c:pt idx="860">
                  <c:v>279.14523780146419</c:v>
                </c:pt>
                <c:pt idx="861">
                  <c:v>#N/A</c:v>
                </c:pt>
                <c:pt idx="862">
                  <c:v>#N/A</c:v>
                </c:pt>
                <c:pt idx="863">
                  <c:v>228.71893280802078</c:v>
                </c:pt>
                <c:pt idx="864">
                  <c:v>#N/A</c:v>
                </c:pt>
                <c:pt idx="865">
                  <c:v>#N/A</c:v>
                </c:pt>
                <c:pt idx="866">
                  <c:v>#N/A</c:v>
                </c:pt>
                <c:pt idx="867">
                  <c:v>#N/A</c:v>
                </c:pt>
                <c:pt idx="868">
                  <c:v>281.12505473384817</c:v>
                </c:pt>
                <c:pt idx="869">
                  <c:v>#N/A</c:v>
                </c:pt>
                <c:pt idx="870">
                  <c:v>#N/A</c:v>
                </c:pt>
                <c:pt idx="871">
                  <c:v>#N/A</c:v>
                </c:pt>
                <c:pt idx="872">
                  <c:v>#N/A</c:v>
                </c:pt>
                <c:pt idx="873">
                  <c:v>273.4259907202196</c:v>
                </c:pt>
                <c:pt idx="874">
                  <c:v>275.6855271200244</c:v>
                </c:pt>
                <c:pt idx="875">
                  <c:v>275.08808140033295</c:v>
                </c:pt>
                <c:pt idx="876">
                  <c:v>#N/A</c:v>
                </c:pt>
                <c:pt idx="877">
                  <c:v>274.71925954831579</c:v>
                </c:pt>
                <c:pt idx="878">
                  <c:v>275.13123865894249</c:v>
                </c:pt>
                <c:pt idx="879">
                  <c:v>274.40273697037844</c:v>
                </c:pt>
                <c:pt idx="880">
                  <c:v>275.29493247666255</c:v>
                </c:pt>
                <c:pt idx="881">
                  <c:v>275.70149165350415</c:v>
                </c:pt>
                <c:pt idx="882">
                  <c:v>275.28477969451296</c:v>
                </c:pt>
                <c:pt idx="883">
                  <c:v>280.07777841631605</c:v>
                </c:pt>
                <c:pt idx="884">
                  <c:v>#N/A</c:v>
                </c:pt>
                <c:pt idx="885">
                  <c:v>#N/A</c:v>
                </c:pt>
                <c:pt idx="886">
                  <c:v>278.29717136833949</c:v>
                </c:pt>
                <c:pt idx="887">
                  <c:v>281.46497579797426</c:v>
                </c:pt>
                <c:pt idx="888">
                  <c:v>276.87815692870709</c:v>
                </c:pt>
                <c:pt idx="889">
                  <c:v>276.36770392909</c:v>
                </c:pt>
                <c:pt idx="890">
                  <c:v>270.68566813238624</c:v>
                </c:pt>
                <c:pt idx="891">
                  <c:v>274.39418286345085</c:v>
                </c:pt>
                <c:pt idx="892">
                  <c:v>271.86132833819136</c:v>
                </c:pt>
                <c:pt idx="893">
                  <c:v>276.16234233715261</c:v>
                </c:pt>
                <c:pt idx="894">
                  <c:v>272.67336830402462</c:v>
                </c:pt>
                <c:pt idx="895">
                  <c:v>270.87674458943764</c:v>
                </c:pt>
                <c:pt idx="896">
                  <c:v>#N/A</c:v>
                </c:pt>
                <c:pt idx="897">
                  <c:v>#N/A</c:v>
                </c:pt>
                <c:pt idx="898">
                  <c:v>273.76595314261647</c:v>
                </c:pt>
                <c:pt idx="899">
                  <c:v>276.05091259759297</c:v>
                </c:pt>
                <c:pt idx="900">
                  <c:v>276.40761978686146</c:v>
                </c:pt>
                <c:pt idx="901">
                  <c:v>#N/A</c:v>
                </c:pt>
                <c:pt idx="902">
                  <c:v>274.77729063382105</c:v>
                </c:pt>
                <c:pt idx="903">
                  <c:v>#N/A</c:v>
                </c:pt>
                <c:pt idx="904">
                  <c:v>268.185717191545</c:v>
                </c:pt>
                <c:pt idx="905">
                  <c:v>272.7684103885141</c:v>
                </c:pt>
                <c:pt idx="906">
                  <c:v>276.31032434133556</c:v>
                </c:pt>
                <c:pt idx="907">
                  <c:v>272.41387404756063</c:v>
                </c:pt>
                <c:pt idx="908">
                  <c:v>275.92454422812443</c:v>
                </c:pt>
                <c:pt idx="909">
                  <c:v>#N/A</c:v>
                </c:pt>
                <c:pt idx="910">
                  <c:v>#N/A</c:v>
                </c:pt>
                <c:pt idx="911">
                  <c:v>#N/A</c:v>
                </c:pt>
                <c:pt idx="912">
                  <c:v>#N/A</c:v>
                </c:pt>
                <c:pt idx="913">
                  <c:v>273.83543860759289</c:v>
                </c:pt>
                <c:pt idx="914">
                  <c:v>271.31002247957099</c:v>
                </c:pt>
                <c:pt idx="915">
                  <c:v>275.17197737916001</c:v>
                </c:pt>
                <c:pt idx="916">
                  <c:v>#N/A</c:v>
                </c:pt>
                <c:pt idx="917">
                  <c:v>#N/A</c:v>
                </c:pt>
                <c:pt idx="918">
                  <c:v>#N/A</c:v>
                </c:pt>
                <c:pt idx="919">
                  <c:v>#N/A</c:v>
                </c:pt>
                <c:pt idx="920">
                  <c:v>#N/A</c:v>
                </c:pt>
                <c:pt idx="921">
                  <c:v>#N/A</c:v>
                </c:pt>
                <c:pt idx="922">
                  <c:v>#N/A</c:v>
                </c:pt>
                <c:pt idx="923">
                  <c:v>#N/A</c:v>
                </c:pt>
                <c:pt idx="924">
                  <c:v>286.38304613868149</c:v>
                </c:pt>
                <c:pt idx="925">
                  <c:v>278.82333270770039</c:v>
                </c:pt>
                <c:pt idx="926">
                  <c:v>273.59130063992257</c:v>
                </c:pt>
                <c:pt idx="927">
                  <c:v>#N/A</c:v>
                </c:pt>
                <c:pt idx="928">
                  <c:v>269.4733615454345</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N/A</c:v>
                </c:pt>
                <c:pt idx="945">
                  <c:v>268.9571335508374</c:v>
                </c:pt>
                <c:pt idx="946">
                  <c:v>#N/A</c:v>
                </c:pt>
                <c:pt idx="947">
                  <c:v>#N/A</c:v>
                </c:pt>
                <c:pt idx="948">
                  <c:v>#N/A</c:v>
                </c:pt>
                <c:pt idx="949">
                  <c:v>277.26807597722097</c:v>
                </c:pt>
                <c:pt idx="950">
                  <c:v>279.05555396586647</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275.32598019618183</c:v>
                </c:pt>
                <c:pt idx="983">
                  <c:v>#N/A</c:v>
                </c:pt>
                <c:pt idx="984">
                  <c:v>276.82133840550125</c:v>
                </c:pt>
                <c:pt idx="985">
                  <c:v>#N/A</c:v>
                </c:pt>
                <c:pt idx="986">
                  <c:v>281.92628789692594</c:v>
                </c:pt>
                <c:pt idx="987">
                  <c:v>284.42452149998803</c:v>
                </c:pt>
                <c:pt idx="988">
                  <c:v>282.56894734334867</c:v>
                </c:pt>
                <c:pt idx="989">
                  <c:v>273.43445429100404</c:v>
                </c:pt>
                <c:pt idx="990">
                  <c:v>277.88045427117299</c:v>
                </c:pt>
                <c:pt idx="991">
                  <c:v>280.33877373828511</c:v>
                </c:pt>
                <c:pt idx="992">
                  <c:v>277.54356476632654</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N/A</c:v>
                </c:pt>
                <c:pt idx="1070">
                  <c:v>275.45107610162836</c:v>
                </c:pt>
                <c:pt idx="1071">
                  <c:v>#N/A</c:v>
                </c:pt>
                <c:pt idx="1072">
                  <c:v>#N/A</c:v>
                </c:pt>
                <c:pt idx="1073">
                  <c:v>#N/A</c:v>
                </c:pt>
                <c:pt idx="1074">
                  <c:v>#N/A</c:v>
                </c:pt>
                <c:pt idx="1075">
                  <c:v>272.51481096316843</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pt idx="1096">
                  <c:v>#N/A</c:v>
                </c:pt>
              </c:numCache>
            </c:numRef>
          </c:yVal>
          <c:smooth val="0"/>
          <c:extLst>
            <c:ext xmlns:c16="http://schemas.microsoft.com/office/drawing/2014/chart" uri="{C3380CC4-5D6E-409C-BE32-E72D297353CC}">
              <c16:uniqueId val="{00000000-A4CA-489B-A575-89A955F18A3B}"/>
            </c:ext>
          </c:extLst>
        </c:ser>
        <c:dLbls>
          <c:showLegendKey val="0"/>
          <c:showVal val="0"/>
          <c:showCatName val="0"/>
          <c:showSerName val="0"/>
          <c:showPercent val="0"/>
          <c:showBubbleSize val="0"/>
        </c:dLbls>
        <c:axId val="1065471023"/>
        <c:axId val="1065457295"/>
      </c:scatterChart>
      <c:valAx>
        <c:axId val="1065471023"/>
        <c:scaling>
          <c:orientation val="minMax"/>
          <c:min val="0.4990000000000000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457295"/>
        <c:crosses val="autoZero"/>
        <c:crossBetween val="midCat"/>
      </c:valAx>
      <c:valAx>
        <c:axId val="1065457295"/>
        <c:scaling>
          <c:orientation val="minMax"/>
          <c:min val="2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471023"/>
        <c:crosses val="autoZero"/>
        <c:crossBetween val="midCat"/>
      </c:valAx>
      <c:spPr>
        <a:noFill/>
        <a:ln>
          <a:noFill/>
        </a:ln>
        <a:effectLst/>
      </c:spPr>
    </c:plotArea>
    <c:plotVisOnly val="1"/>
    <c:dispBlanksAs val="gap"/>
    <c:showDLblsOverMax val="0"/>
  </c:chart>
  <c:spPr>
    <a:noFill/>
    <a:ln w="9525">
      <a:solidFill>
        <a:schemeClr val="tx2"/>
      </a:solid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N</a:t>
            </a:r>
            <a:r>
              <a:rPr lang="en-US" baseline="-25000" dirty="0" smtClean="0"/>
              <a:t>2</a:t>
            </a:r>
            <a:r>
              <a:rPr lang="en-US" dirty="0" smtClean="0"/>
              <a:t> (Nm3) </a:t>
            </a:r>
            <a:r>
              <a:rPr lang="en-US" dirty="0"/>
              <a:t>vs </a:t>
            </a:r>
            <a:r>
              <a:rPr lang="en-US" dirty="0" smtClean="0"/>
              <a:t>C</a:t>
            </a:r>
            <a:r>
              <a:rPr lang="en-US" baseline="0" dirty="0" smtClean="0"/>
              <a:t> in Hot Metal(kg)</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W$1:$AW$2</c:f>
              <c:strCache>
                <c:ptCount val="2"/>
                <c:pt idx="0">
                  <c:v>N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C$3:$AC$1131</c:f>
              <c:numCache>
                <c:formatCode>0</c:formatCode>
                <c:ptCount val="1129"/>
                <c:pt idx="0">
                  <c:v>46.663678543516028</c:v>
                </c:pt>
                <c:pt idx="1">
                  <c:v>46.593651497481801</c:v>
                </c:pt>
                <c:pt idx="2">
                  <c:v>46.876360813340256</c:v>
                </c:pt>
                <c:pt idx="3">
                  <c:v>47.113421914120359</c:v>
                </c:pt>
                <c:pt idx="4">
                  <c:v>46.20835371205041</c:v>
                </c:pt>
                <c:pt idx="5">
                  <c:v>44.779848169544756</c:v>
                </c:pt>
                <c:pt idx="6">
                  <c:v>45.460968146440621</c:v>
                </c:pt>
                <c:pt idx="7">
                  <c:v>46.114579931676346</c:v>
                </c:pt>
                <c:pt idx="8">
                  <c:v>46.460783764097101</c:v>
                </c:pt>
                <c:pt idx="9">
                  <c:v>45.803928331907279</c:v>
                </c:pt>
                <c:pt idx="10">
                  <c:v>46.471095449817447</c:v>
                </c:pt>
                <c:pt idx="11">
                  <c:v>46.268589814507095</c:v>
                </c:pt>
                <c:pt idx="12">
                  <c:v>46.296885805435522</c:v>
                </c:pt>
                <c:pt idx="13">
                  <c:v>45.405460107289798</c:v>
                </c:pt>
                <c:pt idx="14">
                  <c:v>46.069393725140692</c:v>
                </c:pt>
                <c:pt idx="15">
                  <c:v>45.309381634927</c:v>
                </c:pt>
                <c:pt idx="16">
                  <c:v>47.22273536974604</c:v>
                </c:pt>
                <c:pt idx="17">
                  <c:v>46.876360813340256</c:v>
                </c:pt>
                <c:pt idx="18">
                  <c:v>46.71869631248051</c:v>
                </c:pt>
                <c:pt idx="19">
                  <c:v>45.854146963740774</c:v>
                </c:pt>
                <c:pt idx="20">
                  <c:v>46.407604391077363</c:v>
                </c:pt>
                <c:pt idx="21">
                  <c:v>45.672567323766124</c:v>
                </c:pt>
                <c:pt idx="22">
                  <c:v>46.557232757434328</c:v>
                </c:pt>
                <c:pt idx="23">
                  <c:v>46.608624055583491</c:v>
                </c:pt>
                <c:pt idx="24">
                  <c:v>46.609839631610029</c:v>
                </c:pt>
                <c:pt idx="25">
                  <c:v>47.304999699480156</c:v>
                </c:pt>
                <c:pt idx="26">
                  <c:v>46.513828598621416</c:v>
                </c:pt>
                <c:pt idx="27">
                  <c:v>45.915324882565507</c:v>
                </c:pt>
                <c:pt idx="28">
                  <c:v>46.574390689266608</c:v>
                </c:pt>
                <c:pt idx="29">
                  <c:v>46.876360813340256</c:v>
                </c:pt>
                <c:pt idx="30">
                  <c:v>46.87303522836342</c:v>
                </c:pt>
                <c:pt idx="31">
                  <c:v>46.691500235574168</c:v>
                </c:pt>
                <c:pt idx="32">
                  <c:v>47.0229843984349</c:v>
                </c:pt>
                <c:pt idx="33">
                  <c:v>47.209333681566207</c:v>
                </c:pt>
                <c:pt idx="34">
                  <c:v>46.543950495131575</c:v>
                </c:pt>
                <c:pt idx="35">
                  <c:v>46.543950495131575</c:v>
                </c:pt>
                <c:pt idx="36">
                  <c:v>46.842454962431987</c:v>
                </c:pt>
                <c:pt idx="37">
                  <c:v>46.691049148181072</c:v>
                </c:pt>
                <c:pt idx="38">
                  <c:v>46.618779024000567</c:v>
                </c:pt>
                <c:pt idx="39">
                  <c:v>46.215061398189711</c:v>
                </c:pt>
                <c:pt idx="40">
                  <c:v>45.275763062050757</c:v>
                </c:pt>
                <c:pt idx="41">
                  <c:v>45.784537830006435</c:v>
                </c:pt>
                <c:pt idx="42">
                  <c:v>45.207244098943171</c:v>
                </c:pt>
                <c:pt idx="43">
                  <c:v>45.838702684281365</c:v>
                </c:pt>
                <c:pt idx="44">
                  <c:v>44.725901872318872</c:v>
                </c:pt>
                <c:pt idx="45">
                  <c:v>43.658926358958503</c:v>
                </c:pt>
                <c:pt idx="46">
                  <c:v>45.304789858911896</c:v>
                </c:pt>
                <c:pt idx="47">
                  <c:v>45.688640941000891</c:v>
                </c:pt>
                <c:pt idx="48">
                  <c:v>45.436500581784813</c:v>
                </c:pt>
                <c:pt idx="49">
                  <c:v>46.222209667488798</c:v>
                </c:pt>
                <c:pt idx="50">
                  <c:v>43.981441831675411</c:v>
                </c:pt>
                <c:pt idx="51">
                  <c:v>46.67346914884439</c:v>
                </c:pt>
                <c:pt idx="52">
                  <c:v>46.570680188385523</c:v>
                </c:pt>
                <c:pt idx="53">
                  <c:v>46.038667241941084</c:v>
                </c:pt>
                <c:pt idx="54" formatCode="0.0">
                  <c:v>46.506694761281544</c:v>
                </c:pt>
                <c:pt idx="55" formatCode="0.0">
                  <c:v>46.432054914066711</c:v>
                </c:pt>
                <c:pt idx="56">
                  <c:v>46.101608587280211</c:v>
                </c:pt>
                <c:pt idx="57" formatCode="0.0">
                  <c:v>46.356965027632803</c:v>
                </c:pt>
                <c:pt idx="58" formatCode="0.0">
                  <c:v>46.23966714515884</c:v>
                </c:pt>
                <c:pt idx="59">
                  <c:v>45.531641653239454</c:v>
                </c:pt>
                <c:pt idx="60">
                  <c:v>46.384473825923926</c:v>
                </c:pt>
                <c:pt idx="61">
                  <c:v>45.882397862991212</c:v>
                </c:pt>
                <c:pt idx="62">
                  <c:v>46.622506889576592</c:v>
                </c:pt>
                <c:pt idx="63">
                  <c:v>45.995544019269502</c:v>
                </c:pt>
                <c:pt idx="64">
                  <c:v>45.716147360715134</c:v>
                </c:pt>
                <c:pt idx="65">
                  <c:v>46.326342697827279</c:v>
                </c:pt>
                <c:pt idx="66">
                  <c:v>46.063942978738936</c:v>
                </c:pt>
                <c:pt idx="67">
                  <c:v>45.966942624492205</c:v>
                </c:pt>
                <c:pt idx="68">
                  <c:v>46.306608285849229</c:v>
                </c:pt>
                <c:pt idx="69">
                  <c:v>46.807377733686614</c:v>
                </c:pt>
                <c:pt idx="70">
                  <c:v>46.95065298966859</c:v>
                </c:pt>
                <c:pt idx="71">
                  <c:v>46.497862658628364</c:v>
                </c:pt>
                <c:pt idx="72" formatCode="0.0">
                  <c:v>47.034454032021166</c:v>
                </c:pt>
                <c:pt idx="73">
                  <c:v>46.705892762305901</c:v>
                </c:pt>
                <c:pt idx="74">
                  <c:v>46.839301392575187</c:v>
                </c:pt>
                <c:pt idx="75">
                  <c:v>46.211517807870976</c:v>
                </c:pt>
                <c:pt idx="76">
                  <c:v>46.303984005336297</c:v>
                </c:pt>
                <c:pt idx="77">
                  <c:v>46.363741206943452</c:v>
                </c:pt>
                <c:pt idx="78">
                  <c:v>46.470738994343328</c:v>
                </c:pt>
                <c:pt idx="79">
                  <c:v>46.811737745352886</c:v>
                </c:pt>
                <c:pt idx="80">
                  <c:v>46.100052525356347</c:v>
                </c:pt>
                <c:pt idx="81">
                  <c:v>46.340304001746695</c:v>
                </c:pt>
                <c:pt idx="82">
                  <c:v>45.903391183267111</c:v>
                </c:pt>
                <c:pt idx="83">
                  <c:v>46.094710590201792</c:v>
                </c:pt>
                <c:pt idx="84">
                  <c:v>46.628450782268558</c:v>
                </c:pt>
                <c:pt idx="85">
                  <c:v>46.364178384804035</c:v>
                </c:pt>
                <c:pt idx="86">
                  <c:v>45.481924309547971</c:v>
                </c:pt>
                <c:pt idx="87">
                  <c:v>45.542749922433494</c:v>
                </c:pt>
                <c:pt idx="88">
                  <c:v>45.619517407846331</c:v>
                </c:pt>
                <c:pt idx="89">
                  <c:v>46.619117464265052</c:v>
                </c:pt>
                <c:pt idx="90">
                  <c:v>46.340304001746695</c:v>
                </c:pt>
                <c:pt idx="91">
                  <c:v>46.346270558991741</c:v>
                </c:pt>
                <c:pt idx="92" formatCode="0.0">
                  <c:v>46.107513271863965</c:v>
                </c:pt>
                <c:pt idx="93" formatCode="0.0">
                  <c:v>45.674608335283168</c:v>
                </c:pt>
                <c:pt idx="94" formatCode="0.0">
                  <c:v>46.048054687905086</c:v>
                </c:pt>
                <c:pt idx="95" formatCode="0.0">
                  <c:v>46.249874018228013</c:v>
                </c:pt>
                <c:pt idx="96" formatCode="0.0">
                  <c:v>46.214289065244444</c:v>
                </c:pt>
                <c:pt idx="97" formatCode="0.0">
                  <c:v>46.21894852321654</c:v>
                </c:pt>
                <c:pt idx="98" formatCode="0.0">
                  <c:v>46.141079140164145</c:v>
                </c:pt>
                <c:pt idx="99" formatCode="0.0">
                  <c:v>46.300776164134035</c:v>
                </c:pt>
                <c:pt idx="100" formatCode="0.0">
                  <c:v>46.320986052966042</c:v>
                </c:pt>
                <c:pt idx="101" formatCode="0.0">
                  <c:v>46.396480550884732</c:v>
                </c:pt>
                <c:pt idx="102" formatCode="0.0">
                  <c:v>45.986918446280932</c:v>
                </c:pt>
                <c:pt idx="103" formatCode="0.0">
                  <c:v>46.103274560181063</c:v>
                </c:pt>
                <c:pt idx="104" formatCode="0.0">
                  <c:v>46.326781785960975</c:v>
                </c:pt>
                <c:pt idx="105" formatCode="0.0">
                  <c:v>46.36108901458438</c:v>
                </c:pt>
                <c:pt idx="106" formatCode="0.0">
                  <c:v>46.463792523540533</c:v>
                </c:pt>
                <c:pt idx="107" formatCode="0.0">
                  <c:v>46.30971103020385</c:v>
                </c:pt>
                <c:pt idx="108" formatCode="0.0">
                  <c:v>46.864608594535113</c:v>
                </c:pt>
                <c:pt idx="109" formatCode="0.0">
                  <c:v>46.311342669434865</c:v>
                </c:pt>
                <c:pt idx="110" formatCode="0.0">
                  <c:v>46.544349422902087</c:v>
                </c:pt>
                <c:pt idx="111" formatCode="0.0">
                  <c:v>46.249086511386679</c:v>
                </c:pt>
                <c:pt idx="112" formatCode="0.0">
                  <c:v>46.662486520390303</c:v>
                </c:pt>
                <c:pt idx="113" formatCode="0.0">
                  <c:v>45.205959010893217</c:v>
                </c:pt>
                <c:pt idx="114" formatCode="0.0">
                  <c:v>45.650140593132633</c:v>
                </c:pt>
                <c:pt idx="115" formatCode="0.0">
                  <c:v>45.225485541535029</c:v>
                </c:pt>
                <c:pt idx="116" formatCode="0.0">
                  <c:v>45.466293070147742</c:v>
                </c:pt>
                <c:pt idx="117" formatCode="0.0">
                  <c:v>46.177518108232974</c:v>
                </c:pt>
                <c:pt idx="118" formatCode="0.0">
                  <c:v>45.49274110058289</c:v>
                </c:pt>
                <c:pt idx="119" formatCode="0.0">
                  <c:v>45.286553887781899</c:v>
                </c:pt>
                <c:pt idx="120" formatCode="0.0">
                  <c:v>46.6930719436495</c:v>
                </c:pt>
                <c:pt idx="121" formatCode="0.0">
                  <c:v>46.501958319880295</c:v>
                </c:pt>
                <c:pt idx="122" formatCode="0.0">
                  <c:v>46.783684321022193</c:v>
                </c:pt>
                <c:pt idx="123" formatCode="0.0">
                  <c:v>46.507981699900498</c:v>
                </c:pt>
                <c:pt idx="124" formatCode="0.0">
                  <c:v>46.183756993093603</c:v>
                </c:pt>
                <c:pt idx="125" formatCode="0.0">
                  <c:v>45.812861706681105</c:v>
                </c:pt>
                <c:pt idx="126" formatCode="0.0">
                  <c:v>46.535535862025199</c:v>
                </c:pt>
                <c:pt idx="127" formatCode="0.0">
                  <c:v>46.5788240253681</c:v>
                </c:pt>
                <c:pt idx="128" formatCode="0.0">
                  <c:v>46.313674152871499</c:v>
                </c:pt>
                <c:pt idx="129" formatCode="0.0">
                  <c:v>47.125034518139095</c:v>
                </c:pt>
                <c:pt idx="130" formatCode="0.0">
                  <c:v>46.3216959598617</c:v>
                </c:pt>
                <c:pt idx="131" formatCode="0.0">
                  <c:v>46.743238717129294</c:v>
                </c:pt>
                <c:pt idx="132" formatCode="0.0">
                  <c:v>46.869140977840502</c:v>
                </c:pt>
                <c:pt idx="133" formatCode="0.0">
                  <c:v>46.567842161674506</c:v>
                </c:pt>
                <c:pt idx="134" formatCode="0.0">
                  <c:v>46.521307820924996</c:v>
                </c:pt>
                <c:pt idx="135" formatCode="0.0">
                  <c:v>45.846244587296795</c:v>
                </c:pt>
                <c:pt idx="136" formatCode="0.0">
                  <c:v>46.092314714202502</c:v>
                </c:pt>
                <c:pt idx="137" formatCode="0.0">
                  <c:v>46.9979308617893</c:v>
                </c:pt>
                <c:pt idx="138" formatCode="0.0">
                  <c:v>45.491109713765702</c:v>
                </c:pt>
                <c:pt idx="139" formatCode="0.0">
                  <c:v>45.4687040223601</c:v>
                </c:pt>
                <c:pt idx="140" formatCode="0.0">
                  <c:v>45.772549487483801</c:v>
                </c:pt>
                <c:pt idx="141" formatCode="0.0">
                  <c:v>45.369984984680599</c:v>
                </c:pt>
                <c:pt idx="142" formatCode="0.0">
                  <c:v>46.889598220288597</c:v>
                </c:pt>
                <c:pt idx="143" formatCode="0.0">
                  <c:v>46.066339370888798</c:v>
                </c:pt>
                <c:pt idx="144" formatCode="0.0">
                  <c:v>43.009792494332103</c:v>
                </c:pt>
                <c:pt idx="145" formatCode="0.0">
                  <c:v>0</c:v>
                </c:pt>
                <c:pt idx="146" formatCode="0.0">
                  <c:v>0</c:v>
                </c:pt>
                <c:pt idx="147" formatCode="0.0">
                  <c:v>0</c:v>
                </c:pt>
                <c:pt idx="148" formatCode="0.0">
                  <c:v>0</c:v>
                </c:pt>
                <c:pt idx="149" formatCode="0.0">
                  <c:v>46.581678931063394</c:v>
                </c:pt>
                <c:pt idx="150" formatCode="0.0">
                  <c:v>46.308807397896999</c:v>
                </c:pt>
                <c:pt idx="151" formatCode="0.0">
                  <c:v>45.358990551597898</c:v>
                </c:pt>
                <c:pt idx="152" formatCode="0.0">
                  <c:v>45.304026267780202</c:v>
                </c:pt>
                <c:pt idx="153" formatCode="0.0">
                  <c:v>45.869862551327103</c:v>
                </c:pt>
                <c:pt idx="154" formatCode="0.0">
                  <c:v>46.110211839383702</c:v>
                </c:pt>
                <c:pt idx="155" formatCode="0.0">
                  <c:v>46.804025051513293</c:v>
                </c:pt>
                <c:pt idx="156" formatCode="0.0">
                  <c:v>46.148317593057598</c:v>
                </c:pt>
                <c:pt idx="157" formatCode="0.0">
                  <c:v>46.575451175797298</c:v>
                </c:pt>
                <c:pt idx="158" formatCode="0.0">
                  <c:v>46.306632695969697</c:v>
                </c:pt>
                <c:pt idx="159" formatCode="0.0">
                  <c:v>46.081072936069098</c:v>
                </c:pt>
                <c:pt idx="160" formatCode="0.0">
                  <c:v>46.071765847274804</c:v>
                </c:pt>
                <c:pt idx="161" formatCode="0.0">
                  <c:v>46.527098784626702</c:v>
                </c:pt>
                <c:pt idx="162" formatCode="0.0">
                  <c:v>46.218246999384903</c:v>
                </c:pt>
                <c:pt idx="163" formatCode="0.0">
                  <c:v>45.143464716369095</c:v>
                </c:pt>
                <c:pt idx="164" formatCode="0.0">
                  <c:v>46.380856376138901</c:v>
                </c:pt>
                <c:pt idx="165" formatCode="0.0">
                  <c:v>45.657040616572402</c:v>
                </c:pt>
                <c:pt idx="166" formatCode="0.0">
                  <c:v>46.096873898275099</c:v>
                </c:pt>
                <c:pt idx="167" formatCode="0.0">
                  <c:v>45.604111091386301</c:v>
                </c:pt>
                <c:pt idx="168" formatCode="0.0">
                  <c:v>0</c:v>
                </c:pt>
                <c:pt idx="169" formatCode="0.0">
                  <c:v>44.762209921655</c:v>
                </c:pt>
                <c:pt idx="170" formatCode="0.0">
                  <c:v>45.9345042933613</c:v>
                </c:pt>
                <c:pt idx="171" formatCode="0.0">
                  <c:v>46.08970167549549</c:v>
                </c:pt>
                <c:pt idx="172" formatCode="0.0">
                  <c:v>48.844133205963303</c:v>
                </c:pt>
                <c:pt idx="173" formatCode="0.0">
                  <c:v>45.819273729307497</c:v>
                </c:pt>
                <c:pt idx="174" formatCode="0.0">
                  <c:v>46.079425793882798</c:v>
                </c:pt>
                <c:pt idx="175" formatCode="0.0">
                  <c:v>46.077266168348395</c:v>
                </c:pt>
                <c:pt idx="176" formatCode="0.0">
                  <c:v>46.248807303887901</c:v>
                </c:pt>
                <c:pt idx="177" formatCode="0.0">
                  <c:v>46.189581347083902</c:v>
                </c:pt>
                <c:pt idx="178" formatCode="0.0">
                  <c:v>46.044206005556497</c:v>
                </c:pt>
                <c:pt idx="179" formatCode="0.0">
                  <c:v>46.868820047337813</c:v>
                </c:pt>
                <c:pt idx="180" formatCode="0.0">
                  <c:v>47.240097613873104</c:v>
                </c:pt>
                <c:pt idx="181" formatCode="0.0">
                  <c:v>47.658119052845706</c:v>
                </c:pt>
                <c:pt idx="182" formatCode="0.0">
                  <c:v>47.309292391704389</c:v>
                </c:pt>
                <c:pt idx="183" formatCode="0.0">
                  <c:v>47.227741958677704</c:v>
                </c:pt>
                <c:pt idx="184" formatCode="0.0">
                  <c:v>47.083093467883899</c:v>
                </c:pt>
                <c:pt idx="185" formatCode="0.0">
                  <c:v>45.300000001854301</c:v>
                </c:pt>
                <c:pt idx="186" formatCode="0.0">
                  <c:v>45.353061382583498</c:v>
                </c:pt>
                <c:pt idx="187" formatCode="0.0">
                  <c:v>45.009043335082801</c:v>
                </c:pt>
                <c:pt idx="188" formatCode="0.0">
                  <c:v>45.354054784737102</c:v>
                </c:pt>
                <c:pt idx="189" formatCode="0.0">
                  <c:v>45.1316539538672</c:v>
                </c:pt>
                <c:pt idx="190" formatCode="0.0">
                  <c:v>45.107582338861093</c:v>
                </c:pt>
                <c:pt idx="191" formatCode="0.0">
                  <c:v>45.623444897912897</c:v>
                </c:pt>
                <c:pt idx="192" formatCode="0.0">
                  <c:v>45.107100810538796</c:v>
                </c:pt>
                <c:pt idx="193" formatCode="0.0">
                  <c:v>45.113749909751903</c:v>
                </c:pt>
                <c:pt idx="194" formatCode="0.0">
                  <c:v>45.177093625430601</c:v>
                </c:pt>
                <c:pt idx="195" formatCode="0.0">
                  <c:v>45.382945238340298</c:v>
                </c:pt>
                <c:pt idx="196" formatCode="0.0">
                  <c:v>45.730425421727602</c:v>
                </c:pt>
                <c:pt idx="197" formatCode="0.0">
                  <c:v>45.914819473579499</c:v>
                </c:pt>
                <c:pt idx="198" formatCode="0.0">
                  <c:v>45.955569492193604</c:v>
                </c:pt>
                <c:pt idx="199" formatCode="0.0">
                  <c:v>46.020706957420103</c:v>
                </c:pt>
                <c:pt idx="200" formatCode="0.0">
                  <c:v>45.989374852440704</c:v>
                </c:pt>
                <c:pt idx="201" formatCode="0.0">
                  <c:v>46.665433031632197</c:v>
                </c:pt>
                <c:pt idx="202" formatCode="0.0">
                  <c:v>46.057055301640702</c:v>
                </c:pt>
                <c:pt idx="203" formatCode="0.0">
                  <c:v>45.994433439956303</c:v>
                </c:pt>
                <c:pt idx="204" formatCode="0.0">
                  <c:v>46.272506732128598</c:v>
                </c:pt>
                <c:pt idx="205" formatCode="0.0">
                  <c:v>45.929892725368504</c:v>
                </c:pt>
                <c:pt idx="206" formatCode="0.0">
                  <c:v>45.417404767967902</c:v>
                </c:pt>
                <c:pt idx="207" formatCode="0.0">
                  <c:v>45.108270927401094</c:v>
                </c:pt>
                <c:pt idx="208" formatCode="0.0">
                  <c:v>44.4121093485426</c:v>
                </c:pt>
                <c:pt idx="209" formatCode="0.0">
                  <c:v>45.674957196539701</c:v>
                </c:pt>
                <c:pt idx="210" formatCode="0.0">
                  <c:v>45.7023836203767</c:v>
                </c:pt>
                <c:pt idx="211" formatCode="0.0">
                  <c:v>45.419136499510302</c:v>
                </c:pt>
                <c:pt idx="212" formatCode="0.0">
                  <c:v>45.818608444166699</c:v>
                </c:pt>
                <c:pt idx="213" formatCode="0.0">
                  <c:v>45.2214212990907</c:v>
                </c:pt>
                <c:pt idx="214" formatCode="0.0">
                  <c:v>45.383813467855802</c:v>
                </c:pt>
                <c:pt idx="215" formatCode="0.0">
                  <c:v>45.019240896653699</c:v>
                </c:pt>
                <c:pt idx="216" formatCode="0.0">
                  <c:v>45.620664689858103</c:v>
                </c:pt>
                <c:pt idx="217" formatCode="0.0">
                  <c:v>46.701517076307191</c:v>
                </c:pt>
                <c:pt idx="218" formatCode="0.0">
                  <c:v>45.308915323818695</c:v>
                </c:pt>
                <c:pt idx="219" formatCode="0.0">
                  <c:v>46.147889700020407</c:v>
                </c:pt>
                <c:pt idx="220" formatCode="0.0">
                  <c:v>45.066962761182801</c:v>
                </c:pt>
                <c:pt idx="221" formatCode="0.0">
                  <c:v>45.202013064877001</c:v>
                </c:pt>
                <c:pt idx="222" formatCode="0.0">
                  <c:v>45.579375649495603</c:v>
                </c:pt>
                <c:pt idx="223" formatCode="0.0">
                  <c:v>45.202107419307396</c:v>
                </c:pt>
                <c:pt idx="224" formatCode="0.0">
                  <c:v>45.517395441536607</c:v>
                </c:pt>
                <c:pt idx="225" formatCode="0.0">
                  <c:v>46.242557632790302</c:v>
                </c:pt>
                <c:pt idx="226" formatCode="0.0">
                  <c:v>45.821016086358895</c:v>
                </c:pt>
                <c:pt idx="227" formatCode="0.0">
                  <c:v>45.9177346527213</c:v>
                </c:pt>
                <c:pt idx="228" formatCode="0.0">
                  <c:v>45.520023419141403</c:v>
                </c:pt>
                <c:pt idx="229" formatCode="0.0">
                  <c:v>45.456539825578503</c:v>
                </c:pt>
                <c:pt idx="230" formatCode="0.0">
                  <c:v>45.580889632791198</c:v>
                </c:pt>
                <c:pt idx="231" formatCode="0.0">
                  <c:v>45.862885386767296</c:v>
                </c:pt>
                <c:pt idx="232" formatCode="0.0">
                  <c:v>46.539167044123204</c:v>
                </c:pt>
                <c:pt idx="233" formatCode="0.0">
                  <c:v>46.5939795571608</c:v>
                </c:pt>
                <c:pt idx="234" formatCode="0.0">
                  <c:v>46.914953362855201</c:v>
                </c:pt>
                <c:pt idx="235" formatCode="0.0">
                  <c:v>46.5085661944413</c:v>
                </c:pt>
                <c:pt idx="236" formatCode="0.0">
                  <c:v>45.877262366976701</c:v>
                </c:pt>
                <c:pt idx="237" formatCode="0.0">
                  <c:v>46.504866077731897</c:v>
                </c:pt>
                <c:pt idx="238" formatCode="0.0">
                  <c:v>45.710410449826497</c:v>
                </c:pt>
                <c:pt idx="239" formatCode="0.0">
                  <c:v>46.514679289964398</c:v>
                </c:pt>
                <c:pt idx="240" formatCode="0.0">
                  <c:v>45.347101587935697</c:v>
                </c:pt>
                <c:pt idx="241" formatCode="0.0">
                  <c:v>46.525862627128099</c:v>
                </c:pt>
                <c:pt idx="242" formatCode="0.0">
                  <c:v>46.295053995284398</c:v>
                </c:pt>
                <c:pt idx="243" formatCode="0.0">
                  <c:v>46.177295491472407</c:v>
                </c:pt>
                <c:pt idx="244" formatCode="0.0">
                  <c:v>44.752072312142793</c:v>
                </c:pt>
                <c:pt idx="245" formatCode="0.0">
                  <c:v>46.6432042772486</c:v>
                </c:pt>
                <c:pt idx="246" formatCode="0.0">
                  <c:v>46.531295042765599</c:v>
                </c:pt>
                <c:pt idx="247" formatCode="0.0">
                  <c:v>46.398951601753602</c:v>
                </c:pt>
                <c:pt idx="248" formatCode="0.0">
                  <c:v>45.9435874155173</c:v>
                </c:pt>
                <c:pt idx="249" formatCode="0.0">
                  <c:v>46.515720078433304</c:v>
                </c:pt>
                <c:pt idx="250" formatCode="0.0">
                  <c:v>46.673154636966999</c:v>
                </c:pt>
                <c:pt idx="251" formatCode="0.0">
                  <c:v>46.105316274600298</c:v>
                </c:pt>
                <c:pt idx="252" formatCode="0.0">
                  <c:v>46.1195274258572</c:v>
                </c:pt>
                <c:pt idx="253" formatCode="0.0">
                  <c:v>45.6088229909247</c:v>
                </c:pt>
                <c:pt idx="254" formatCode="0.0">
                  <c:v>45.353813656098197</c:v>
                </c:pt>
                <c:pt idx="255" formatCode="0.0">
                  <c:v>46.3157686982019</c:v>
                </c:pt>
                <c:pt idx="256" formatCode="0.0">
                  <c:v>45.955632919616896</c:v>
                </c:pt>
                <c:pt idx="257" formatCode="0.0">
                  <c:v>46.5600067681886</c:v>
                </c:pt>
                <c:pt idx="258" formatCode="0.0">
                  <c:v>44.4192547250017</c:v>
                </c:pt>
                <c:pt idx="259" formatCode="0.0">
                  <c:v>44.206013980273596</c:v>
                </c:pt>
                <c:pt idx="260" formatCode="0.0">
                  <c:v>47.277469688511104</c:v>
                </c:pt>
                <c:pt idx="261" formatCode="0.0">
                  <c:v>46.130435048071696</c:v>
                </c:pt>
                <c:pt idx="262" formatCode="0.0">
                  <c:v>45.277899478716499</c:v>
                </c:pt>
                <c:pt idx="263" formatCode="0.0">
                  <c:v>45.660055016151503</c:v>
                </c:pt>
                <c:pt idx="264" formatCode="0.0">
                  <c:v>45.722891735880694</c:v>
                </c:pt>
                <c:pt idx="265" formatCode="0.0">
                  <c:v>45.8554251851819</c:v>
                </c:pt>
                <c:pt idx="266" formatCode="0.0">
                  <c:v>45.590306910584104</c:v>
                </c:pt>
                <c:pt idx="267" formatCode="0.0">
                  <c:v>44.266845343978105</c:v>
                </c:pt>
                <c:pt idx="268" formatCode="0.0">
                  <c:v>45.917241357525604</c:v>
                </c:pt>
                <c:pt idx="269" formatCode="0.0">
                  <c:v>45.523880212174397</c:v>
                </c:pt>
                <c:pt idx="270" formatCode="0.0">
                  <c:v>46.340407551902096</c:v>
                </c:pt>
                <c:pt idx="271" formatCode="0.0">
                  <c:v>46.091496609455803</c:v>
                </c:pt>
                <c:pt idx="272" formatCode="0.0">
                  <c:v>46.214527491537396</c:v>
                </c:pt>
                <c:pt idx="273" formatCode="0.0">
                  <c:v>46.335469223217096</c:v>
                </c:pt>
                <c:pt idx="274" formatCode="0.0">
                  <c:v>46.081148138884998</c:v>
                </c:pt>
                <c:pt idx="275" formatCode="0.0">
                  <c:v>45.7595960168236</c:v>
                </c:pt>
                <c:pt idx="276" formatCode="0.0">
                  <c:v>46.025454892225</c:v>
                </c:pt>
                <c:pt idx="277" formatCode="0.0">
                  <c:v>46.013429750930001</c:v>
                </c:pt>
                <c:pt idx="278" formatCode="0.0">
                  <c:v>45.717660824113302</c:v>
                </c:pt>
                <c:pt idx="279" formatCode="0.0">
                  <c:v>44.949309660538205</c:v>
                </c:pt>
                <c:pt idx="280" formatCode="0.0">
                  <c:v>45.059228468485905</c:v>
                </c:pt>
                <c:pt idx="281" formatCode="0.0">
                  <c:v>45.6009142305004</c:v>
                </c:pt>
                <c:pt idx="282" formatCode="0.0">
                  <c:v>45.089478542859702</c:v>
                </c:pt>
                <c:pt idx="283" formatCode="0.0">
                  <c:v>46.035856404615501</c:v>
                </c:pt>
                <c:pt idx="284" formatCode="0.0">
                  <c:v>45.901149606421505</c:v>
                </c:pt>
                <c:pt idx="285" formatCode="0.0">
                  <c:v>46.018774237992702</c:v>
                </c:pt>
                <c:pt idx="286" formatCode="0.0">
                  <c:v>46.774028001830303</c:v>
                </c:pt>
                <c:pt idx="287" formatCode="0.0">
                  <c:v>46.774028001830303</c:v>
                </c:pt>
                <c:pt idx="288" formatCode="0.0">
                  <c:v>45.132599133137703</c:v>
                </c:pt>
                <c:pt idx="289" formatCode="0.0">
                  <c:v>45.821807324360606</c:v>
                </c:pt>
                <c:pt idx="290" formatCode="0.0">
                  <c:v>46.292018580184404</c:v>
                </c:pt>
                <c:pt idx="291" formatCode="0.0">
                  <c:v>46.160366197943794</c:v>
                </c:pt>
                <c:pt idx="292" formatCode="0.0">
                  <c:v>45.375562491652701</c:v>
                </c:pt>
                <c:pt idx="293" formatCode="0.0">
                  <c:v>45.865950648023102</c:v>
                </c:pt>
                <c:pt idx="294" formatCode="0.0">
                  <c:v>45.207451458775701</c:v>
                </c:pt>
                <c:pt idx="295" formatCode="0.0">
                  <c:v>45.532179019028696</c:v>
                </c:pt>
                <c:pt idx="296" formatCode="0.0">
                  <c:v>45.580797264416297</c:v>
                </c:pt>
                <c:pt idx="297" formatCode="0.0">
                  <c:v>45.308839731919903</c:v>
                </c:pt>
                <c:pt idx="298" formatCode="0.0">
                  <c:v>45.453200714461303</c:v>
                </c:pt>
                <c:pt idx="299" formatCode="0.0">
                  <c:v>46.198210720085697</c:v>
                </c:pt>
                <c:pt idx="300" formatCode="0.0">
                  <c:v>45.551088664844599</c:v>
                </c:pt>
                <c:pt idx="301" formatCode="0.0">
                  <c:v>44.615160524289095</c:v>
                </c:pt>
                <c:pt idx="302" formatCode="0.0">
                  <c:v>45.211791460813799</c:v>
                </c:pt>
                <c:pt idx="303" formatCode="0.0">
                  <c:v>45.7596903791461</c:v>
                </c:pt>
                <c:pt idx="304" formatCode="0.0">
                  <c:v>45.299384484081003</c:v>
                </c:pt>
                <c:pt idx="305" formatCode="0.0">
                  <c:v>45.443868595486599</c:v>
                </c:pt>
                <c:pt idx="306" formatCode="0.0">
                  <c:v>45.948026482046401</c:v>
                </c:pt>
                <c:pt idx="307" formatCode="0.0">
                  <c:v>45.872022847446203</c:v>
                </c:pt>
                <c:pt idx="308" formatCode="0.0">
                  <c:v>45.836717516533994</c:v>
                </c:pt>
                <c:pt idx="309" formatCode="0.0">
                  <c:v>46.0126282775433</c:v>
                </c:pt>
                <c:pt idx="310" formatCode="0.0">
                  <c:v>45.234409506551103</c:v>
                </c:pt>
                <c:pt idx="311" formatCode="0.0">
                  <c:v>45.815555463531403</c:v>
                </c:pt>
                <c:pt idx="312" formatCode="0.0">
                  <c:v>46.4934670517478</c:v>
                </c:pt>
                <c:pt idx="313" formatCode="0.0">
                  <c:v>46.229011918780103</c:v>
                </c:pt>
                <c:pt idx="314" formatCode="0.0">
                  <c:v>45.481141368014598</c:v>
                </c:pt>
                <c:pt idx="315" formatCode="0.0">
                  <c:v>44.544970473800007</c:v>
                </c:pt>
                <c:pt idx="316" formatCode="0.0">
                  <c:v>45.441375690775494</c:v>
                </c:pt>
                <c:pt idx="317" formatCode="0.0">
                  <c:v>45.503540364675899</c:v>
                </c:pt>
                <c:pt idx="318" formatCode="0.0">
                  <c:v>45.447456092529293</c:v>
                </c:pt>
                <c:pt idx="319" formatCode="0.0">
                  <c:v>45.848862066709898</c:v>
                </c:pt>
                <c:pt idx="320" formatCode="0.0">
                  <c:v>45.846138929131797</c:v>
                </c:pt>
                <c:pt idx="321" formatCode="0.0">
                  <c:v>46.034130416380293</c:v>
                </c:pt>
                <c:pt idx="322" formatCode="0.0">
                  <c:v>45.859663292224198</c:v>
                </c:pt>
                <c:pt idx="323" formatCode="0.0">
                  <c:v>45.151468300791805</c:v>
                </c:pt>
                <c:pt idx="324" formatCode="0.0">
                  <c:v>45.447863929798601</c:v>
                </c:pt>
                <c:pt idx="325" formatCode="0.0">
                  <c:v>45.778610583355103</c:v>
                </c:pt>
                <c:pt idx="326" formatCode="0.0">
                  <c:v>45.472011844723795</c:v>
                </c:pt>
                <c:pt idx="327" formatCode="0.0">
                  <c:v>45.395917066743095</c:v>
                </c:pt>
                <c:pt idx="328" formatCode="0.0">
                  <c:v>45.066303640417004</c:v>
                </c:pt>
                <c:pt idx="329" formatCode="0.0">
                  <c:v>45.533516847789301</c:v>
                </c:pt>
                <c:pt idx="330" formatCode="0.0">
                  <c:v>45.715941610871802</c:v>
                </c:pt>
                <c:pt idx="331" formatCode="0.0">
                  <c:v>45.498510838015001</c:v>
                </c:pt>
                <c:pt idx="332" formatCode="0.0">
                  <c:v>44.562499394684998</c:v>
                </c:pt>
                <c:pt idx="333" formatCode="0.0">
                  <c:v>44.839096683390906</c:v>
                </c:pt>
                <c:pt idx="334" formatCode="0.0">
                  <c:v>44.010500299645201</c:v>
                </c:pt>
                <c:pt idx="335" formatCode="0.0">
                  <c:v>43.516268869535295</c:v>
                </c:pt>
                <c:pt idx="336" formatCode="0.0">
                  <c:v>44.535482464890904</c:v>
                </c:pt>
                <c:pt idx="337" formatCode="0.0">
                  <c:v>44.186282557474001</c:v>
                </c:pt>
                <c:pt idx="338" formatCode="0.0">
                  <c:v>44.307818074697103</c:v>
                </c:pt>
                <c:pt idx="339" formatCode="0.0">
                  <c:v>44.683019886928093</c:v>
                </c:pt>
                <c:pt idx="340" formatCode="0.0">
                  <c:v>45.1995145464522</c:v>
                </c:pt>
                <c:pt idx="341" formatCode="0.0">
                  <c:v>44.743009122924803</c:v>
                </c:pt>
                <c:pt idx="342" formatCode="0.0">
                  <c:v>45.171127965166406</c:v>
                </c:pt>
                <c:pt idx="343" formatCode="0.0">
                  <c:v>44.806441240068004</c:v>
                </c:pt>
                <c:pt idx="344" formatCode="0.0">
                  <c:v>45.931440633602904</c:v>
                </c:pt>
                <c:pt idx="345" formatCode="0.0">
                  <c:v>45.656575067761594</c:v>
                </c:pt>
                <c:pt idx="346" formatCode="0.0">
                  <c:v>46.2734956189217</c:v>
                </c:pt>
                <c:pt idx="347" formatCode="0.0">
                  <c:v>46.308002261000098</c:v>
                </c:pt>
                <c:pt idx="348" formatCode="0.0">
                  <c:v>45.938127111306002</c:v>
                </c:pt>
                <c:pt idx="349" formatCode="0.0">
                  <c:v>45.779841783117298</c:v>
                </c:pt>
                <c:pt idx="350" formatCode="0.0">
                  <c:v>45.834179167298799</c:v>
                </c:pt>
                <c:pt idx="351" formatCode="0.0">
                  <c:v>44.451710497169302</c:v>
                </c:pt>
                <c:pt idx="352" formatCode="0.0">
                  <c:v>45.542674862149106</c:v>
                </c:pt>
                <c:pt idx="353" formatCode="0.0">
                  <c:v>45.187400852946894</c:v>
                </c:pt>
                <c:pt idx="354" formatCode="0.0">
                  <c:v>44.913008102841701</c:v>
                </c:pt>
                <c:pt idx="355" formatCode="0.0">
                  <c:v>44.690835365991703</c:v>
                </c:pt>
                <c:pt idx="356" formatCode="0.0">
                  <c:v>42.276138246420096</c:v>
                </c:pt>
                <c:pt idx="357" formatCode="0.0">
                  <c:v>44.289166966743792</c:v>
                </c:pt>
                <c:pt idx="358" formatCode="0.0">
                  <c:v>45.296557147288503</c:v>
                </c:pt>
                <c:pt idx="359" formatCode="0.0">
                  <c:v>45.709333934080298</c:v>
                </c:pt>
                <c:pt idx="360" formatCode="0.0">
                  <c:v>44.7725966340968</c:v>
                </c:pt>
                <c:pt idx="361" formatCode="0.0">
                  <c:v>44.754312412638996</c:v>
                </c:pt>
                <c:pt idx="362" formatCode="0.0">
                  <c:v>44.573964203508197</c:v>
                </c:pt>
                <c:pt idx="363" formatCode="0.0">
                  <c:v>44.743074199544701</c:v>
                </c:pt>
                <c:pt idx="364">
                  <c:v>43.993758054827801</c:v>
                </c:pt>
                <c:pt idx="365">
                  <c:v>45.846440573350506</c:v>
                </c:pt>
                <c:pt idx="366">
                  <c:v>45.810900038934705</c:v>
                </c:pt>
                <c:pt idx="367">
                  <c:v>46.214272925824602</c:v>
                </c:pt>
                <c:pt idx="368">
                  <c:v>46.9688351421227</c:v>
                </c:pt>
                <c:pt idx="369">
                  <c:v>46.393614696346297</c:v>
                </c:pt>
                <c:pt idx="370">
                  <c:v>45.884220102188202</c:v>
                </c:pt>
                <c:pt idx="371">
                  <c:v>46.126105299580502</c:v>
                </c:pt>
                <c:pt idx="372">
                  <c:v>44.884656367578899</c:v>
                </c:pt>
                <c:pt idx="373">
                  <c:v>45.108313330381698</c:v>
                </c:pt>
                <c:pt idx="374">
                  <c:v>46.145744263571899</c:v>
                </c:pt>
                <c:pt idx="375">
                  <c:v>45.479578481906799</c:v>
                </c:pt>
                <c:pt idx="376">
                  <c:v>45.423787839555601</c:v>
                </c:pt>
                <c:pt idx="377">
                  <c:v>45.796056947320494</c:v>
                </c:pt>
                <c:pt idx="378">
                  <c:v>46.419407341923701</c:v>
                </c:pt>
                <c:pt idx="379">
                  <c:v>45.401194947210499</c:v>
                </c:pt>
                <c:pt idx="380">
                  <c:v>45.423895031430305</c:v>
                </c:pt>
                <c:pt idx="381">
                  <c:v>45.4609987620669</c:v>
                </c:pt>
                <c:pt idx="382">
                  <c:v>45.499233192576597</c:v>
                </c:pt>
                <c:pt idx="383">
                  <c:v>46.032233350275398</c:v>
                </c:pt>
                <c:pt idx="384">
                  <c:v>45.599129283254697</c:v>
                </c:pt>
                <c:pt idx="385">
                  <c:v>45.661331926539397</c:v>
                </c:pt>
                <c:pt idx="386">
                  <c:v>46.248489184734105</c:v>
                </c:pt>
                <c:pt idx="387">
                  <c:v>46.431859921508298</c:v>
                </c:pt>
                <c:pt idx="388">
                  <c:v>45.7886833637398</c:v>
                </c:pt>
                <c:pt idx="389">
                  <c:v>45.781727136195698</c:v>
                </c:pt>
                <c:pt idx="390">
                  <c:v>46.528115112362499</c:v>
                </c:pt>
                <c:pt idx="391">
                  <c:v>45.813164528806098</c:v>
                </c:pt>
                <c:pt idx="392">
                  <c:v>46.320618167334601</c:v>
                </c:pt>
                <c:pt idx="393">
                  <c:v>45.219519815402698</c:v>
                </c:pt>
                <c:pt idx="394">
                  <c:v>45.696849665504004</c:v>
                </c:pt>
                <c:pt idx="395">
                  <c:v>46.0614627486014</c:v>
                </c:pt>
                <c:pt idx="396">
                  <c:v>45.377815353342896</c:v>
                </c:pt>
                <c:pt idx="397">
                  <c:v>45.717804438383794</c:v>
                </c:pt>
                <c:pt idx="398">
                  <c:v>1018.2034756944399</c:v>
                </c:pt>
                <c:pt idx="399">
                  <c:v>44.960441951761105</c:v>
                </c:pt>
                <c:pt idx="400">
                  <c:v>46.511299892234902</c:v>
                </c:pt>
                <c:pt idx="401">
                  <c:v>45.461693518881397</c:v>
                </c:pt>
                <c:pt idx="402">
                  <c:v>46.3556985775122</c:v>
                </c:pt>
                <c:pt idx="403">
                  <c:v>46.073559246155796</c:v>
                </c:pt>
                <c:pt idx="404">
                  <c:v>45.575764360570602</c:v>
                </c:pt>
                <c:pt idx="405">
                  <c:v>46.324092601074199</c:v>
                </c:pt>
                <c:pt idx="406">
                  <c:v>46.400149103734392</c:v>
                </c:pt>
                <c:pt idx="407">
                  <c:v>45.834511329010297</c:v>
                </c:pt>
                <c:pt idx="408">
                  <c:v>45.401542875087905</c:v>
                </c:pt>
                <c:pt idx="409">
                  <c:v>45.96312799495049</c:v>
                </c:pt>
                <c:pt idx="410">
                  <c:v>46.074013083481702</c:v>
                </c:pt>
                <c:pt idx="411">
                  <c:v>45.218491363081803</c:v>
                </c:pt>
                <c:pt idx="412">
                  <c:v>45.833104182050008</c:v>
                </c:pt>
                <c:pt idx="413">
                  <c:v>45.729564595651404</c:v>
                </c:pt>
                <c:pt idx="414">
                  <c:v>45.054382144240897</c:v>
                </c:pt>
                <c:pt idx="415">
                  <c:v>45.304669875785002</c:v>
                </c:pt>
                <c:pt idx="416">
                  <c:v>45.5114789434381</c:v>
                </c:pt>
                <c:pt idx="417">
                  <c:v>45.520804393431504</c:v>
                </c:pt>
                <c:pt idx="418">
                  <c:v>46.0830356487891</c:v>
                </c:pt>
                <c:pt idx="419">
                  <c:v>46.495301471618603</c:v>
                </c:pt>
                <c:pt idx="420">
                  <c:v>46.801795774594993</c:v>
                </c:pt>
                <c:pt idx="421">
                  <c:v>46.365924568993904</c:v>
                </c:pt>
                <c:pt idx="422">
                  <c:v>47.055911038953695</c:v>
                </c:pt>
                <c:pt idx="423">
                  <c:v>47.265860990477499</c:v>
                </c:pt>
                <c:pt idx="424">
                  <c:v>46.165161707814804</c:v>
                </c:pt>
                <c:pt idx="425">
                  <c:v>45.556864623550801</c:v>
                </c:pt>
                <c:pt idx="426">
                  <c:v>45.3381797991673</c:v>
                </c:pt>
                <c:pt idx="427">
                  <c:v>45.2362357829724</c:v>
                </c:pt>
                <c:pt idx="428">
                  <c:v>45.499282275075501</c:v>
                </c:pt>
                <c:pt idx="429">
                  <c:v>45.642792971164397</c:v>
                </c:pt>
                <c:pt idx="430">
                  <c:v>44.954943780618805</c:v>
                </c:pt>
                <c:pt idx="431">
                  <c:v>45.509383090093898</c:v>
                </c:pt>
                <c:pt idx="432">
                  <c:v>46.644971571896299</c:v>
                </c:pt>
                <c:pt idx="433">
                  <c:v>45.619993996804602</c:v>
                </c:pt>
                <c:pt idx="434">
                  <c:v>46.488778296514106</c:v>
                </c:pt>
                <c:pt idx="435">
                  <c:v>46.299993070882493</c:v>
                </c:pt>
                <c:pt idx="436">
                  <c:v>45.575032210740794</c:v>
                </c:pt>
                <c:pt idx="437">
                  <c:v>44.906301275264198</c:v>
                </c:pt>
                <c:pt idx="438" formatCode="0.0">
                  <c:v>45.353458648932097</c:v>
                </c:pt>
                <c:pt idx="439">
                  <c:v>45.439173533267606</c:v>
                </c:pt>
                <c:pt idx="440">
                  <c:v>0</c:v>
                </c:pt>
                <c:pt idx="441">
                  <c:v>0</c:v>
                </c:pt>
                <c:pt idx="442">
                  <c:v>0</c:v>
                </c:pt>
                <c:pt idx="443">
                  <c:v>46.247688985746798</c:v>
                </c:pt>
                <c:pt idx="444">
                  <c:v>45.033841871732193</c:v>
                </c:pt>
                <c:pt idx="445">
                  <c:v>45.564147789086604</c:v>
                </c:pt>
                <c:pt idx="446">
                  <c:v>45.5</c:v>
                </c:pt>
                <c:pt idx="447">
                  <c:v>45.547246816370695</c:v>
                </c:pt>
                <c:pt idx="448">
                  <c:v>44.857785240324695</c:v>
                </c:pt>
                <c:pt idx="449">
                  <c:v>45.085003448509802</c:v>
                </c:pt>
                <c:pt idx="450">
                  <c:v>45.826948451907299</c:v>
                </c:pt>
                <c:pt idx="451">
                  <c:v>45.940749300505502</c:v>
                </c:pt>
                <c:pt idx="452">
                  <c:v>44.639112154639506</c:v>
                </c:pt>
                <c:pt idx="453">
                  <c:v>44.460261420070907</c:v>
                </c:pt>
                <c:pt idx="454">
                  <c:v>44.192076251843801</c:v>
                </c:pt>
                <c:pt idx="455">
                  <c:v>44.840074475480598</c:v>
                </c:pt>
                <c:pt idx="456">
                  <c:v>44.938956888544688</c:v>
                </c:pt>
                <c:pt idx="457">
                  <c:v>45.425611788559699</c:v>
                </c:pt>
                <c:pt idx="458" formatCode="0.0">
                  <c:v>45.166037924126201</c:v>
                </c:pt>
                <c:pt idx="459" formatCode="0.0">
                  <c:v>44.785650702711699</c:v>
                </c:pt>
                <c:pt idx="460" formatCode="0.0">
                  <c:v>44.526636471323499</c:v>
                </c:pt>
                <c:pt idx="461" formatCode="0.0">
                  <c:v>44.956648592869399</c:v>
                </c:pt>
                <c:pt idx="462" formatCode="0.0">
                  <c:v>44.442657523241294</c:v>
                </c:pt>
                <c:pt idx="463" formatCode="0.0">
                  <c:v>44.936837838265404</c:v>
                </c:pt>
                <c:pt idx="464" formatCode="0.0">
                  <c:v>44.427463461172401</c:v>
                </c:pt>
                <c:pt idx="465" formatCode="0.0">
                  <c:v>45.672774415595796</c:v>
                </c:pt>
                <c:pt idx="466" formatCode="0.0">
                  <c:v>46.165501900826698</c:v>
                </c:pt>
                <c:pt idx="467" formatCode="0.0">
                  <c:v>46.078214294188498</c:v>
                </c:pt>
                <c:pt idx="468" formatCode="0.0">
                  <c:v>44.538405184908299</c:v>
                </c:pt>
                <c:pt idx="469" formatCode="0.0">
                  <c:v>46.454150503378806</c:v>
                </c:pt>
                <c:pt idx="470" formatCode="0.0">
                  <c:v>47.0187658561509</c:v>
                </c:pt>
                <c:pt idx="471" formatCode="0.0">
                  <c:v>46.717028141791495</c:v>
                </c:pt>
                <c:pt idx="472" formatCode="0.0">
                  <c:v>47.063548405395295</c:v>
                </c:pt>
                <c:pt idx="473" formatCode="0.0">
                  <c:v>46.959262321705296</c:v>
                </c:pt>
                <c:pt idx="474" formatCode="0.0">
                  <c:v>46.600862310215803</c:v>
                </c:pt>
                <c:pt idx="475" formatCode="0.0">
                  <c:v>46.653360180862705</c:v>
                </c:pt>
                <c:pt idx="476" formatCode="0.0">
                  <c:v>46.778720581347102</c:v>
                </c:pt>
                <c:pt idx="477" formatCode="0.0">
                  <c:v>46.878655998230499</c:v>
                </c:pt>
                <c:pt idx="478" formatCode="0.0">
                  <c:v>46.382487158793296</c:v>
                </c:pt>
                <c:pt idx="479" formatCode="0.0">
                  <c:v>45.739891039556596</c:v>
                </c:pt>
                <c:pt idx="480" formatCode="0.0">
                  <c:v>46.7371968341456</c:v>
                </c:pt>
                <c:pt idx="481" formatCode="0.0">
                  <c:v>45.640939843351504</c:v>
                </c:pt>
                <c:pt idx="482" formatCode="0.0">
                  <c:v>46.029848573154098</c:v>
                </c:pt>
                <c:pt idx="483" formatCode="0.0">
                  <c:v>46.064859477747497</c:v>
                </c:pt>
                <c:pt idx="484" formatCode="0.0">
                  <c:v>45.497731538937501</c:v>
                </c:pt>
                <c:pt idx="485" formatCode="0.0">
                  <c:v>45.91985526885</c:v>
                </c:pt>
                <c:pt idx="486" formatCode="0.0">
                  <c:v>44.678464807860593</c:v>
                </c:pt>
                <c:pt idx="487" formatCode="0.0">
                  <c:v>44.473240908381598</c:v>
                </c:pt>
                <c:pt idx="488" formatCode="0.0">
                  <c:v>45.480354259730397</c:v>
                </c:pt>
                <c:pt idx="489" formatCode="0.0">
                  <c:v>45.313039618875699</c:v>
                </c:pt>
                <c:pt idx="490" formatCode="0.0">
                  <c:v>45.751956981604998</c:v>
                </c:pt>
                <c:pt idx="491" formatCode="0.0">
                  <c:v>46.374280796500294</c:v>
                </c:pt>
                <c:pt idx="492" formatCode="0.0">
                  <c:v>46.084277382490001</c:v>
                </c:pt>
                <c:pt idx="493" formatCode="0.0">
                  <c:v>46.206412031089002</c:v>
                </c:pt>
                <c:pt idx="494" formatCode="0.0">
                  <c:v>45.104632745185604</c:v>
                </c:pt>
                <c:pt idx="495" formatCode="0.0">
                  <c:v>43.626255104918201</c:v>
                </c:pt>
                <c:pt idx="496" formatCode="0.0">
                  <c:v>43.377027232512503</c:v>
                </c:pt>
                <c:pt idx="497" formatCode="0.0">
                  <c:v>0</c:v>
                </c:pt>
                <c:pt idx="498" formatCode="0.0">
                  <c:v>0</c:v>
                </c:pt>
                <c:pt idx="499" formatCode="0.0">
                  <c:v>44.349995247251101</c:v>
                </c:pt>
                <c:pt idx="500" formatCode="0.0">
                  <c:v>44.526630239257599</c:v>
                </c:pt>
                <c:pt idx="501" formatCode="0.0">
                  <c:v>44.301413322696497</c:v>
                </c:pt>
                <c:pt idx="502" formatCode="0.0">
                  <c:v>44.106122770349401</c:v>
                </c:pt>
                <c:pt idx="503" formatCode="0.0">
                  <c:v>44.497311968566002</c:v>
                </c:pt>
                <c:pt idx="504" formatCode="0.0">
                  <c:v>44.614776007356902</c:v>
                </c:pt>
                <c:pt idx="505" formatCode="0.0">
                  <c:v>44.1768855823168</c:v>
                </c:pt>
                <c:pt idx="506" formatCode="0.0">
                  <c:v>43.780312437961157</c:v>
                </c:pt>
                <c:pt idx="507" formatCode="0.0">
                  <c:v>43.780376216970296</c:v>
                </c:pt>
                <c:pt idx="508" formatCode="0.0">
                  <c:v>43.7031295830121</c:v>
                </c:pt>
                <c:pt idx="509" formatCode="0.0">
                  <c:v>44.267154327801805</c:v>
                </c:pt>
                <c:pt idx="510" formatCode="0.0">
                  <c:v>44.328342317956896</c:v>
                </c:pt>
                <c:pt idx="511" formatCode="0.0">
                  <c:v>44.495806187585103</c:v>
                </c:pt>
                <c:pt idx="512" formatCode="0.0">
                  <c:v>45.315078756676101</c:v>
                </c:pt>
                <c:pt idx="513" formatCode="0.0">
                  <c:v>45.383577723575101</c:v>
                </c:pt>
                <c:pt idx="514" formatCode="0.0">
                  <c:v>45.839378291554894</c:v>
                </c:pt>
                <c:pt idx="515" formatCode="0.0">
                  <c:v>44.822841104792204</c:v>
                </c:pt>
                <c:pt idx="516" formatCode="0.0">
                  <c:v>44.3240420110548</c:v>
                </c:pt>
                <c:pt idx="517" formatCode="0.0">
                  <c:v>44.780158613116001</c:v>
                </c:pt>
                <c:pt idx="518" formatCode="0.0">
                  <c:v>44.832312496656101</c:v>
                </c:pt>
                <c:pt idx="519" formatCode="0.0">
                  <c:v>44.772081111819595</c:v>
                </c:pt>
                <c:pt idx="520" formatCode="0.0">
                  <c:v>44.7278294771193</c:v>
                </c:pt>
                <c:pt idx="521" formatCode="0.0">
                  <c:v>44.368200041169999</c:v>
                </c:pt>
                <c:pt idx="522" formatCode="0.0">
                  <c:v>44.332827529942904</c:v>
                </c:pt>
                <c:pt idx="523" formatCode="0.0">
                  <c:v>44.850487812057594</c:v>
                </c:pt>
                <c:pt idx="524" formatCode="0.0">
                  <c:v>45.485346027979105</c:v>
                </c:pt>
                <c:pt idx="525" formatCode="0.0">
                  <c:v>45.161786718878695</c:v>
                </c:pt>
                <c:pt idx="526" formatCode="0.0">
                  <c:v>46.773661386654702</c:v>
                </c:pt>
                <c:pt idx="527" formatCode="0.0">
                  <c:v>45.020957597348897</c:v>
                </c:pt>
                <c:pt idx="528" formatCode="0.0">
                  <c:v>43.014171455908105</c:v>
                </c:pt>
                <c:pt idx="529" formatCode="0.0">
                  <c:v>43.272371647059906</c:v>
                </c:pt>
                <c:pt idx="530" formatCode="0.0">
                  <c:v>44.931312954729698</c:v>
                </c:pt>
                <c:pt idx="531" formatCode="0.0">
                  <c:v>46</c:v>
                </c:pt>
                <c:pt idx="532" formatCode="0.0">
                  <c:v>46.575073931989095</c:v>
                </c:pt>
                <c:pt idx="533" formatCode="0.0">
                  <c:v>45.088110247653901</c:v>
                </c:pt>
                <c:pt idx="534" formatCode="0.0">
                  <c:v>44.0752681187574</c:v>
                </c:pt>
                <c:pt idx="535" formatCode="0.0">
                  <c:v>44.099874008988806</c:v>
                </c:pt>
                <c:pt idx="536" formatCode="0.0">
                  <c:v>44.729290614763102</c:v>
                </c:pt>
                <c:pt idx="537" formatCode="0.0">
                  <c:v>44.600243671404698</c:v>
                </c:pt>
                <c:pt idx="538" formatCode="0.0">
                  <c:v>44.695732787064799</c:v>
                </c:pt>
                <c:pt idx="539" formatCode="0.0">
                  <c:v>45.860212263990398</c:v>
                </c:pt>
                <c:pt idx="540" formatCode="0.0">
                  <c:v>46.580161230259506</c:v>
                </c:pt>
                <c:pt idx="541" formatCode="0.0">
                  <c:v>45.132180178691705</c:v>
                </c:pt>
                <c:pt idx="542" formatCode="0.0">
                  <c:v>45.689730196338502</c:v>
                </c:pt>
                <c:pt idx="543" formatCode="0.0">
                  <c:v>45.4866099772902</c:v>
                </c:pt>
                <c:pt idx="544" formatCode="0.0">
                  <c:v>45.321289573744295</c:v>
                </c:pt>
                <c:pt idx="545" formatCode="0.0">
                  <c:v>44.503202649079199</c:v>
                </c:pt>
                <c:pt idx="546" formatCode="0.0">
                  <c:v>44.352102975185595</c:v>
                </c:pt>
                <c:pt idx="547" formatCode="0.0">
                  <c:v>43.524493964388604</c:v>
                </c:pt>
                <c:pt idx="548" formatCode="0.0">
                  <c:v>44.332302756541807</c:v>
                </c:pt>
                <c:pt idx="549" formatCode="0.0">
                  <c:v>44.639675262959997</c:v>
                </c:pt>
                <c:pt idx="550" formatCode="0.0">
                  <c:v>44.081958474033399</c:v>
                </c:pt>
                <c:pt idx="551" formatCode="0.0">
                  <c:v>45.175392925408502</c:v>
                </c:pt>
                <c:pt idx="552" formatCode="0.0">
                  <c:v>45.072339931808102</c:v>
                </c:pt>
                <c:pt idx="553" formatCode="0.0">
                  <c:v>45.305573198272896</c:v>
                </c:pt>
                <c:pt idx="554" formatCode="0.0">
                  <c:v>46.226360651876803</c:v>
                </c:pt>
                <c:pt idx="555" formatCode="0.0">
                  <c:v>44.413209425287903</c:v>
                </c:pt>
                <c:pt idx="556" formatCode="0.0">
                  <c:v>45.180387499346104</c:v>
                </c:pt>
                <c:pt idx="557" formatCode="0.0">
                  <c:v>45.1057552642147</c:v>
                </c:pt>
                <c:pt idx="558" formatCode="0.0">
                  <c:v>44.5297277159166</c:v>
                </c:pt>
                <c:pt idx="559" formatCode="0.0">
                  <c:v>44.717555593150699</c:v>
                </c:pt>
                <c:pt idx="560" formatCode="0.0">
                  <c:v>46.047495479805704</c:v>
                </c:pt>
                <c:pt idx="561" formatCode="0.0">
                  <c:v>46.689123902856402</c:v>
                </c:pt>
                <c:pt idx="562" formatCode="0.0">
                  <c:v>44.879987124738314</c:v>
                </c:pt>
                <c:pt idx="563" formatCode="0.0">
                  <c:v>43.7178006859249</c:v>
                </c:pt>
                <c:pt idx="564" formatCode="0.0">
                  <c:v>43.864269029272101</c:v>
                </c:pt>
                <c:pt idx="565" formatCode="0.0">
                  <c:v>45.271096562995801</c:v>
                </c:pt>
                <c:pt idx="566" formatCode="0.0">
                  <c:v>44.632533450882306</c:v>
                </c:pt>
                <c:pt idx="567" formatCode="0.0">
                  <c:v>46.739170062003993</c:v>
                </c:pt>
                <c:pt idx="568" formatCode="0.0">
                  <c:v>47.387240676151393</c:v>
                </c:pt>
                <c:pt idx="569" formatCode="0.0">
                  <c:v>45.867637082767203</c:v>
                </c:pt>
                <c:pt idx="570" formatCode="0.0">
                  <c:v>45.904605457761392</c:v>
                </c:pt>
                <c:pt idx="571" formatCode="0.0">
                  <c:v>45.605783916750504</c:v>
                </c:pt>
                <c:pt idx="572" formatCode="0.0">
                  <c:v>46.130255525167598</c:v>
                </c:pt>
                <c:pt idx="573" formatCode="0.0">
                  <c:v>45.380175221736692</c:v>
                </c:pt>
                <c:pt idx="574" formatCode="0.0">
                  <c:v>46.280672034567999</c:v>
                </c:pt>
                <c:pt idx="575" formatCode="0.0">
                  <c:v>45.960628032925001</c:v>
                </c:pt>
                <c:pt idx="576" formatCode="0.0">
                  <c:v>45.681201666078493</c:v>
                </c:pt>
                <c:pt idx="577" formatCode="0.0">
                  <c:v>45.317520836841602</c:v>
                </c:pt>
                <c:pt idx="578" formatCode="0.0">
                  <c:v>43.588393370705496</c:v>
                </c:pt>
                <c:pt idx="579" formatCode="0.0">
                  <c:v>44.342100087775798</c:v>
                </c:pt>
                <c:pt idx="580" formatCode="0.0">
                  <c:v>44.805934611011502</c:v>
                </c:pt>
                <c:pt idx="581" formatCode="0.0">
                  <c:v>45.248472097333803</c:v>
                </c:pt>
                <c:pt idx="582" formatCode="0.0">
                  <c:v>44.794282073409406</c:v>
                </c:pt>
                <c:pt idx="583" formatCode="0.0">
                  <c:v>44.915687675631006</c:v>
                </c:pt>
                <c:pt idx="584" formatCode="0.0">
                  <c:v>44.303834988516897</c:v>
                </c:pt>
                <c:pt idx="585" formatCode="0.0">
                  <c:v>44.407931995633504</c:v>
                </c:pt>
                <c:pt idx="586" formatCode="0.0">
                  <c:v>43.800336732406706</c:v>
                </c:pt>
                <c:pt idx="587" formatCode="0.0">
                  <c:v>44.733604616113503</c:v>
                </c:pt>
                <c:pt idx="588" formatCode="0.0">
                  <c:v>44.739558659060101</c:v>
                </c:pt>
                <c:pt idx="589" formatCode="0.0">
                  <c:v>44.600614367811801</c:v>
                </c:pt>
                <c:pt idx="590" formatCode="0.0">
                  <c:v>44.931907533378904</c:v>
                </c:pt>
                <c:pt idx="591" formatCode="0.0">
                  <c:v>45.379162921741894</c:v>
                </c:pt>
                <c:pt idx="592" formatCode="0.0">
                  <c:v>44.892698868607503</c:v>
                </c:pt>
                <c:pt idx="593" formatCode="0.0">
                  <c:v>45.167397468874704</c:v>
                </c:pt>
                <c:pt idx="594" formatCode="0.0">
                  <c:v>44.887664161324501</c:v>
                </c:pt>
                <c:pt idx="595" formatCode="0.0">
                  <c:v>44.869248109682196</c:v>
                </c:pt>
                <c:pt idx="596" formatCode="0.0">
                  <c:v>45.566486771792</c:v>
                </c:pt>
                <c:pt idx="597" formatCode="0.0">
                  <c:v>45.899628792383098</c:v>
                </c:pt>
                <c:pt idx="598" formatCode="0.0">
                  <c:v>46.663086018052098</c:v>
                </c:pt>
                <c:pt idx="599" formatCode="0.0">
                  <c:v>47.036693556280596</c:v>
                </c:pt>
                <c:pt idx="600" formatCode="0.0">
                  <c:v>46.266960614689594</c:v>
                </c:pt>
                <c:pt idx="601" formatCode="0.0">
                  <c:v>45.872746407235205</c:v>
                </c:pt>
                <c:pt idx="602" formatCode="0.0">
                  <c:v>44.728758926459406</c:v>
                </c:pt>
                <c:pt idx="603" formatCode="0.0">
                  <c:v>45.4593279602812</c:v>
                </c:pt>
                <c:pt idx="604" formatCode="0.0">
                  <c:v>44.995619159880604</c:v>
                </c:pt>
                <c:pt idx="605" formatCode="0.0">
                  <c:v>45.475845731464304</c:v>
                </c:pt>
                <c:pt idx="606" formatCode="0.0">
                  <c:v>45.017196186225299</c:v>
                </c:pt>
                <c:pt idx="607" formatCode="0.0">
                  <c:v>44.325204310742905</c:v>
                </c:pt>
                <c:pt idx="608" formatCode="0.0">
                  <c:v>45.106280966549399</c:v>
                </c:pt>
                <c:pt idx="609" formatCode="0.0">
                  <c:v>44.8330893901284</c:v>
                </c:pt>
                <c:pt idx="610" formatCode="0.0">
                  <c:v>44.5441103354257</c:v>
                </c:pt>
                <c:pt idx="611" formatCode="0.0">
                  <c:v>46.254847396102605</c:v>
                </c:pt>
                <c:pt idx="612" formatCode="0.0">
                  <c:v>46.468759228918898</c:v>
                </c:pt>
                <c:pt idx="613" formatCode="0.0">
                  <c:v>46.090686043602496</c:v>
                </c:pt>
                <c:pt idx="614" formatCode="0.0">
                  <c:v>46.430590086533996</c:v>
                </c:pt>
                <c:pt idx="615" formatCode="0.0">
                  <c:v>46.403657386281402</c:v>
                </c:pt>
                <c:pt idx="616" formatCode="0.0">
                  <c:v>46.259258358679205</c:v>
                </c:pt>
                <c:pt idx="617" formatCode="0.0">
                  <c:v>46.214767350276496</c:v>
                </c:pt>
                <c:pt idx="618" formatCode="0.0">
                  <c:v>46.529501105328904</c:v>
                </c:pt>
                <c:pt idx="619" formatCode="0.0">
                  <c:v>45.123027396674502</c:v>
                </c:pt>
                <c:pt idx="620" formatCode="0.0">
                  <c:v>45.246048429659204</c:v>
                </c:pt>
                <c:pt idx="621" formatCode="0.0">
                  <c:v>45.196929761312703</c:v>
                </c:pt>
                <c:pt idx="622" formatCode="0.0">
                  <c:v>45.653189327459501</c:v>
                </c:pt>
                <c:pt idx="623" formatCode="0.0">
                  <c:v>45.179056985657596</c:v>
                </c:pt>
                <c:pt idx="624" formatCode="0.0">
                  <c:v>45.549390207048397</c:v>
                </c:pt>
                <c:pt idx="625" formatCode="0.0">
                  <c:v>45.438711135210603</c:v>
                </c:pt>
                <c:pt idx="626" formatCode="0.0">
                  <c:v>45.3655985278236</c:v>
                </c:pt>
                <c:pt idx="627" formatCode="0.0">
                  <c:v>45.689068666267104</c:v>
                </c:pt>
                <c:pt idx="628" formatCode="0.0">
                  <c:v>45.308642647832301</c:v>
                </c:pt>
                <c:pt idx="629" formatCode="0.0">
                  <c:v>45.981602065420802</c:v>
                </c:pt>
                <c:pt idx="630" formatCode="0.0">
                  <c:v>45.762978068721992</c:v>
                </c:pt>
                <c:pt idx="631" formatCode="0.0">
                  <c:v>44.306567630720799</c:v>
                </c:pt>
                <c:pt idx="632" formatCode="0.0">
                  <c:v>44.165694199379701</c:v>
                </c:pt>
                <c:pt idx="633" formatCode="0.0">
                  <c:v>44.334633826997198</c:v>
                </c:pt>
                <c:pt idx="634" formatCode="0.0">
                  <c:v>45.103527874250403</c:v>
                </c:pt>
                <c:pt idx="635" formatCode="0.0">
                  <c:v>45.689920599715407</c:v>
                </c:pt>
                <c:pt idx="636" formatCode="0.0">
                  <c:v>45.410040876103601</c:v>
                </c:pt>
                <c:pt idx="637" formatCode="0.0">
                  <c:v>45.674414438119697</c:v>
                </c:pt>
                <c:pt idx="638" formatCode="0.0">
                  <c:v>45.969041636864205</c:v>
                </c:pt>
                <c:pt idx="639" formatCode="0.0">
                  <c:v>45.577148758350397</c:v>
                </c:pt>
                <c:pt idx="640" formatCode="0.0">
                  <c:v>45.670703480825203</c:v>
                </c:pt>
                <c:pt idx="641" formatCode="0.0">
                  <c:v>43.941353733572797</c:v>
                </c:pt>
                <c:pt idx="642" formatCode="0.0">
                  <c:v>0</c:v>
                </c:pt>
                <c:pt idx="643" formatCode="0.0">
                  <c:v>43.608475632798196</c:v>
                </c:pt>
                <c:pt idx="644" formatCode="0.0">
                  <c:v>45.702997618641703</c:v>
                </c:pt>
                <c:pt idx="645" formatCode="0.0">
                  <c:v>46.040196868803406</c:v>
                </c:pt>
                <c:pt idx="646" formatCode="0.0">
                  <c:v>44.623573253146596</c:v>
                </c:pt>
                <c:pt idx="647" formatCode="0.0">
                  <c:v>44.845854223376698</c:v>
                </c:pt>
                <c:pt idx="648" formatCode="0.0">
                  <c:v>45.093207133277602</c:v>
                </c:pt>
                <c:pt idx="649" formatCode="0.0">
                  <c:v>44.7778505053654</c:v>
                </c:pt>
                <c:pt idx="650" formatCode="0.0">
                  <c:v>43.811131472348805</c:v>
                </c:pt>
                <c:pt idx="651" formatCode="0.0">
                  <c:v>45.281391842543997</c:v>
                </c:pt>
                <c:pt idx="652" formatCode="0.0">
                  <c:v>45.353585789818908</c:v>
                </c:pt>
                <c:pt idx="653" formatCode="0.0">
                  <c:v>45.545575044018406</c:v>
                </c:pt>
                <c:pt idx="654" formatCode="0.0">
                  <c:v>45.4434615560629</c:v>
                </c:pt>
                <c:pt idx="655" formatCode="0.0">
                  <c:v>45.750766935992402</c:v>
                </c:pt>
                <c:pt idx="656" formatCode="0.0">
                  <c:v>46.0891774960253</c:v>
                </c:pt>
                <c:pt idx="657" formatCode="0.0">
                  <c:v>45.738639770934398</c:v>
                </c:pt>
                <c:pt idx="658" formatCode="0.0">
                  <c:v>45.935132657947904</c:v>
                </c:pt>
                <c:pt idx="659" formatCode="0.0">
                  <c:v>45.798099899464901</c:v>
                </c:pt>
                <c:pt idx="660" formatCode="0.0">
                  <c:v>45.823396179262403</c:v>
                </c:pt>
                <c:pt idx="661" formatCode="0.0">
                  <c:v>46.184296095631694</c:v>
                </c:pt>
                <c:pt idx="662" formatCode="0.0">
                  <c:v>45.497876032689405</c:v>
                </c:pt>
                <c:pt idx="663" formatCode="0.0">
                  <c:v>46.641949826918804</c:v>
                </c:pt>
                <c:pt idx="664" formatCode="0.0">
                  <c:v>46.220850767514193</c:v>
                </c:pt>
                <c:pt idx="665" formatCode="0.0">
                  <c:v>45.793351625977898</c:v>
                </c:pt>
                <c:pt idx="666" formatCode="0.0">
                  <c:v>46.551155954388705</c:v>
                </c:pt>
                <c:pt idx="667" formatCode="0.0">
                  <c:v>45.038595212694297</c:v>
                </c:pt>
                <c:pt idx="668" formatCode="0.0">
                  <c:v>45.929391156616603</c:v>
                </c:pt>
                <c:pt idx="669" formatCode="0.0">
                  <c:v>46.202300238499802</c:v>
                </c:pt>
                <c:pt idx="670" formatCode="0.0">
                  <c:v>46.354476734208404</c:v>
                </c:pt>
                <c:pt idx="671" formatCode="0.0">
                  <c:v>45.880586283481094</c:v>
                </c:pt>
                <c:pt idx="672" formatCode="0.0">
                  <c:v>44.7611679841133</c:v>
                </c:pt>
                <c:pt idx="673" formatCode="0.0">
                  <c:v>45.3718825092622</c:v>
                </c:pt>
                <c:pt idx="674" formatCode="0.0">
                  <c:v>45.3655787765139</c:v>
                </c:pt>
                <c:pt idx="675" formatCode="0.0">
                  <c:v>44.655255788425102</c:v>
                </c:pt>
                <c:pt idx="676" formatCode="0.0">
                  <c:v>44.603776282393397</c:v>
                </c:pt>
                <c:pt idx="677" formatCode="0.0">
                  <c:v>44.826425188955596</c:v>
                </c:pt>
                <c:pt idx="678" formatCode="0.0">
                  <c:v>45.003650443638904</c:v>
                </c:pt>
                <c:pt idx="679" formatCode="0.0">
                  <c:v>44.129176968701699</c:v>
                </c:pt>
                <c:pt idx="680" formatCode="0.0">
                  <c:v>45.308975812807901</c:v>
                </c:pt>
                <c:pt idx="681" formatCode="0.0">
                  <c:v>45.485051317921901</c:v>
                </c:pt>
                <c:pt idx="682" formatCode="0.0">
                  <c:v>44.702193146055002</c:v>
                </c:pt>
                <c:pt idx="683" formatCode="0.0">
                  <c:v>45.142570740954106</c:v>
                </c:pt>
                <c:pt idx="684" formatCode="0.0">
                  <c:v>45.379346844018798</c:v>
                </c:pt>
                <c:pt idx="685" formatCode="0.0">
                  <c:v>44.373226846364098</c:v>
                </c:pt>
                <c:pt idx="686" formatCode="0.0">
                  <c:v>44.742505785564603</c:v>
                </c:pt>
                <c:pt idx="687" formatCode="0.0">
                  <c:v>44.292034074716504</c:v>
                </c:pt>
                <c:pt idx="688" formatCode="0.0">
                  <c:v>44.582496055540901</c:v>
                </c:pt>
                <c:pt idx="689" formatCode="0.0">
                  <c:v>45.725794416808505</c:v>
                </c:pt>
                <c:pt idx="690" formatCode="0.0">
                  <c:v>45.290206668117499</c:v>
                </c:pt>
                <c:pt idx="691" formatCode="0.0">
                  <c:v>45.100876343388599</c:v>
                </c:pt>
                <c:pt idx="692" formatCode="0.0">
                  <c:v>45.353583784790395</c:v>
                </c:pt>
                <c:pt idx="693" formatCode="0.0">
                  <c:v>45.315281636028502</c:v>
                </c:pt>
                <c:pt idx="694" formatCode="0.0">
                  <c:v>45.801918900493803</c:v>
                </c:pt>
                <c:pt idx="695" formatCode="0.0">
                  <c:v>45.464548815915897</c:v>
                </c:pt>
                <c:pt idx="696" formatCode="0.0">
                  <c:v>45.582594398911596</c:v>
                </c:pt>
                <c:pt idx="697" formatCode="0.0">
                  <c:v>45.479079879745399</c:v>
                </c:pt>
                <c:pt idx="698" formatCode="0.0">
                  <c:v>46.008236828999898</c:v>
                </c:pt>
                <c:pt idx="699" formatCode="0.0">
                  <c:v>46.1375299302074</c:v>
                </c:pt>
                <c:pt idx="700" formatCode="0.0">
                  <c:v>46.402162065530902</c:v>
                </c:pt>
                <c:pt idx="701" formatCode="0.0">
                  <c:v>45.33019097247</c:v>
                </c:pt>
                <c:pt idx="702" formatCode="0.0">
                  <c:v>45.404899869770794</c:v>
                </c:pt>
                <c:pt idx="703" formatCode="0.0">
                  <c:v>45.699610604922604</c:v>
                </c:pt>
                <c:pt idx="704" formatCode="0.0">
                  <c:v>46.150512612512102</c:v>
                </c:pt>
                <c:pt idx="705" formatCode="0.0">
                  <c:v>45.695505570172699</c:v>
                </c:pt>
                <c:pt idx="706" formatCode="0.0">
                  <c:v>45.078218859101398</c:v>
                </c:pt>
                <c:pt idx="707" formatCode="0.0">
                  <c:v>44.791690051189399</c:v>
                </c:pt>
                <c:pt idx="708" formatCode="0.0">
                  <c:v>44.080397382133789</c:v>
                </c:pt>
                <c:pt idx="709" formatCode="0.0">
                  <c:v>44.480544424388597</c:v>
                </c:pt>
                <c:pt idx="710" formatCode="0.0">
                  <c:v>45.138621137519607</c:v>
                </c:pt>
                <c:pt idx="711" formatCode="0.0">
                  <c:v>44.431909968891397</c:v>
                </c:pt>
                <c:pt idx="712" formatCode="0.0">
                  <c:v>43.805572578012004</c:v>
                </c:pt>
                <c:pt idx="713" formatCode="0.0">
                  <c:v>44.687529413382599</c:v>
                </c:pt>
                <c:pt idx="714" formatCode="0.0">
                  <c:v>44.688513828195099</c:v>
                </c:pt>
                <c:pt idx="715" formatCode="0.0">
                  <c:v>44.496734494361299</c:v>
                </c:pt>
                <c:pt idx="716" formatCode="0.0">
                  <c:v>44.041650168483002</c:v>
                </c:pt>
                <c:pt idx="717" formatCode="0.0">
                  <c:v>44.034798950719704</c:v>
                </c:pt>
                <c:pt idx="718" formatCode="0.0">
                  <c:v>44.218499078355606</c:v>
                </c:pt>
                <c:pt idx="719" formatCode="0.0">
                  <c:v>44.569439644232205</c:v>
                </c:pt>
                <c:pt idx="720" formatCode="0.0">
                  <c:v>45.496355837970199</c:v>
                </c:pt>
                <c:pt idx="721" formatCode="0.0">
                  <c:v>46.094891067333101</c:v>
                </c:pt>
                <c:pt idx="722" formatCode="0.0">
                  <c:v>44.591626227561001</c:v>
                </c:pt>
                <c:pt idx="723" formatCode="0.0">
                  <c:v>45.956781755358698</c:v>
                </c:pt>
                <c:pt idx="724" formatCode="0.0">
                  <c:v>43.918143539288302</c:v>
                </c:pt>
                <c:pt idx="725" formatCode="0.0">
                  <c:v>41.088027979824496</c:v>
                </c:pt>
                <c:pt idx="726" formatCode="General">
                  <c:v>44.465596882350702</c:v>
                </c:pt>
                <c:pt idx="727" formatCode="General">
                  <c:v>45.271258365811001</c:v>
                </c:pt>
                <c:pt idx="728" formatCode="General">
                  <c:v>44.734354910957599</c:v>
                </c:pt>
                <c:pt idx="729" formatCode="General">
                  <c:v>43.562973946795296</c:v>
                </c:pt>
                <c:pt idx="730">
                  <c:v>44.533855043473096</c:v>
                </c:pt>
                <c:pt idx="731">
                  <c:v>44.830281227744621</c:v>
                </c:pt>
                <c:pt idx="732">
                  <c:v>44.696334697704998</c:v>
                </c:pt>
                <c:pt idx="733">
                  <c:v>44.780260320847546</c:v>
                </c:pt>
                <c:pt idx="734">
                  <c:v>45.23918321441257</c:v>
                </c:pt>
                <c:pt idx="735">
                  <c:v>44.674370210938086</c:v>
                </c:pt>
                <c:pt idx="736">
                  <c:v>45.974094557092322</c:v>
                </c:pt>
                <c:pt idx="737">
                  <c:v>45.57295361302959</c:v>
                </c:pt>
                <c:pt idx="738">
                  <c:v>46.089568911323731</c:v>
                </c:pt>
                <c:pt idx="739">
                  <c:v>45.781379254188437</c:v>
                </c:pt>
                <c:pt idx="740">
                  <c:v>45.354644357774163</c:v>
                </c:pt>
                <c:pt idx="741">
                  <c:v>44.961236742079329</c:v>
                </c:pt>
                <c:pt idx="742">
                  <c:v>45.697606204014001</c:v>
                </c:pt>
                <c:pt idx="743">
                  <c:v>44.386097952327376</c:v>
                </c:pt>
                <c:pt idx="744">
                  <c:v>44.067327009277911</c:v>
                </c:pt>
                <c:pt idx="745">
                  <c:v>43.759243448030261</c:v>
                </c:pt>
                <c:pt idx="746">
                  <c:v>44.279019762488041</c:v>
                </c:pt>
                <c:pt idx="747">
                  <c:v>44.132327082417994</c:v>
                </c:pt>
                <c:pt idx="748">
                  <c:v>44.692019493827132</c:v>
                </c:pt>
                <c:pt idx="749">
                  <c:v>43.898087301140293</c:v>
                </c:pt>
                <c:pt idx="750">
                  <c:v>43.626064568402576</c:v>
                </c:pt>
                <c:pt idx="751">
                  <c:v>44.247016631098283</c:v>
                </c:pt>
                <c:pt idx="752">
                  <c:v>45.770331037960197</c:v>
                </c:pt>
                <c:pt idx="753">
                  <c:v>44.996503386255455</c:v>
                </c:pt>
                <c:pt idx="754">
                  <c:v>45.220261463508074</c:v>
                </c:pt>
                <c:pt idx="755">
                  <c:v>45.989133814572867</c:v>
                </c:pt>
                <c:pt idx="756">
                  <c:v>43.734074606633023</c:v>
                </c:pt>
                <c:pt idx="757">
                  <c:v>45.082053373460568</c:v>
                </c:pt>
                <c:pt idx="758">
                  <c:v>46.861459935715757</c:v>
                </c:pt>
                <c:pt idx="759">
                  <c:v>45.783818057102543</c:v>
                </c:pt>
                <c:pt idx="760">
                  <c:v>46.958116542993046</c:v>
                </c:pt>
                <c:pt idx="761">
                  <c:v>46.324937922543484</c:v>
                </c:pt>
                <c:pt idx="762">
                  <c:v>45.453223240299437</c:v>
                </c:pt>
                <c:pt idx="763">
                  <c:v>44.030988701432669</c:v>
                </c:pt>
                <c:pt idx="764">
                  <c:v>45.126579192499619</c:v>
                </c:pt>
                <c:pt idx="765">
                  <c:v>45.498969613996458</c:v>
                </c:pt>
                <c:pt idx="766">
                  <c:v>44.877898825648231</c:v>
                </c:pt>
                <c:pt idx="767">
                  <c:v>44.298960399475561</c:v>
                </c:pt>
                <c:pt idx="768">
                  <c:v>44.106087515281224</c:v>
                </c:pt>
                <c:pt idx="769">
                  <c:v>45.265528368879274</c:v>
                </c:pt>
                <c:pt idx="770">
                  <c:v>44.015974951664617</c:v>
                </c:pt>
                <c:pt idx="771">
                  <c:v>44.939950966712061</c:v>
                </c:pt>
                <c:pt idx="772">
                  <c:v>45.251310895388514</c:v>
                </c:pt>
                <c:pt idx="773">
                  <c:v>45.026383163041004</c:v>
                </c:pt>
                <c:pt idx="774">
                  <c:v>45.166271682047416</c:v>
                </c:pt>
                <c:pt idx="775">
                  <c:v>44.97382459501403</c:v>
                </c:pt>
                <c:pt idx="776">
                  <c:v>45.469087337733257</c:v>
                </c:pt>
                <c:pt idx="777">
                  <c:v>46.361142836733663</c:v>
                </c:pt>
                <c:pt idx="778">
                  <c:v>44.089010173745081</c:v>
                </c:pt>
                <c:pt idx="779">
                  <c:v>43.827671597501123</c:v>
                </c:pt>
                <c:pt idx="780">
                  <c:v>44.182629941549678</c:v>
                </c:pt>
                <c:pt idx="781">
                  <c:v>44.226677849472509</c:v>
                </c:pt>
                <c:pt idx="782">
                  <c:v>45.052618586870764</c:v>
                </c:pt>
                <c:pt idx="783">
                  <c:v>45.512073468744205</c:v>
                </c:pt>
                <c:pt idx="784">
                  <c:v>45.606674788021628</c:v>
                </c:pt>
                <c:pt idx="785">
                  <c:v>44.017829382923438</c:v>
                </c:pt>
                <c:pt idx="786">
                  <c:v>45.467524283396294</c:v>
                </c:pt>
                <c:pt idx="787">
                  <c:v>45.504496006560245</c:v>
                </c:pt>
                <c:pt idx="788">
                  <c:v>45.118479022479924</c:v>
                </c:pt>
                <c:pt idx="789">
                  <c:v>44.937155398600133</c:v>
                </c:pt>
                <c:pt idx="790">
                  <c:v>44.866136214033965</c:v>
                </c:pt>
                <c:pt idx="791">
                  <c:v>44.378288337490879</c:v>
                </c:pt>
                <c:pt idx="792">
                  <c:v>44.407470342544819</c:v>
                </c:pt>
                <c:pt idx="793">
                  <c:v>45.481084656772879</c:v>
                </c:pt>
                <c:pt idx="794">
                  <c:v>45.489739164273409</c:v>
                </c:pt>
                <c:pt idx="795">
                  <c:v>45.625992069199548</c:v>
                </c:pt>
                <c:pt idx="796">
                  <c:v>45.213710996318007</c:v>
                </c:pt>
                <c:pt idx="797">
                  <c:v>44.581783417085454</c:v>
                </c:pt>
                <c:pt idx="798">
                  <c:v>44.935970764198629</c:v>
                </c:pt>
                <c:pt idx="799">
                  <c:v>45.29329989083589</c:v>
                </c:pt>
                <c:pt idx="800">
                  <c:v>45.433292450221728</c:v>
                </c:pt>
                <c:pt idx="801">
                  <c:v>45.313975832861772</c:v>
                </c:pt>
                <c:pt idx="802">
                  <c:v>45.292951244042008</c:v>
                </c:pt>
                <c:pt idx="803">
                  <c:v>43.876736045386821</c:v>
                </c:pt>
                <c:pt idx="804">
                  <c:v>44.871767285759184</c:v>
                </c:pt>
                <c:pt idx="805">
                  <c:v>45.184775512511862</c:v>
                </c:pt>
                <c:pt idx="806">
                  <c:v>45.619630131101246</c:v>
                </c:pt>
                <c:pt idx="807">
                  <c:v>46.370913247460813</c:v>
                </c:pt>
                <c:pt idx="808">
                  <c:v>46.17829553853484</c:v>
                </c:pt>
                <c:pt idx="809">
                  <c:v>44.480519932431839</c:v>
                </c:pt>
                <c:pt idx="810">
                  <c:v>43.938661251271405</c:v>
                </c:pt>
                <c:pt idx="811">
                  <c:v>45.009319794202966</c:v>
                </c:pt>
                <c:pt idx="812">
                  <c:v>45.157595906999219</c:v>
                </c:pt>
                <c:pt idx="813">
                  <c:v>44.854670655832038</c:v>
                </c:pt>
                <c:pt idx="814">
                  <c:v>45.116239363557469</c:v>
                </c:pt>
                <c:pt idx="815">
                  <c:v>45.482040875647428</c:v>
                </c:pt>
                <c:pt idx="816">
                  <c:v>45.256446885051318</c:v>
                </c:pt>
                <c:pt idx="817">
                  <c:v>45.618973497277352</c:v>
                </c:pt>
                <c:pt idx="818">
                  <c:v>45.847520765423546</c:v>
                </c:pt>
                <c:pt idx="819">
                  <c:v>45.556164323252126</c:v>
                </c:pt>
                <c:pt idx="820">
                  <c:v>45.496228157597912</c:v>
                </c:pt>
                <c:pt idx="821">
                  <c:v>46.061839983540679</c:v>
                </c:pt>
                <c:pt idx="822">
                  <c:v>45.914229940899077</c:v>
                </c:pt>
                <c:pt idx="823">
                  <c:v>45.825385332633175</c:v>
                </c:pt>
                <c:pt idx="824" formatCode="0.0">
                  <c:v>45.323554625151026</c:v>
                </c:pt>
                <c:pt idx="825" formatCode="0.0">
                  <c:v>45.081750949513989</c:v>
                </c:pt>
                <c:pt idx="826" formatCode="0.0">
                  <c:v>45.767380172480465</c:v>
                </c:pt>
                <c:pt idx="827" formatCode="0.0">
                  <c:v>46.249569882718077</c:v>
                </c:pt>
                <c:pt idx="828" formatCode="0.0">
                  <c:v>45.590284126935202</c:v>
                </c:pt>
                <c:pt idx="829" formatCode="0.0">
                  <c:v>46.257788360549974</c:v>
                </c:pt>
                <c:pt idx="830" formatCode="0.0">
                  <c:v>45.699571554233515</c:v>
                </c:pt>
                <c:pt idx="831" formatCode="0.0">
                  <c:v>45.865208571968459</c:v>
                </c:pt>
                <c:pt idx="832" formatCode="0.0">
                  <c:v>46.317512245223767</c:v>
                </c:pt>
                <c:pt idx="833" formatCode="0.0">
                  <c:v>44.780300989146767</c:v>
                </c:pt>
                <c:pt idx="834" formatCode="0.0">
                  <c:v>43.975972537082804</c:v>
                </c:pt>
                <c:pt idx="835" formatCode="0.0">
                  <c:v>44.073726552443858</c:v>
                </c:pt>
                <c:pt idx="836" formatCode="0.0">
                  <c:v>43.415845529924688</c:v>
                </c:pt>
                <c:pt idx="837" formatCode="0.0">
                  <c:v>44.170511471014272</c:v>
                </c:pt>
                <c:pt idx="838" formatCode="0.0">
                  <c:v>44.446159013331517</c:v>
                </c:pt>
                <c:pt idx="839" formatCode="0.0">
                  <c:v>44.312307334062638</c:v>
                </c:pt>
                <c:pt idx="840" formatCode="0.0">
                  <c:v>45.571223516141742</c:v>
                </c:pt>
                <c:pt idx="841" formatCode="0.0">
                  <c:v>46.259640160552131</c:v>
                </c:pt>
                <c:pt idx="842" formatCode="0.0">
                  <c:v>46.427487576192078</c:v>
                </c:pt>
                <c:pt idx="843" formatCode="0.0">
                  <c:v>45.046104343017284</c:v>
                </c:pt>
                <c:pt idx="844" formatCode="0.0">
                  <c:v>43.825543684985206</c:v>
                </c:pt>
                <c:pt idx="845" formatCode="0.0">
                  <c:v>44.921502466240526</c:v>
                </c:pt>
                <c:pt idx="846" formatCode="0.0">
                  <c:v>44.706357348443085</c:v>
                </c:pt>
                <c:pt idx="847" formatCode="0.0">
                  <c:v>44.159734592298705</c:v>
                </c:pt>
                <c:pt idx="848" formatCode="0.0">
                  <c:v>44.560160328721039</c:v>
                </c:pt>
                <c:pt idx="849" formatCode="0.0">
                  <c:v>44.27993444768444</c:v>
                </c:pt>
                <c:pt idx="850" formatCode="0.0">
                  <c:v>43.468530007349806</c:v>
                </c:pt>
                <c:pt idx="851" formatCode="0.0">
                  <c:v>45.700119831918869</c:v>
                </c:pt>
                <c:pt idx="852" formatCode="0.0">
                  <c:v>45.606849859795979</c:v>
                </c:pt>
                <c:pt idx="853" formatCode="0.0">
                  <c:v>46.062387109256079</c:v>
                </c:pt>
                <c:pt idx="854" formatCode="0.0">
                  <c:v>44.626897792544753</c:v>
                </c:pt>
                <c:pt idx="855" formatCode="0.0">
                  <c:v>45.139089493657721</c:v>
                </c:pt>
                <c:pt idx="856" formatCode="0.0">
                  <c:v>45.125529573175243</c:v>
                </c:pt>
                <c:pt idx="857" formatCode="0.0">
                  <c:v>43.796358899315521</c:v>
                </c:pt>
                <c:pt idx="858" formatCode="0.0">
                  <c:v>43.770799609633031</c:v>
                </c:pt>
                <c:pt idx="859" formatCode="0.0">
                  <c:v>44.013487317005925</c:v>
                </c:pt>
                <c:pt idx="860" formatCode="0.0">
                  <c:v>43.285923916341901</c:v>
                </c:pt>
                <c:pt idx="861" formatCode="0.0">
                  <c:v>42.497952726506476</c:v>
                </c:pt>
                <c:pt idx="862" formatCode="0.0">
                  <c:v>44.299457077656548</c:v>
                </c:pt>
                <c:pt idx="863" formatCode="0.0">
                  <c:v>45.70786498858142</c:v>
                </c:pt>
                <c:pt idx="864" formatCode="0.0">
                  <c:v>45.699352461654222</c:v>
                </c:pt>
                <c:pt idx="865" formatCode="0.0">
                  <c:v>44.426591506144305</c:v>
                </c:pt>
                <c:pt idx="866" formatCode="0.0">
                  <c:v>45.72198123709812</c:v>
                </c:pt>
                <c:pt idx="867" formatCode="0.0">
                  <c:v>46.489322042772436</c:v>
                </c:pt>
                <c:pt idx="868" formatCode="0.0">
                  <c:v>46.829790966652652</c:v>
                </c:pt>
                <c:pt idx="869" formatCode="0.0">
                  <c:v>46.424173303548429</c:v>
                </c:pt>
                <c:pt idx="870" formatCode="0.0">
                  <c:v>46.176960802927482</c:v>
                </c:pt>
                <c:pt idx="871" formatCode="0.0">
                  <c:v>46.146571773252205</c:v>
                </c:pt>
                <c:pt idx="872" formatCode="0.0">
                  <c:v>46.831356211008355</c:v>
                </c:pt>
                <c:pt idx="873" formatCode="0.0">
                  <c:v>46.352399603527473</c:v>
                </c:pt>
                <c:pt idx="874" formatCode="0.0">
                  <c:v>46.683449037948755</c:v>
                </c:pt>
                <c:pt idx="875" formatCode="0.0">
                  <c:v>46.906862419802906</c:v>
                </c:pt>
                <c:pt idx="876" formatCode="0.0">
                  <c:v>46.537827710621194</c:v>
                </c:pt>
                <c:pt idx="877" formatCode="0.0">
                  <c:v>46.883755937542553</c:v>
                </c:pt>
                <c:pt idx="878" formatCode="0.0">
                  <c:v>46.983863663572777</c:v>
                </c:pt>
                <c:pt idx="879" formatCode="0.0">
                  <c:v>46.493905883277975</c:v>
                </c:pt>
                <c:pt idx="880" formatCode="0.0">
                  <c:v>45.484238515332656</c:v>
                </c:pt>
                <c:pt idx="881" formatCode="0.0">
                  <c:v>45.464600041246769</c:v>
                </c:pt>
                <c:pt idx="882" formatCode="0.0">
                  <c:v>46.299918573978324</c:v>
                </c:pt>
                <c:pt idx="883" formatCode="0.0">
                  <c:v>45.922546732790408</c:v>
                </c:pt>
                <c:pt idx="884" formatCode="0.0">
                  <c:v>45.836003070880729</c:v>
                </c:pt>
                <c:pt idx="885" formatCode="0.0">
                  <c:v>46.000192992322653</c:v>
                </c:pt>
                <c:pt idx="886" formatCode="0.0">
                  <c:v>46.184759918370197</c:v>
                </c:pt>
                <c:pt idx="887" formatCode="0.0">
                  <c:v>46.245350657527439</c:v>
                </c:pt>
                <c:pt idx="888" formatCode="0.0">
                  <c:v>46.230860623086343</c:v>
                </c:pt>
                <c:pt idx="889" formatCode="0.0">
                  <c:v>45.411458329342196</c:v>
                </c:pt>
                <c:pt idx="890" formatCode="0.0">
                  <c:v>45.411458329342196</c:v>
                </c:pt>
                <c:pt idx="891" formatCode="0.0">
                  <c:v>46.473693383663132</c:v>
                </c:pt>
                <c:pt idx="892" formatCode="0.0">
                  <c:v>45.204984120011588</c:v>
                </c:pt>
                <c:pt idx="893" formatCode="0.0">
                  <c:v>46.300406312753537</c:v>
                </c:pt>
                <c:pt idx="894" formatCode="0.0">
                  <c:v>45.818588309409577</c:v>
                </c:pt>
                <c:pt idx="895" formatCode="0.0">
                  <c:v>45.865432151622485</c:v>
                </c:pt>
                <c:pt idx="896" formatCode="0.0">
                  <c:v>46.427870263959804</c:v>
                </c:pt>
                <c:pt idx="897" formatCode="0.0">
                  <c:v>45.708032331625638</c:v>
                </c:pt>
                <c:pt idx="898" formatCode="0.0">
                  <c:v>45.799325212320454</c:v>
                </c:pt>
                <c:pt idx="899" formatCode="0.0">
                  <c:v>44.837134237411014</c:v>
                </c:pt>
                <c:pt idx="900" formatCode="0.0">
                  <c:v>44.255259211572316</c:v>
                </c:pt>
                <c:pt idx="901" formatCode="0.0">
                  <c:v>45.113734369726259</c:v>
                </c:pt>
                <c:pt idx="902" formatCode="0.0">
                  <c:v>45.465561650845878</c:v>
                </c:pt>
                <c:pt idx="903" formatCode="0.0">
                  <c:v>46.044457764673538</c:v>
                </c:pt>
                <c:pt idx="904" formatCode="0.0">
                  <c:v>45.30905806251095</c:v>
                </c:pt>
                <c:pt idx="905" formatCode="0.0">
                  <c:v>44.997210497834608</c:v>
                </c:pt>
                <c:pt idx="906" formatCode="0.0">
                  <c:v>43.864366704626796</c:v>
                </c:pt>
                <c:pt idx="907" formatCode="0.0">
                  <c:v>43.805223942672356</c:v>
                </c:pt>
                <c:pt idx="908" formatCode="0.0">
                  <c:v>45.588370327590667</c:v>
                </c:pt>
                <c:pt idx="909" formatCode="0.0">
                  <c:v>47.046445252057261</c:v>
                </c:pt>
                <c:pt idx="910" formatCode="0.0">
                  <c:v>47.1769139514263</c:v>
                </c:pt>
                <c:pt idx="911" formatCode="0.0">
                  <c:v>46.418772424526054</c:v>
                </c:pt>
                <c:pt idx="912" formatCode="0.0">
                  <c:v>46.256860089676877</c:v>
                </c:pt>
                <c:pt idx="913" formatCode="0.0">
                  <c:v>46.755449672514722</c:v>
                </c:pt>
                <c:pt idx="914" formatCode="0.0">
                  <c:v>46.980966514338775</c:v>
                </c:pt>
                <c:pt idx="915" formatCode="0.0">
                  <c:v>46.383153168720341</c:v>
                </c:pt>
                <c:pt idx="916" formatCode="0.0">
                  <c:v>46.383153168720341</c:v>
                </c:pt>
                <c:pt idx="917" formatCode="0.0">
                  <c:v>45.538835960757766</c:v>
                </c:pt>
                <c:pt idx="918" formatCode="0.0">
                  <c:v>45.110289199189452</c:v>
                </c:pt>
                <c:pt idx="919" formatCode="0.0">
                  <c:v>45.125932541902365</c:v>
                </c:pt>
                <c:pt idx="920" formatCode="0.0">
                  <c:v>46.371683102816419</c:v>
                </c:pt>
                <c:pt idx="921" formatCode="0.0">
                  <c:v>45.41953093195778</c:v>
                </c:pt>
                <c:pt idx="922" formatCode="0.0">
                  <c:v>45.876749662044887</c:v>
                </c:pt>
                <c:pt idx="923" formatCode="0.0">
                  <c:v>46.36287246937141</c:v>
                </c:pt>
                <c:pt idx="924" formatCode="0.0">
                  <c:v>46.200113741358152</c:v>
                </c:pt>
                <c:pt idx="925" formatCode="0.0">
                  <c:v>46.258471029913608</c:v>
                </c:pt>
                <c:pt idx="926" formatCode="0.0">
                  <c:v>46.125681181481596</c:v>
                </c:pt>
                <c:pt idx="927" formatCode="0.0">
                  <c:v>46.125681181481596</c:v>
                </c:pt>
                <c:pt idx="928" formatCode="0.0">
                  <c:v>46.186245044948407</c:v>
                </c:pt>
                <c:pt idx="929" formatCode="0.0">
                  <c:v>45.765162024389447</c:v>
                </c:pt>
                <c:pt idx="930" formatCode="0.0">
                  <c:v>45.489256587510205</c:v>
                </c:pt>
                <c:pt idx="931" formatCode="0.0">
                  <c:v>45.874718089492987</c:v>
                </c:pt>
                <c:pt idx="932" formatCode="0.0">
                  <c:v>46.017646670871613</c:v>
                </c:pt>
                <c:pt idx="933" formatCode="0.0">
                  <c:v>46.082160871206952</c:v>
                </c:pt>
                <c:pt idx="934" formatCode="0.0">
                  <c:v>46.002939474750725</c:v>
                </c:pt>
                <c:pt idx="935" formatCode="0.0">
                  <c:v>46.054174750547773</c:v>
                </c:pt>
                <c:pt idx="936" formatCode="0.0">
                  <c:v>46.335584648125689</c:v>
                </c:pt>
                <c:pt idx="937" formatCode="0.0">
                  <c:v>46.572124891861549</c:v>
                </c:pt>
                <c:pt idx="938" formatCode="0.0">
                  <c:v>45.926076486285112</c:v>
                </c:pt>
                <c:pt idx="939" formatCode="0.0">
                  <c:v>46.22315252851714</c:v>
                </c:pt>
                <c:pt idx="940" formatCode="0.0">
                  <c:v>45.188351370301291</c:v>
                </c:pt>
                <c:pt idx="941" formatCode="0.0">
                  <c:v>45.006154654606661</c:v>
                </c:pt>
                <c:pt idx="942" formatCode="0.0">
                  <c:v>45.982298509041925</c:v>
                </c:pt>
                <c:pt idx="943" formatCode="0.0">
                  <c:v>44.755801501462201</c:v>
                </c:pt>
                <c:pt idx="944" formatCode="0.0">
                  <c:v>45.38105796343882</c:v>
                </c:pt>
                <c:pt idx="945" formatCode="0.0">
                  <c:v>46.290984287585736</c:v>
                </c:pt>
                <c:pt idx="946" formatCode="0.0">
                  <c:v>46.374539823588165</c:v>
                </c:pt>
                <c:pt idx="947" formatCode="0.0">
                  <c:v>46.29299543550944</c:v>
                </c:pt>
                <c:pt idx="948" formatCode="0.0">
                  <c:v>46.287898858410372</c:v>
                </c:pt>
                <c:pt idx="949" formatCode="0.0">
                  <c:v>46.404782030671043</c:v>
                </c:pt>
                <c:pt idx="950" formatCode="0.0">
                  <c:v>46.415590315811627</c:v>
                </c:pt>
                <c:pt idx="951" formatCode="0.0">
                  <c:v>46.203631182347863</c:v>
                </c:pt>
                <c:pt idx="952" formatCode="0.0">
                  <c:v>46.393328004507133</c:v>
                </c:pt>
                <c:pt idx="953" formatCode="0.0">
                  <c:v>45.935058872670737</c:v>
                </c:pt>
                <c:pt idx="954" formatCode="0.0">
                  <c:v>46.351980894941072</c:v>
                </c:pt>
                <c:pt idx="955" formatCode="0.0">
                  <c:v>46.114233763959078</c:v>
                </c:pt>
                <c:pt idx="956" formatCode="0.0">
                  <c:v>43.94202813183658</c:v>
                </c:pt>
                <c:pt idx="957" formatCode="0.0">
                  <c:v>46.315445880882969</c:v>
                </c:pt>
                <c:pt idx="958" formatCode="0.0">
                  <c:v>45.963116542819968</c:v>
                </c:pt>
                <c:pt idx="959" formatCode="0.0">
                  <c:v>45.943788279312642</c:v>
                </c:pt>
                <c:pt idx="960" formatCode="0.0">
                  <c:v>45.997770795775068</c:v>
                </c:pt>
                <c:pt idx="961" formatCode="0.0">
                  <c:v>45.430004219347317</c:v>
                </c:pt>
                <c:pt idx="962" formatCode="0.0">
                  <c:v>46.02072534976044</c:v>
                </c:pt>
                <c:pt idx="963" formatCode="0.0">
                  <c:v>46.823463022725377</c:v>
                </c:pt>
                <c:pt idx="964" formatCode="0.0">
                  <c:v>45.656349271554532</c:v>
                </c:pt>
                <c:pt idx="965" formatCode="0.0">
                  <c:v>46.562615587552202</c:v>
                </c:pt>
                <c:pt idx="966" formatCode="0.0">
                  <c:v>45.891861277258606</c:v>
                </c:pt>
                <c:pt idx="967" formatCode="0.0">
                  <c:v>46.216360875424201</c:v>
                </c:pt>
                <c:pt idx="968" formatCode="0.0">
                  <c:v>46.27352745572675</c:v>
                </c:pt>
                <c:pt idx="969" formatCode="0.0">
                  <c:v>46.274970307992675</c:v>
                </c:pt>
                <c:pt idx="970" formatCode="0.0">
                  <c:v>46.336599350875218</c:v>
                </c:pt>
                <c:pt idx="971" formatCode="0.0">
                  <c:v>46.410445297012011</c:v>
                </c:pt>
                <c:pt idx="972" formatCode="0.0">
                  <c:v>46.144409865714394</c:v>
                </c:pt>
                <c:pt idx="973" formatCode="0.0">
                  <c:v>46.026010190840054</c:v>
                </c:pt>
                <c:pt idx="974" formatCode="0.0">
                  <c:v>46.328423142244645</c:v>
                </c:pt>
                <c:pt idx="975" formatCode="0.0">
                  <c:v>46.488544755976008</c:v>
                </c:pt>
                <c:pt idx="976" formatCode="0.0">
                  <c:v>46.192320657605137</c:v>
                </c:pt>
                <c:pt idx="977" formatCode="0.0">
                  <c:v>45.783097025918053</c:v>
                </c:pt>
                <c:pt idx="978" formatCode="0.0">
                  <c:v>46.380218630894099</c:v>
                </c:pt>
                <c:pt idx="979" formatCode="0.0">
                  <c:v>46.447319085265313</c:v>
                </c:pt>
                <c:pt idx="980" formatCode="0.0">
                  <c:v>46.468575511973675</c:v>
                </c:pt>
                <c:pt idx="981" formatCode="0.0">
                  <c:v>47.020576503511869</c:v>
                </c:pt>
                <c:pt idx="982" formatCode="0.0">
                  <c:v>46.761736866983377</c:v>
                </c:pt>
                <c:pt idx="983" formatCode="0.0">
                  <c:v>46.110799934355462</c:v>
                </c:pt>
                <c:pt idx="984" formatCode="0.0">
                  <c:v>46.373001106647777</c:v>
                </c:pt>
                <c:pt idx="985" formatCode="0.0">
                  <c:v>46.622512886787035</c:v>
                </c:pt>
                <c:pt idx="986" formatCode="0.0">
                  <c:v>45.984181700651696</c:v>
                </c:pt>
                <c:pt idx="987" formatCode="0.0">
                  <c:v>45.836834364189933</c:v>
                </c:pt>
                <c:pt idx="988" formatCode="0.0">
                  <c:v>45.600881460081155</c:v>
                </c:pt>
                <c:pt idx="989" formatCode="0.0">
                  <c:v>45.611558084893282</c:v>
                </c:pt>
                <c:pt idx="990" formatCode="0.0">
                  <c:v>46.371084561855284</c:v>
                </c:pt>
                <c:pt idx="991" formatCode="0.0">
                  <c:v>46.649949582407579</c:v>
                </c:pt>
                <c:pt idx="992" formatCode="0.0">
                  <c:v>46.978642315885928</c:v>
                </c:pt>
                <c:pt idx="993" formatCode="0.0">
                  <c:v>47.070686137409901</c:v>
                </c:pt>
                <c:pt idx="994" formatCode="0.0">
                  <c:v>46.458908054096703</c:v>
                </c:pt>
                <c:pt idx="995" formatCode="0.0">
                  <c:v>46.409505987830435</c:v>
                </c:pt>
                <c:pt idx="996" formatCode="0.0">
                  <c:v>46.208214552794416</c:v>
                </c:pt>
                <c:pt idx="997" formatCode="0.0">
                  <c:v>45.307666765580841</c:v>
                </c:pt>
                <c:pt idx="998" formatCode="0.0">
                  <c:v>46.641806357069022</c:v>
                </c:pt>
                <c:pt idx="999" formatCode="0.0">
                  <c:v>47.088430965432394</c:v>
                </c:pt>
                <c:pt idx="1000" formatCode="0.0">
                  <c:v>46.957247989283772</c:v>
                </c:pt>
                <c:pt idx="1001" formatCode="0.0">
                  <c:v>46.1691327039999</c:v>
                </c:pt>
                <c:pt idx="1002" formatCode="0.0">
                  <c:v>46.300765792190717</c:v>
                </c:pt>
                <c:pt idx="1003" formatCode="0.0">
                  <c:v>46.579017827607871</c:v>
                </c:pt>
                <c:pt idx="1004" formatCode="0.0">
                  <c:v>46.725269403782228</c:v>
                </c:pt>
                <c:pt idx="1005" formatCode="0.0">
                  <c:v>46.547593419179343</c:v>
                </c:pt>
                <c:pt idx="1006" formatCode="0.0">
                  <c:v>46.584523397227116</c:v>
                </c:pt>
                <c:pt idx="1007" formatCode="0.0">
                  <c:v>46.08008718477835</c:v>
                </c:pt>
                <c:pt idx="1008" formatCode="0.0">
                  <c:v>46.016481320780144</c:v>
                </c:pt>
                <c:pt idx="1009" formatCode="0.0">
                  <c:v>46.867417638838511</c:v>
                </c:pt>
                <c:pt idx="1010" formatCode="0.0">
                  <c:v>46.509558999024811</c:v>
                </c:pt>
                <c:pt idx="1011" formatCode="0.0">
                  <c:v>46.226986966580498</c:v>
                </c:pt>
                <c:pt idx="1012" formatCode="0.0">
                  <c:v>46.369544691718502</c:v>
                </c:pt>
                <c:pt idx="1013" formatCode="0.0">
                  <c:v>46.383356372933548</c:v>
                </c:pt>
                <c:pt idx="1014" formatCode="0.0">
                  <c:v>46.314732506641796</c:v>
                </c:pt>
                <c:pt idx="1015" formatCode="0.0">
                  <c:v>46.34855202019304</c:v>
                </c:pt>
                <c:pt idx="1016" formatCode="0.0">
                  <c:v>45.791157394752879</c:v>
                </c:pt>
                <c:pt idx="1017" formatCode="0.0">
                  <c:v>45.533470474712857</c:v>
                </c:pt>
                <c:pt idx="1018" formatCode="0.0">
                  <c:v>46.410793784059649</c:v>
                </c:pt>
                <c:pt idx="1019" formatCode="0.0">
                  <c:v>45.669514257773798</c:v>
                </c:pt>
                <c:pt idx="1020" formatCode="0.0">
                  <c:v>45.251479816122014</c:v>
                </c:pt>
                <c:pt idx="1021" formatCode="0.0">
                  <c:v>46.396356202425686</c:v>
                </c:pt>
                <c:pt idx="1022" formatCode="0.0">
                  <c:v>46.898358679233965</c:v>
                </c:pt>
                <c:pt idx="1023" formatCode="0.0">
                  <c:v>46.469377543530101</c:v>
                </c:pt>
                <c:pt idx="1024" formatCode="0.0">
                  <c:v>46.485853168937183</c:v>
                </c:pt>
                <c:pt idx="1025" formatCode="0.0">
                  <c:v>46.937590251212335</c:v>
                </c:pt>
                <c:pt idx="1026" formatCode="General">
                  <c:v>45.720574539287242</c:v>
                </c:pt>
                <c:pt idx="1027">
                  <c:v>45.958461891026765</c:v>
                </c:pt>
                <c:pt idx="1028">
                  <c:v>46.433468444391551</c:v>
                </c:pt>
                <c:pt idx="1029">
                  <c:v>46.765911317187275</c:v>
                </c:pt>
                <c:pt idx="1030">
                  <c:v>44.476272804922949</c:v>
                </c:pt>
                <c:pt idx="1031" formatCode="General">
                  <c:v>43.791123568790383</c:v>
                </c:pt>
                <c:pt idx="1032" formatCode="0.0">
                  <c:v>46.411392067420792</c:v>
                </c:pt>
                <c:pt idx="1033" formatCode="0.0">
                  <c:v>45.894755954035887</c:v>
                </c:pt>
                <c:pt idx="1034" formatCode="General">
                  <c:v>46.140312632746927</c:v>
                </c:pt>
                <c:pt idx="1035" formatCode="General">
                  <c:v>46.388308364625615</c:v>
                </c:pt>
                <c:pt idx="1036" formatCode="0.0">
                  <c:v>46.29401060445354</c:v>
                </c:pt>
                <c:pt idx="1037" formatCode="General">
                  <c:v>46.065234689017593</c:v>
                </c:pt>
                <c:pt idx="1038" formatCode="General">
                  <c:v>45.003466449551574</c:v>
                </c:pt>
                <c:pt idx="1039">
                  <c:v>45.672399603956613</c:v>
                </c:pt>
                <c:pt idx="1040">
                  <c:v>45.527080669009067</c:v>
                </c:pt>
                <c:pt idx="1041">
                  <c:v>45.037860817871611</c:v>
                </c:pt>
                <c:pt idx="1042">
                  <c:v>45.460473679323421</c:v>
                </c:pt>
                <c:pt idx="1043">
                  <c:v>44.843547279138292</c:v>
                </c:pt>
                <c:pt idx="1044">
                  <c:v>44.990747742003748</c:v>
                </c:pt>
                <c:pt idx="1045">
                  <c:v>45.545408262187898</c:v>
                </c:pt>
                <c:pt idx="1046">
                  <c:v>45.697927877784103</c:v>
                </c:pt>
                <c:pt idx="1047">
                  <c:v>45.546144460372197</c:v>
                </c:pt>
                <c:pt idx="1048">
                  <c:v>44.652869426350883</c:v>
                </c:pt>
                <c:pt idx="1049">
                  <c:v>44.938133663787681</c:v>
                </c:pt>
                <c:pt idx="1050">
                  <c:v>45.114979096032712</c:v>
                </c:pt>
                <c:pt idx="1051">
                  <c:v>46.015404379480351</c:v>
                </c:pt>
                <c:pt idx="1052">
                  <c:v>46.314008372762274</c:v>
                </c:pt>
                <c:pt idx="1053" formatCode="0.0">
                  <c:v>45.935328245178098</c:v>
                </c:pt>
                <c:pt idx="1054" formatCode="General">
                  <c:v>45.275789255749295</c:v>
                </c:pt>
                <c:pt idx="1055">
                  <c:v>45.091592870120174</c:v>
                </c:pt>
                <c:pt idx="1056">
                  <c:v>44.213837149769375</c:v>
                </c:pt>
                <c:pt idx="1057">
                  <c:v>44.985106827548975</c:v>
                </c:pt>
                <c:pt idx="1058">
                  <c:v>45.518965640277344</c:v>
                </c:pt>
                <c:pt idx="1059">
                  <c:v>44.866989170229267</c:v>
                </c:pt>
                <c:pt idx="1060" formatCode="0.0">
                  <c:v>44.760942960547602</c:v>
                </c:pt>
                <c:pt idx="1061" formatCode="0.0">
                  <c:v>44.861698751387664</c:v>
                </c:pt>
                <c:pt idx="1062" formatCode="0.0">
                  <c:v>44.418720967236851</c:v>
                </c:pt>
                <c:pt idx="1063" formatCode="General">
                  <c:v>44.276905632753262</c:v>
                </c:pt>
                <c:pt idx="1064" formatCode="0.0">
                  <c:v>44.120123259185021</c:v>
                </c:pt>
                <c:pt idx="1065" formatCode="General">
                  <c:v>44.024528658026838</c:v>
                </c:pt>
                <c:pt idx="1066" formatCode="General">
                  <c:v>44.437653796381355</c:v>
                </c:pt>
                <c:pt idx="1067" formatCode="General">
                  <c:v>46.719038400642248</c:v>
                </c:pt>
                <c:pt idx="1068" formatCode="General">
                  <c:v>45.320311193712911</c:v>
                </c:pt>
                <c:pt idx="1069" formatCode="General">
                  <c:v>46.320108503945036</c:v>
                </c:pt>
                <c:pt idx="1070" formatCode="General">
                  <c:v>46.205811330793573</c:v>
                </c:pt>
                <c:pt idx="1071" formatCode="General">
                  <c:v>45.682757625860347</c:v>
                </c:pt>
                <c:pt idx="1072" formatCode="General">
                  <c:v>45.755307043648763</c:v>
                </c:pt>
                <c:pt idx="1073" formatCode="0.0">
                  <c:v>46.070832276802022</c:v>
                </c:pt>
                <c:pt idx="1074" formatCode="0.0">
                  <c:v>46.439555769768305</c:v>
                </c:pt>
                <c:pt idx="1075" formatCode="General">
                  <c:v>46.628454730531423</c:v>
                </c:pt>
                <c:pt idx="1076" formatCode="General">
                  <c:v>46.535999973671537</c:v>
                </c:pt>
                <c:pt idx="1077" formatCode="0.0">
                  <c:v>45.965403947885093</c:v>
                </c:pt>
                <c:pt idx="1078" formatCode="General">
                  <c:v>46.328005085488314</c:v>
                </c:pt>
                <c:pt idx="1079" formatCode="General">
                  <c:v>46.478633497327586</c:v>
                </c:pt>
                <c:pt idx="1080" formatCode="General">
                  <c:v>45.875189964765859</c:v>
                </c:pt>
                <c:pt idx="1081" formatCode="General">
                  <c:v>46.011463928610617</c:v>
                </c:pt>
                <c:pt idx="1082" formatCode="General">
                  <c:v>46.247144398409219</c:v>
                </c:pt>
                <c:pt idx="1083" formatCode="General">
                  <c:v>46.143018372904976</c:v>
                </c:pt>
                <c:pt idx="1084" formatCode="General">
                  <c:v>46.46922314606114</c:v>
                </c:pt>
                <c:pt idx="1085" formatCode="General">
                  <c:v>46.002580188401481</c:v>
                </c:pt>
                <c:pt idx="1086" formatCode="General">
                  <c:v>45.958622362885926</c:v>
                </c:pt>
                <c:pt idx="1087" formatCode="General">
                  <c:v>46.56786760770909</c:v>
                </c:pt>
                <c:pt idx="1088" formatCode="General">
                  <c:v>46.62399492242929</c:v>
                </c:pt>
                <c:pt idx="1089" formatCode="General">
                  <c:v>46.875968828063044</c:v>
                </c:pt>
                <c:pt idx="1090" formatCode="General">
                  <c:v>46.687247338193302</c:v>
                </c:pt>
                <c:pt idx="1091" formatCode="General">
                  <c:v>46.472341416565122</c:v>
                </c:pt>
                <c:pt idx="1092" formatCode="General">
                  <c:v>46.229256452676751</c:v>
                </c:pt>
                <c:pt idx="1093" formatCode="General">
                  <c:v>46.062360536715786</c:v>
                </c:pt>
                <c:pt idx="1094" formatCode="General">
                  <c:v>46.58072533962806</c:v>
                </c:pt>
                <c:pt idx="1095" formatCode="General">
                  <c:v>46.225730096131407</c:v>
                </c:pt>
              </c:numCache>
            </c:numRef>
          </c:xVal>
          <c:yVal>
            <c:numRef>
              <c:f>'[Final Graph 2.xlsx]Parameters ranges for ANN step1'!$AW$3:$AW$1131</c:f>
              <c:numCache>
                <c:formatCode>0.0000</c:formatCode>
                <c:ptCount val="1129"/>
                <c:pt idx="0">
                  <c:v>651.13081002894523</c:v>
                </c:pt>
                <c:pt idx="1">
                  <c:v>650.94665425079825</c:v>
                </c:pt>
                <c:pt idx="2">
                  <c:v>619.00755324179613</c:v>
                </c:pt>
                <c:pt idx="3">
                  <c:v>623.45703516178628</c:v>
                </c:pt>
                <c:pt idx="4">
                  <c:v>634.95266671420575</c:v>
                </c:pt>
                <c:pt idx="5">
                  <c:v>642.51898371690368</c:v>
                </c:pt>
                <c:pt idx="6">
                  <c:v>667.75034092122257</c:v>
                </c:pt>
                <c:pt idx="7">
                  <c:v>639.41716543601149</c:v>
                </c:pt>
                <c:pt idx="8">
                  <c:v>667.71774707511884</c:v>
                </c:pt>
                <c:pt idx="9">
                  <c:v>641.40040562474655</c:v>
                </c:pt>
                <c:pt idx="10">
                  <c:v>632.92741920641402</c:v>
                </c:pt>
                <c:pt idx="11">
                  <c:v>631.17583705295317</c:v>
                </c:pt>
                <c:pt idx="12">
                  <c:v>636.58654242827765</c:v>
                </c:pt>
                <c:pt idx="13">
                  <c:v>675.86721121503172</c:v>
                </c:pt>
                <c:pt idx="14">
                  <c:v>642.5420726836353</c:v>
                </c:pt>
                <c:pt idx="15">
                  <c:v>626.54936169236771</c:v>
                </c:pt>
                <c:pt idx="16">
                  <c:v>628.23656864340194</c:v>
                </c:pt>
                <c:pt idx="17">
                  <c:v>663.00701006051338</c:v>
                </c:pt>
                <c:pt idx="18">
                  <c:v>684.5596839355054</c:v>
                </c:pt>
                <c:pt idx="19">
                  <c:v>628.12145240323537</c:v>
                </c:pt>
                <c:pt idx="20">
                  <c:v>633.16058553924825</c:v>
                </c:pt>
                <c:pt idx="21">
                  <c:v>637.43355707088165</c:v>
                </c:pt>
                <c:pt idx="22">
                  <c:v>639.67492114477136</c:v>
                </c:pt>
                <c:pt idx="23">
                  <c:v>641.34102846382268</c:v>
                </c:pt>
                <c:pt idx="24">
                  <c:v>634.17171904416193</c:v>
                </c:pt>
                <c:pt idx="25">
                  <c:v>649.56195895128701</c:v>
                </c:pt>
                <c:pt idx="26">
                  <c:v>677.70531549797556</c:v>
                </c:pt>
                <c:pt idx="27">
                  <c:v>644.34209185706936</c:v>
                </c:pt>
                <c:pt idx="28">
                  <c:v>643.81239555251227</c:v>
                </c:pt>
                <c:pt idx="29">
                  <c:v>644.70658195110718</c:v>
                </c:pt>
                <c:pt idx="30">
                  <c:v>650.60028131688364</c:v>
                </c:pt>
                <c:pt idx="31">
                  <c:v>636.48730295791245</c:v>
                </c:pt>
                <c:pt idx="32">
                  <c:v>667.9569700443908</c:v>
                </c:pt>
                <c:pt idx="33">
                  <c:v>662.96969748815525</c:v>
                </c:pt>
                <c:pt idx="34">
                  <c:v>662.80271686483638</c:v>
                </c:pt>
                <c:pt idx="35">
                  <c:v>703.76653209409403</c:v>
                </c:pt>
                <c:pt idx="36">
                  <c:v>658.10427022905264</c:v>
                </c:pt>
                <c:pt idx="37">
                  <c:v>675.71098600685866</c:v>
                </c:pt>
                <c:pt idx="38">
                  <c:v>652.92507640237648</c:v>
                </c:pt>
                <c:pt idx="39">
                  <c:v>651.60438730308817</c:v>
                </c:pt>
                <c:pt idx="40">
                  <c:v>648.31445665551939</c:v>
                </c:pt>
                <c:pt idx="41">
                  <c:v>666.70332799780863</c:v>
                </c:pt>
                <c:pt idx="42">
                  <c:v>705.8502328139773</c:v>
                </c:pt>
                <c:pt idx="43">
                  <c:v>736.94228141389158</c:v>
                </c:pt>
                <c:pt idx="44">
                  <c:v>740.7476782508154</c:v>
                </c:pt>
                <c:pt idx="45">
                  <c:v>1116.1156829024385</c:v>
                </c:pt>
                <c:pt idx="46">
                  <c:v>831.99123434184389</c:v>
                </c:pt>
                <c:pt idx="47">
                  <c:v>748.42276704902656</c:v>
                </c:pt>
                <c:pt idx="48">
                  <c:v>701.37358937764861</c:v>
                </c:pt>
                <c:pt idx="49">
                  <c:v>650.13080227823923</c:v>
                </c:pt>
                <c:pt idx="50">
                  <c:v>716.3549903350247</c:v>
                </c:pt>
                <c:pt idx="51">
                  <c:v>658.40591341486311</c:v>
                </c:pt>
                <c:pt idx="52">
                  <c:v>648.85518754511236</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620.46536679776989</c:v>
                </c:pt>
                <c:pt idx="65">
                  <c:v>637.95605646373485</c:v>
                </c:pt>
                <c:pt idx="66">
                  <c:v>637.66071668053814</c:v>
                </c:pt>
                <c:pt idx="67">
                  <c:v>649.35064779921106</c:v>
                </c:pt>
                <c:pt idx="68">
                  <c:v>692.63946147009949</c:v>
                </c:pt>
                <c:pt idx="69">
                  <c:v>677.14711168578037</c:v>
                </c:pt>
                <c:pt idx="70">
                  <c:v>650.10461703244482</c:v>
                </c:pt>
                <c:pt idx="71">
                  <c:v>656.66457759248544</c:v>
                </c:pt>
                <c:pt idx="72">
                  <c:v>648.66295753038651</c:v>
                </c:pt>
                <c:pt idx="73">
                  <c:v>627.05675033785133</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629.93059061979716</c:v>
                </c:pt>
                <c:pt idx="88">
                  <c:v>627.3075280395384</c:v>
                </c:pt>
                <c:pt idx="89">
                  <c:v>635.82704622214044</c:v>
                </c:pt>
                <c:pt idx="90">
                  <c:v>629.92758465377642</c:v>
                </c:pt>
                <c:pt idx="91">
                  <c:v>637.49203076118818</c:v>
                </c:pt>
                <c:pt idx="92">
                  <c:v>636.34648418759139</c:v>
                </c:pt>
                <c:pt idx="93">
                  <c:v>629.07633582760309</c:v>
                </c:pt>
                <c:pt idx="94">
                  <c:v>644.70107130548524</c:v>
                </c:pt>
                <c:pt idx="95">
                  <c:v>641.75267803002316</c:v>
                </c:pt>
                <c:pt idx="96">
                  <c:v>633.42795933485024</c:v>
                </c:pt>
                <c:pt idx="97">
                  <c:v>636.66631036630122</c:v>
                </c:pt>
                <c:pt idx="98">
                  <c:v>624.68444112921736</c:v>
                </c:pt>
                <c:pt idx="99">
                  <c:v>652.87513228630928</c:v>
                </c:pt>
                <c:pt idx="100">
                  <c:v>675.78717228660855</c:v>
                </c:pt>
                <c:pt idx="101">
                  <c:v>643.16130040117207</c:v>
                </c:pt>
                <c:pt idx="102">
                  <c:v>640.52921795157772</c:v>
                </c:pt>
                <c:pt idx="103">
                  <c:v>638.39213832309463</c:v>
                </c:pt>
                <c:pt idx="104">
                  <c:v>658.7003367630208</c:v>
                </c:pt>
                <c:pt idx="105">
                  <c:v>668.30277528808642</c:v>
                </c:pt>
                <c:pt idx="106">
                  <c:v>660.28791552081827</c:v>
                </c:pt>
                <c:pt idx="107">
                  <c:v>646.30886074291379</c:v>
                </c:pt>
                <c:pt idx="108">
                  <c:v>646.2788998304427</c:v>
                </c:pt>
                <c:pt idx="109">
                  <c:v>662.90827024602549</c:v>
                </c:pt>
                <c:pt idx="110">
                  <c:v>642.85534871225502</c:v>
                </c:pt>
                <c:pt idx="111">
                  <c:v>643.20820078990801</c:v>
                </c:pt>
                <c:pt idx="112">
                  <c:v>666.30648367488959</c:v>
                </c:pt>
                <c:pt idx="113">
                  <c:v>708.3866724545926</c:v>
                </c:pt>
                <c:pt idx="114">
                  <c:v>672.29183854321457</c:v>
                </c:pt>
                <c:pt idx="115">
                  <c:v>647.29094192330751</c:v>
                </c:pt>
                <c:pt idx="116">
                  <c:v>652.94792159515259</c:v>
                </c:pt>
                <c:pt idx="117">
                  <c:v>693.14347601606937</c:v>
                </c:pt>
                <c:pt idx="118">
                  <c:v>654.84034167087282</c:v>
                </c:pt>
                <c:pt idx="119">
                  <c:v>670.57474724265387</c:v>
                </c:pt>
                <c:pt idx="120">
                  <c:v>639.94411039056479</c:v>
                </c:pt>
                <c:pt idx="121">
                  <c:v>668.84934202688135</c:v>
                </c:pt>
                <c:pt idx="122">
                  <c:v>683.50337488138064</c:v>
                </c:pt>
                <c:pt idx="123">
                  <c:v>700.45089977347573</c:v>
                </c:pt>
                <c:pt idx="124">
                  <c:v>691.96276571151634</c:v>
                </c:pt>
                <c:pt idx="125">
                  <c:v>666.90494792100401</c:v>
                </c:pt>
                <c:pt idx="126">
                  <c:v>656.86417471732477</c:v>
                </c:pt>
                <c:pt idx="127">
                  <c:v>641.37646961964447</c:v>
                </c:pt>
                <c:pt idx="128">
                  <c:v>639.24550278583104</c:v>
                </c:pt>
                <c:pt idx="129">
                  <c:v>644.41969145752273</c:v>
                </c:pt>
                <c:pt idx="130">
                  <c:v>647.10561551275146</c:v>
                </c:pt>
                <c:pt idx="131">
                  <c:v>658.86334385986254</c:v>
                </c:pt>
                <c:pt idx="132">
                  <c:v>665.32539921347961</c:v>
                </c:pt>
                <c:pt idx="133">
                  <c:v>665.24540993277083</c:v>
                </c:pt>
                <c:pt idx="134">
                  <c:v>690.25381490129962</c:v>
                </c:pt>
                <c:pt idx="135">
                  <c:v>687.36377857127013</c:v>
                </c:pt>
                <c:pt idx="136">
                  <c:v>659.513004423182</c:v>
                </c:pt>
                <c:pt idx="137">
                  <c:v>657.44721786946297</c:v>
                </c:pt>
                <c:pt idx="138">
                  <c:v>652.73968588320633</c:v>
                </c:pt>
                <c:pt idx="139">
                  <c:v>638.44938442567548</c:v>
                </c:pt>
                <c:pt idx="140">
                  <c:v>663.34223926869572</c:v>
                </c:pt>
                <c:pt idx="141">
                  <c:v>714.55735773282527</c:v>
                </c:pt>
                <c:pt idx="142">
                  <c:v>839.95188314072084</c:v>
                </c:pt>
                <c:pt idx="143">
                  <c:v>914.22038469286224</c:v>
                </c:pt>
                <c:pt idx="144">
                  <c:v>1492.1952981574664</c:v>
                </c:pt>
                <c:pt idx="145">
                  <c:v>7417.4918551058327</c:v>
                </c:pt>
                <c:pt idx="146">
                  <c:v>0</c:v>
                </c:pt>
                <c:pt idx="147">
                  <c:v>0</c:v>
                </c:pt>
                <c:pt idx="148">
                  <c:v>0</c:v>
                </c:pt>
                <c:pt idx="149">
                  <c:v>1201.5855366373034</c:v>
                </c:pt>
                <c:pt idx="150">
                  <c:v>761.15549762124806</c:v>
                </c:pt>
                <c:pt idx="151">
                  <c:v>658.09677072497129</c:v>
                </c:pt>
                <c:pt idx="152">
                  <c:v>625.8507361357066</c:v>
                </c:pt>
                <c:pt idx="153">
                  <c:v>620.91348022745103</c:v>
                </c:pt>
                <c:pt idx="154">
                  <c:v>621.98094252129295</c:v>
                </c:pt>
                <c:pt idx="155">
                  <c:v>629.4022711565334</c:v>
                </c:pt>
                <c:pt idx="156">
                  <c:v>631.49284042079364</c:v>
                </c:pt>
                <c:pt idx="157">
                  <c:v>628.49265299838987</c:v>
                </c:pt>
                <c:pt idx="158">
                  <c:v>642.77729609791527</c:v>
                </c:pt>
                <c:pt idx="159">
                  <c:v>639.9059560974955</c:v>
                </c:pt>
                <c:pt idx="160">
                  <c:v>644.35599011780562</c:v>
                </c:pt>
                <c:pt idx="161">
                  <c:v>658.94515287543913</c:v>
                </c:pt>
                <c:pt idx="162">
                  <c:v>672.07135681636339</c:v>
                </c:pt>
                <c:pt idx="163">
                  <c:v>633.24097076886426</c:v>
                </c:pt>
                <c:pt idx="164">
                  <c:v>625.56330938819804</c:v>
                </c:pt>
                <c:pt idx="165">
                  <c:v>627.92954147107798</c:v>
                </c:pt>
                <c:pt idx="166">
                  <c:v>643.06399690782121</c:v>
                </c:pt>
                <c:pt idx="167">
                  <c:v>640.8321753601407</c:v>
                </c:pt>
                <c:pt idx="168">
                  <c:v>644.25309043116056</c:v>
                </c:pt>
                <c:pt idx="169">
                  <c:v>633.92832474883471</c:v>
                </c:pt>
                <c:pt idx="170">
                  <c:v>650.00242322002714</c:v>
                </c:pt>
                <c:pt idx="171">
                  <c:v>667.65886520028812</c:v>
                </c:pt>
                <c:pt idx="172">
                  <c:v>653.53721119848581</c:v>
                </c:pt>
                <c:pt idx="173">
                  <c:v>661.23989835287239</c:v>
                </c:pt>
                <c:pt idx="174">
                  <c:v>661.61219635426369</c:v>
                </c:pt>
                <c:pt idx="175">
                  <c:v>654.57531708376007</c:v>
                </c:pt>
                <c:pt idx="176">
                  <c:v>689.45928083178103</c:v>
                </c:pt>
                <c:pt idx="177">
                  <c:v>699.0846576339452</c:v>
                </c:pt>
                <c:pt idx="178">
                  <c:v>659.69024944766431</c:v>
                </c:pt>
                <c:pt idx="179">
                  <c:v>677.29838090057251</c:v>
                </c:pt>
                <c:pt idx="180">
                  <c:v>649.59490598985644</c:v>
                </c:pt>
                <c:pt idx="181">
                  <c:v>631.73192746151005</c:v>
                </c:pt>
                <c:pt idx="182">
                  <c:v>649.62900111500642</c:v>
                </c:pt>
                <c:pt idx="183">
                  <c:v>640.03267202294808</c:v>
                </c:pt>
                <c:pt idx="184">
                  <c:v>647.3114016238892</c:v>
                </c:pt>
                <c:pt idx="185">
                  <c:v>646.23387094578425</c:v>
                </c:pt>
                <c:pt idx="186">
                  <c:v>651.98133014390078</c:v>
                </c:pt>
                <c:pt idx="187">
                  <c:v>650.01329950993306</c:v>
                </c:pt>
                <c:pt idx="188">
                  <c:v>648.15149420223804</c:v>
                </c:pt>
                <c:pt idx="189">
                  <c:v>646.32329267922501</c:v>
                </c:pt>
                <c:pt idx="190">
                  <c:v>646.41369334717183</c:v>
                </c:pt>
                <c:pt idx="191">
                  <c:v>649.912065659326</c:v>
                </c:pt>
                <c:pt idx="192">
                  <c:v>649.34051784989833</c:v>
                </c:pt>
                <c:pt idx="193">
                  <c:v>647.04547834760217</c:v>
                </c:pt>
                <c:pt idx="194">
                  <c:v>652.68980268213738</c:v>
                </c:pt>
                <c:pt idx="195">
                  <c:v>654.82799479460937</c:v>
                </c:pt>
                <c:pt idx="196">
                  <c:v>648.30804555933719</c:v>
                </c:pt>
                <c:pt idx="197">
                  <c:v>643.54144645452629</c:v>
                </c:pt>
                <c:pt idx="198">
                  <c:v>641.1678004767117</c:v>
                </c:pt>
                <c:pt idx="199">
                  <c:v>642.12035667315888</c:v>
                </c:pt>
                <c:pt idx="200">
                  <c:v>651.69839345557091</c:v>
                </c:pt>
                <c:pt idx="201">
                  <c:v>644.71559996365704</c:v>
                </c:pt>
                <c:pt idx="202">
                  <c:v>647.0831798200237</c:v>
                </c:pt>
                <c:pt idx="203">
                  <c:v>647.68392742089782</c:v>
                </c:pt>
                <c:pt idx="204">
                  <c:v>642.79352954013916</c:v>
                </c:pt>
                <c:pt idx="205">
                  <c:v>641.43268395580208</c:v>
                </c:pt>
                <c:pt idx="206">
                  <c:v>665.75128668257162</c:v>
                </c:pt>
                <c:pt idx="207">
                  <c:v>654.67408236940116</c:v>
                </c:pt>
                <c:pt idx="208">
                  <c:v>635.28484727909927</c:v>
                </c:pt>
                <c:pt idx="209">
                  <c:v>650.70071935349154</c:v>
                </c:pt>
                <c:pt idx="210">
                  <c:v>629.9100782307155</c:v>
                </c:pt>
                <c:pt idx="211">
                  <c:v>638.79581031304269</c:v>
                </c:pt>
                <c:pt idx="212">
                  <c:v>638.67435999506301</c:v>
                </c:pt>
                <c:pt idx="213">
                  <c:v>649.666823136895</c:v>
                </c:pt>
                <c:pt idx="214">
                  <c:v>673.14758875958773</c:v>
                </c:pt>
                <c:pt idx="215">
                  <c:v>648.28063368841629</c:v>
                </c:pt>
                <c:pt idx="216">
                  <c:v>634.12647014694437</c:v>
                </c:pt>
                <c:pt idx="217">
                  <c:v>644.26213216077667</c:v>
                </c:pt>
                <c:pt idx="218">
                  <c:v>639.3600872107138</c:v>
                </c:pt>
                <c:pt idx="219">
                  <c:v>721.05147392806282</c:v>
                </c:pt>
                <c:pt idx="220">
                  <c:v>633.72598175712051</c:v>
                </c:pt>
                <c:pt idx="221">
                  <c:v>637.58730964095184</c:v>
                </c:pt>
                <c:pt idx="222">
                  <c:v>632.55658276321071</c:v>
                </c:pt>
                <c:pt idx="223">
                  <c:v>638.26227262443217</c:v>
                </c:pt>
                <c:pt idx="224">
                  <c:v>624.06656731298597</c:v>
                </c:pt>
                <c:pt idx="225">
                  <c:v>614.13102617787297</c:v>
                </c:pt>
                <c:pt idx="226">
                  <c:v>649.63899390320887</c:v>
                </c:pt>
                <c:pt idx="227">
                  <c:v>627.16200197296189</c:v>
                </c:pt>
                <c:pt idx="228">
                  <c:v>635.20122503257801</c:v>
                </c:pt>
                <c:pt idx="229">
                  <c:v>632.57638442355221</c:v>
                </c:pt>
                <c:pt idx="230">
                  <c:v>660.44888295370913</c:v>
                </c:pt>
                <c:pt idx="231">
                  <c:v>637.11391931878643</c:v>
                </c:pt>
                <c:pt idx="232">
                  <c:v>645.48315775417598</c:v>
                </c:pt>
                <c:pt idx="233">
                  <c:v>651.45099997201635</c:v>
                </c:pt>
                <c:pt idx="234">
                  <c:v>637.98007100427583</c:v>
                </c:pt>
                <c:pt idx="235">
                  <c:v>651.63839647592886</c:v>
                </c:pt>
                <c:pt idx="236">
                  <c:v>646.99751717664446</c:v>
                </c:pt>
                <c:pt idx="237">
                  <c:v>645.00870901838493</c:v>
                </c:pt>
                <c:pt idx="238">
                  <c:v>648.48052782974082</c:v>
                </c:pt>
                <c:pt idx="239">
                  <c:v>646.35868550678606</c:v>
                </c:pt>
                <c:pt idx="240">
                  <c:v>692.93407250423627</c:v>
                </c:pt>
                <c:pt idx="241">
                  <c:v>696.46690251425287</c:v>
                </c:pt>
                <c:pt idx="242">
                  <c:v>701.53389344072957</c:v>
                </c:pt>
                <c:pt idx="243">
                  <c:v>690.43754669280611</c:v>
                </c:pt>
                <c:pt idx="244">
                  <c:v>689.72297826119518</c:v>
                </c:pt>
                <c:pt idx="245">
                  <c:v>790.49840665131762</c:v>
                </c:pt>
                <c:pt idx="246">
                  <c:v>920.71158132060611</c:v>
                </c:pt>
                <c:pt idx="247">
                  <c:v>909.5537449972137</c:v>
                </c:pt>
                <c:pt idx="248">
                  <c:v>884.20459584286709</c:v>
                </c:pt>
                <c:pt idx="249">
                  <c:v>828.74746167748685</c:v>
                </c:pt>
                <c:pt idx="250">
                  <c:v>844.37993073785958</c:v>
                </c:pt>
                <c:pt idx="251">
                  <c:v>739.36482951126709</c:v>
                </c:pt>
                <c:pt idx="252">
                  <c:v>693.57160466543928</c:v>
                </c:pt>
                <c:pt idx="253">
                  <c:v>732.11705116895553</c:v>
                </c:pt>
                <c:pt idx="254">
                  <c:v>730.72952411971369</c:v>
                </c:pt>
                <c:pt idx="255">
                  <c:v>780.39448621332917</c:v>
                </c:pt>
                <c:pt idx="256">
                  <c:v>665.8519571989043</c:v>
                </c:pt>
                <c:pt idx="257">
                  <c:v>642.12522197079863</c:v>
                </c:pt>
                <c:pt idx="258">
                  <c:v>678.86300858730192</c:v>
                </c:pt>
                <c:pt idx="259">
                  <c:v>894.88218592873875</c:v>
                </c:pt>
                <c:pt idx="260">
                  <c:v>856.42360465956926</c:v>
                </c:pt>
                <c:pt idx="261">
                  <c:v>710.32958248323314</c:v>
                </c:pt>
                <c:pt idx="262">
                  <c:v>707.59229574222491</c:v>
                </c:pt>
                <c:pt idx="263">
                  <c:v>739.63351675175613</c:v>
                </c:pt>
                <c:pt idx="264">
                  <c:v>697.85169806780482</c:v>
                </c:pt>
                <c:pt idx="265">
                  <c:v>654.64563310752862</c:v>
                </c:pt>
                <c:pt idx="266">
                  <c:v>672.86130055012677</c:v>
                </c:pt>
                <c:pt idx="267">
                  <c:v>709.75949176362849</c:v>
                </c:pt>
                <c:pt idx="268">
                  <c:v>634.90396163894798</c:v>
                </c:pt>
                <c:pt idx="269">
                  <c:v>653.52921877547874</c:v>
                </c:pt>
                <c:pt idx="270">
                  <c:v>660.92107774066199</c:v>
                </c:pt>
                <c:pt idx="271">
                  <c:v>675.44722315050694</c:v>
                </c:pt>
                <c:pt idx="272">
                  <c:v>649.2542952634567</c:v>
                </c:pt>
                <c:pt idx="273">
                  <c:v>637.37805795348049</c:v>
                </c:pt>
                <c:pt idx="274">
                  <c:v>650.49958806320308</c:v>
                </c:pt>
                <c:pt idx="275">
                  <c:v>663.48346621210658</c:v>
                </c:pt>
                <c:pt idx="276">
                  <c:v>651.23209109427535</c:v>
                </c:pt>
                <c:pt idx="277">
                  <c:v>659.66671311373625</c:v>
                </c:pt>
                <c:pt idx="278">
                  <c:v>686.97736317562533</c:v>
                </c:pt>
                <c:pt idx="279">
                  <c:v>650.13753060812439</c:v>
                </c:pt>
                <c:pt idx="280">
                  <c:v>630.05500784369497</c:v>
                </c:pt>
                <c:pt idx="281">
                  <c:v>640.1823016411098</c:v>
                </c:pt>
                <c:pt idx="282">
                  <c:v>633.44658651945213</c:v>
                </c:pt>
                <c:pt idx="283">
                  <c:v>631.93600543589571</c:v>
                </c:pt>
                <c:pt idx="284">
                  <c:v>630.54867615316925</c:v>
                </c:pt>
                <c:pt idx="285">
                  <c:v>637.66387559303519</c:v>
                </c:pt>
                <c:pt idx="286">
                  <c:v>634.68354931299461</c:v>
                </c:pt>
                <c:pt idx="287">
                  <c:v>642.05518742555648</c:v>
                </c:pt>
                <c:pt idx="288">
                  <c:v>651.94390601452233</c:v>
                </c:pt>
                <c:pt idx="289">
                  <c:v>651.25928601394389</c:v>
                </c:pt>
                <c:pt idx="290">
                  <c:v>650.91610376053757</c:v>
                </c:pt>
                <c:pt idx="291">
                  <c:v>697.72303476133857</c:v>
                </c:pt>
                <c:pt idx="292">
                  <c:v>668.77103159935609</c:v>
                </c:pt>
                <c:pt idx="293">
                  <c:v>660.83855405537327</c:v>
                </c:pt>
                <c:pt idx="294">
                  <c:v>654.06881596209178</c:v>
                </c:pt>
                <c:pt idx="295">
                  <c:v>662.87162720261063</c:v>
                </c:pt>
                <c:pt idx="296">
                  <c:v>661.58360805851703</c:v>
                </c:pt>
                <c:pt idx="297">
                  <c:v>674.08173457444968</c:v>
                </c:pt>
                <c:pt idx="298">
                  <c:v>646.21537255496685</c:v>
                </c:pt>
                <c:pt idx="299">
                  <c:v>679.46005238493603</c:v>
                </c:pt>
                <c:pt idx="300">
                  <c:v>686.68625635698299</c:v>
                </c:pt>
                <c:pt idx="301">
                  <c:v>671.90600282687103</c:v>
                </c:pt>
                <c:pt idx="302">
                  <c:v>651.09255572886593</c:v>
                </c:pt>
                <c:pt idx="303">
                  <c:v>638.94559044865628</c:v>
                </c:pt>
                <c:pt idx="304">
                  <c:v>653.43749693382244</c:v>
                </c:pt>
                <c:pt idx="305">
                  <c:v>637.9118555061234</c:v>
                </c:pt>
                <c:pt idx="306">
                  <c:v>643.4777086872391</c:v>
                </c:pt>
                <c:pt idx="307">
                  <c:v>645.76304378820157</c:v>
                </c:pt>
                <c:pt idx="308">
                  <c:v>654.40119748705774</c:v>
                </c:pt>
                <c:pt idx="309">
                  <c:v>654.77676309733454</c:v>
                </c:pt>
                <c:pt idx="310">
                  <c:v>642.8578604705076</c:v>
                </c:pt>
                <c:pt idx="311">
                  <c:v>642.3971267990986</c:v>
                </c:pt>
                <c:pt idx="312">
                  <c:v>653.62723110420688</c:v>
                </c:pt>
                <c:pt idx="313">
                  <c:v>657.42888173333972</c:v>
                </c:pt>
                <c:pt idx="314">
                  <c:v>662.62434489856082</c:v>
                </c:pt>
                <c:pt idx="315">
                  <c:v>647.86094946601554</c:v>
                </c:pt>
                <c:pt idx="316">
                  <c:v>660.67891018098726</c:v>
                </c:pt>
                <c:pt idx="317">
                  <c:v>663.62202378115069</c:v>
                </c:pt>
                <c:pt idx="318">
                  <c:v>648.94076166140792</c:v>
                </c:pt>
                <c:pt idx="319">
                  <c:v>641.09228554261074</c:v>
                </c:pt>
                <c:pt idx="320">
                  <c:v>649.35116115196911</c:v>
                </c:pt>
                <c:pt idx="321">
                  <c:v>647.83433090734013</c:v>
                </c:pt>
                <c:pt idx="322">
                  <c:v>648.16040409691993</c:v>
                </c:pt>
                <c:pt idx="323">
                  <c:v>652.04562267486119</c:v>
                </c:pt>
                <c:pt idx="324">
                  <c:v>642.23907522674801</c:v>
                </c:pt>
                <c:pt idx="325">
                  <c:v>639.79995763166949</c:v>
                </c:pt>
                <c:pt idx="326">
                  <c:v>631.68646672105285</c:v>
                </c:pt>
                <c:pt idx="327">
                  <c:v>634.88958530944876</c:v>
                </c:pt>
                <c:pt idx="328">
                  <c:v>631.23088829103472</c:v>
                </c:pt>
                <c:pt idx="329">
                  <c:v>639.73738142978937</c:v>
                </c:pt>
                <c:pt idx="330">
                  <c:v>640.52566472499814</c:v>
                </c:pt>
                <c:pt idx="331">
                  <c:v>648.04876896061944</c:v>
                </c:pt>
                <c:pt idx="332">
                  <c:v>647.84593781998171</c:v>
                </c:pt>
                <c:pt idx="333">
                  <c:v>642.23773343597225</c:v>
                </c:pt>
                <c:pt idx="334">
                  <c:v>758.60433332250057</c:v>
                </c:pt>
                <c:pt idx="335">
                  <c:v>737.99426839161424</c:v>
                </c:pt>
                <c:pt idx="336">
                  <c:v>652.21612085092931</c:v>
                </c:pt>
                <c:pt idx="337">
                  <c:v>638.41484854960163</c:v>
                </c:pt>
                <c:pt idx="338">
                  <c:v>637.1935148217184</c:v>
                </c:pt>
                <c:pt idx="339">
                  <c:v>630.80148743363998</c:v>
                </c:pt>
                <c:pt idx="340">
                  <c:v>628.93795840116934</c:v>
                </c:pt>
                <c:pt idx="341">
                  <c:v>622.96613787876993</c:v>
                </c:pt>
                <c:pt idx="342">
                  <c:v>627.8534464427363</c:v>
                </c:pt>
                <c:pt idx="343">
                  <c:v>632.87787083109356</c:v>
                </c:pt>
                <c:pt idx="344">
                  <c:v>635.45316328963463</c:v>
                </c:pt>
                <c:pt idx="345">
                  <c:v>640.09069639160259</c:v>
                </c:pt>
                <c:pt idx="346">
                  <c:v>635.29097467074905</c:v>
                </c:pt>
                <c:pt idx="347">
                  <c:v>629.35782472002927</c:v>
                </c:pt>
                <c:pt idx="348">
                  <c:v>636.36251211400042</c:v>
                </c:pt>
                <c:pt idx="349">
                  <c:v>633.76743870825987</c:v>
                </c:pt>
                <c:pt idx="350">
                  <c:v>636.2192778361773</c:v>
                </c:pt>
                <c:pt idx="351">
                  <c:v>624.10549869746603</c:v>
                </c:pt>
                <c:pt idx="352">
                  <c:v>635.48321089705041</c:v>
                </c:pt>
                <c:pt idx="353">
                  <c:v>638.97656144089524</c:v>
                </c:pt>
                <c:pt idx="354">
                  <c:v>638.28598536885238</c:v>
                </c:pt>
                <c:pt idx="355">
                  <c:v>636.51997506898556</c:v>
                </c:pt>
                <c:pt idx="356">
                  <c:v>684.91108754387938</c:v>
                </c:pt>
                <c:pt idx="357">
                  <c:v>654.98633490139321</c:v>
                </c:pt>
                <c:pt idx="358">
                  <c:v>631.27703745600638</c:v>
                </c:pt>
                <c:pt idx="359">
                  <c:v>636.3794482059152</c:v>
                </c:pt>
                <c:pt idx="360">
                  <c:v>630.67098085061366</c:v>
                </c:pt>
                <c:pt idx="361">
                  <c:v>632.0262541061312</c:v>
                </c:pt>
                <c:pt idx="362">
                  <c:v>634.11540602889374</c:v>
                </c:pt>
                <c:pt idx="363">
                  <c:v>724.87365059427179</c:v>
                </c:pt>
                <c:pt idx="364">
                  <c:v>913.71948615034228</c:v>
                </c:pt>
                <c:pt idx="365">
                  <c:v>864.71845565776198</c:v>
                </c:pt>
                <c:pt idx="366">
                  <c:v>629.66804582324562</c:v>
                </c:pt>
                <c:pt idx="367">
                  <c:v>634.95603487613687</c:v>
                </c:pt>
                <c:pt idx="368">
                  <c:v>623.46981229834751</c:v>
                </c:pt>
                <c:pt idx="369">
                  <c:v>621.33664391589241</c:v>
                </c:pt>
                <c:pt idx="370">
                  <c:v>615.71458413329594</c:v>
                </c:pt>
                <c:pt idx="371">
                  <c:v>619.43048479649326</c:v>
                </c:pt>
                <c:pt idx="372">
                  <c:v>615.44704542249042</c:v>
                </c:pt>
                <c:pt idx="373">
                  <c:v>623.88792738248037</c:v>
                </c:pt>
                <c:pt idx="374">
                  <c:v>625.22645971420252</c:v>
                </c:pt>
                <c:pt idx="375">
                  <c:v>644.75992140093285</c:v>
                </c:pt>
                <c:pt idx="376">
                  <c:v>633.51967836344761</c:v>
                </c:pt>
                <c:pt idx="377">
                  <c:v>629.66715142273097</c:v>
                </c:pt>
                <c:pt idx="378">
                  <c:v>627.22374046018467</c:v>
                </c:pt>
                <c:pt idx="379">
                  <c:v>628.87946698833719</c:v>
                </c:pt>
                <c:pt idx="380">
                  <c:v>620.56528983339467</c:v>
                </c:pt>
                <c:pt idx="381">
                  <c:v>613.30341178206311</c:v>
                </c:pt>
                <c:pt idx="382">
                  <c:v>622.44936034198122</c:v>
                </c:pt>
                <c:pt idx="383">
                  <c:v>631.28637547682399</c:v>
                </c:pt>
                <c:pt idx="384">
                  <c:v>630.98815182576629</c:v>
                </c:pt>
                <c:pt idx="385">
                  <c:v>625.25343946860903</c:v>
                </c:pt>
                <c:pt idx="386">
                  <c:v>626.12283369193017</c:v>
                </c:pt>
                <c:pt idx="387">
                  <c:v>629.41914564058879</c:v>
                </c:pt>
                <c:pt idx="388">
                  <c:v>629.76154134682884</c:v>
                </c:pt>
                <c:pt idx="389">
                  <c:v>629.62344284960909</c:v>
                </c:pt>
                <c:pt idx="390">
                  <c:v>625.56086499627042</c:v>
                </c:pt>
                <c:pt idx="391">
                  <c:v>618.97012634947521</c:v>
                </c:pt>
                <c:pt idx="392">
                  <c:v>624.39864918374155</c:v>
                </c:pt>
                <c:pt idx="393">
                  <c:v>620.96702390766382</c:v>
                </c:pt>
                <c:pt idx="394">
                  <c:v>622.25713973862105</c:v>
                </c:pt>
                <c:pt idx="395">
                  <c:v>625.65220365520543</c:v>
                </c:pt>
                <c:pt idx="396">
                  <c:v>633.81876553241318</c:v>
                </c:pt>
                <c:pt idx="397">
                  <c:v>623.91967569890301</c:v>
                </c:pt>
                <c:pt idx="398">
                  <c:v>632.89539565713312</c:v>
                </c:pt>
                <c:pt idx="399">
                  <c:v>626.85254372412044</c:v>
                </c:pt>
                <c:pt idx="400">
                  <c:v>637.31725434998111</c:v>
                </c:pt>
                <c:pt idx="401">
                  <c:v>631.42855829197072</c:v>
                </c:pt>
                <c:pt idx="402">
                  <c:v>640.01782818390438</c:v>
                </c:pt>
                <c:pt idx="403">
                  <c:v>639.72186494881589</c:v>
                </c:pt>
                <c:pt idx="404">
                  <c:v>640.35035192703356</c:v>
                </c:pt>
                <c:pt idx="405">
                  <c:v>644.26299509916464</c:v>
                </c:pt>
                <c:pt idx="406">
                  <c:v>629.7130779596647</c:v>
                </c:pt>
                <c:pt idx="407">
                  <c:v>630.68386707896343</c:v>
                </c:pt>
                <c:pt idx="408">
                  <c:v>644.71324015192999</c:v>
                </c:pt>
                <c:pt idx="409">
                  <c:v>630.13869025875545</c:v>
                </c:pt>
                <c:pt idx="410">
                  <c:v>634.32598491970941</c:v>
                </c:pt>
                <c:pt idx="411">
                  <c:v>625.79326343549053</c:v>
                </c:pt>
                <c:pt idx="412">
                  <c:v>635.52166971464624</c:v>
                </c:pt>
                <c:pt idx="413">
                  <c:v>629.8666552551033</c:v>
                </c:pt>
                <c:pt idx="414">
                  <c:v>630.10523901702209</c:v>
                </c:pt>
                <c:pt idx="415">
                  <c:v>641.11908514445508</c:v>
                </c:pt>
                <c:pt idx="416">
                  <c:v>647.08528468696716</c:v>
                </c:pt>
                <c:pt idx="417">
                  <c:v>635.30229618832038</c:v>
                </c:pt>
                <c:pt idx="418">
                  <c:v>623.74226691483523</c:v>
                </c:pt>
                <c:pt idx="419">
                  <c:v>639.07449011698611</c:v>
                </c:pt>
                <c:pt idx="420">
                  <c:v>639.13774764667789</c:v>
                </c:pt>
                <c:pt idx="421">
                  <c:v>639.30643784022129</c:v>
                </c:pt>
                <c:pt idx="422">
                  <c:v>648.93419387121128</c:v>
                </c:pt>
                <c:pt idx="423">
                  <c:v>644.14886673118485</c:v>
                </c:pt>
                <c:pt idx="424">
                  <c:v>637.57735125851252</c:v>
                </c:pt>
                <c:pt idx="425">
                  <c:v>648.2421424759026</c:v>
                </c:pt>
                <c:pt idx="426">
                  <c:v>634.85750762244356</c:v>
                </c:pt>
                <c:pt idx="427">
                  <c:v>626.99112111756074</c:v>
                </c:pt>
                <c:pt idx="428">
                  <c:v>627.20425403413731</c:v>
                </c:pt>
                <c:pt idx="429">
                  <c:v>639.2509079190271</c:v>
                </c:pt>
                <c:pt idx="430">
                  <c:v>636.1118570065903</c:v>
                </c:pt>
                <c:pt idx="431">
                  <c:v>636.05922984179222</c:v>
                </c:pt>
                <c:pt idx="432">
                  <c:v>625.0791642671154</c:v>
                </c:pt>
                <c:pt idx="433">
                  <c:v>636.43918097927656</c:v>
                </c:pt>
                <c:pt idx="434">
                  <c:v>636.78134088189984</c:v>
                </c:pt>
                <c:pt idx="435">
                  <c:v>632.29542974655374</c:v>
                </c:pt>
                <c:pt idx="436">
                  <c:v>637.42184141481289</c:v>
                </c:pt>
                <c:pt idx="437">
                  <c:v>641.98076796774137</c:v>
                </c:pt>
                <c:pt idx="438">
                  <c:v>644.10266201930426</c:v>
                </c:pt>
                <c:pt idx="439">
                  <c:v>649.67080824742357</c:v>
                </c:pt>
                <c:pt idx="440">
                  <c:v>635.36684747289303</c:v>
                </c:pt>
                <c:pt idx="441">
                  <c:v>656.52542998010654</c:v>
                </c:pt>
                <c:pt idx="442">
                  <c:v>633.99731513093218</c:v>
                </c:pt>
                <c:pt idx="443">
                  <c:v>637.96877342886319</c:v>
                </c:pt>
                <c:pt idx="444">
                  <c:v>633.78148842810822</c:v>
                </c:pt>
                <c:pt idx="445">
                  <c:v>627.03228712613009</c:v>
                </c:pt>
                <c:pt idx="446">
                  <c:v>630.60152536028465</c:v>
                </c:pt>
                <c:pt idx="447">
                  <c:v>637.93431492649802</c:v>
                </c:pt>
                <c:pt idx="448">
                  <c:v>644.09634538249611</c:v>
                </c:pt>
                <c:pt idx="449">
                  <c:v>650.05982399999345</c:v>
                </c:pt>
                <c:pt idx="450">
                  <c:v>636.00092932297343</c:v>
                </c:pt>
                <c:pt idx="451">
                  <c:v>633.18405623098852</c:v>
                </c:pt>
                <c:pt idx="452">
                  <c:v>624.38028232392571</c:v>
                </c:pt>
                <c:pt idx="453">
                  <c:v>638.96672281974918</c:v>
                </c:pt>
                <c:pt idx="454">
                  <c:v>634.54371453939882</c:v>
                </c:pt>
                <c:pt idx="455">
                  <c:v>621.95676500198908</c:v>
                </c:pt>
                <c:pt idx="456">
                  <c:v>633.3190515031597</c:v>
                </c:pt>
                <c:pt idx="457">
                  <c:v>654.02845751153063</c:v>
                </c:pt>
                <c:pt idx="458">
                  <c:v>632.86187791438726</c:v>
                </c:pt>
                <c:pt idx="459">
                  <c:v>640.36998554495835</c:v>
                </c:pt>
                <c:pt idx="460">
                  <c:v>629.36472018872087</c:v>
                </c:pt>
                <c:pt idx="461">
                  <c:v>634.80695922346604</c:v>
                </c:pt>
                <c:pt idx="462">
                  <c:v>625.93219091766309</c:v>
                </c:pt>
                <c:pt idx="463">
                  <c:v>618.66181885323647</c:v>
                </c:pt>
                <c:pt idx="464">
                  <c:v>625.82901119111796</c:v>
                </c:pt>
                <c:pt idx="465">
                  <c:v>624.25302378489368</c:v>
                </c:pt>
                <c:pt idx="466">
                  <c:v>639.55706581944537</c:v>
                </c:pt>
                <c:pt idx="467">
                  <c:v>811.06651274502428</c:v>
                </c:pt>
                <c:pt idx="468">
                  <c:v>1056.4586067330986</c:v>
                </c:pt>
                <c:pt idx="469">
                  <c:v>639.8031674767866</c:v>
                </c:pt>
                <c:pt idx="470">
                  <c:v>636.72102210454091</c:v>
                </c:pt>
                <c:pt idx="471">
                  <c:v>629.62149056647843</c:v>
                </c:pt>
                <c:pt idx="472">
                  <c:v>637.30905859707207</c:v>
                </c:pt>
                <c:pt idx="473">
                  <c:v>636.01776953777437</c:v>
                </c:pt>
                <c:pt idx="474">
                  <c:v>634.5252496001109</c:v>
                </c:pt>
                <c:pt idx="475">
                  <c:v>642.66510897280716</c:v>
                </c:pt>
                <c:pt idx="476">
                  <c:v>641.41598858932298</c:v>
                </c:pt>
                <c:pt idx="477">
                  <c:v>645.5409021594171</c:v>
                </c:pt>
                <c:pt idx="478">
                  <c:v>632.60065102204021</c:v>
                </c:pt>
                <c:pt idx="479">
                  <c:v>637.14836092507937</c:v>
                </c:pt>
                <c:pt idx="480">
                  <c:v>650.45653008403974</c:v>
                </c:pt>
                <c:pt idx="481">
                  <c:v>659.20219267320499</c:v>
                </c:pt>
                <c:pt idx="482">
                  <c:v>660.40421137183637</c:v>
                </c:pt>
                <c:pt idx="483">
                  <c:v>663.43157585821768</c:v>
                </c:pt>
                <c:pt idx="484">
                  <c:v>649.78070173977744</c:v>
                </c:pt>
                <c:pt idx="485">
                  <c:v>653.34828512685453</c:v>
                </c:pt>
                <c:pt idx="486">
                  <c:v>633.23395185151571</c:v>
                </c:pt>
                <c:pt idx="487">
                  <c:v>648.5117247049393</c:v>
                </c:pt>
                <c:pt idx="488">
                  <c:v>642.20504802840026</c:v>
                </c:pt>
                <c:pt idx="489">
                  <c:v>643.87883949443949</c:v>
                </c:pt>
                <c:pt idx="490">
                  <c:v>640.99439206672605</c:v>
                </c:pt>
                <c:pt idx="491">
                  <c:v>634.75320108826577</c:v>
                </c:pt>
                <c:pt idx="492">
                  <c:v>679.2506902197498</c:v>
                </c:pt>
                <c:pt idx="493">
                  <c:v>886.31798964149368</c:v>
                </c:pt>
                <c:pt idx="494">
                  <c:v>976.71009101406605</c:v>
                </c:pt>
                <c:pt idx="495">
                  <c:v>1172.2222409006183</c:v>
                </c:pt>
                <c:pt idx="496">
                  <c:v>1207.0167680667305</c:v>
                </c:pt>
                <c:pt idx="497">
                  <c:v>0</c:v>
                </c:pt>
                <c:pt idx="498">
                  <c:v>0</c:v>
                </c:pt>
                <c:pt idx="499">
                  <c:v>636.67173709633448</c:v>
                </c:pt>
                <c:pt idx="500">
                  <c:v>630.16637942907334</c:v>
                </c:pt>
                <c:pt idx="501">
                  <c:v>634.8194973051518</c:v>
                </c:pt>
                <c:pt idx="502">
                  <c:v>638.46316060639754</c:v>
                </c:pt>
                <c:pt idx="503">
                  <c:v>628.58210875461305</c:v>
                </c:pt>
                <c:pt idx="504">
                  <c:v>646.68964272716141</c:v>
                </c:pt>
                <c:pt idx="505">
                  <c:v>625.80620579895617</c:v>
                </c:pt>
                <c:pt idx="506">
                  <c:v>811.64736025875709</c:v>
                </c:pt>
                <c:pt idx="507">
                  <c:v>640.67036302370536</c:v>
                </c:pt>
                <c:pt idx="508">
                  <c:v>647.24839390503303</c:v>
                </c:pt>
                <c:pt idx="509">
                  <c:v>624.9969083359299</c:v>
                </c:pt>
                <c:pt idx="510">
                  <c:v>621.5031425990137</c:v>
                </c:pt>
                <c:pt idx="511">
                  <c:v>631.93551449459119</c:v>
                </c:pt>
                <c:pt idx="512">
                  <c:v>642.30140410802426</c:v>
                </c:pt>
                <c:pt idx="513">
                  <c:v>633.11978984538598</c:v>
                </c:pt>
                <c:pt idx="514">
                  <c:v>634.36246053600473</c:v>
                </c:pt>
                <c:pt idx="515">
                  <c:v>636.16453656020462</c:v>
                </c:pt>
                <c:pt idx="516">
                  <c:v>629.66534517558728</c:v>
                </c:pt>
                <c:pt idx="517">
                  <c:v>629.67438631324183</c:v>
                </c:pt>
                <c:pt idx="518">
                  <c:v>636.40028169372545</c:v>
                </c:pt>
                <c:pt idx="519">
                  <c:v>628.84501609077108</c:v>
                </c:pt>
                <c:pt idx="520">
                  <c:v>631.46973421976816</c:v>
                </c:pt>
                <c:pt idx="521">
                  <c:v>621.95528386126739</c:v>
                </c:pt>
                <c:pt idx="522">
                  <c:v>630.55023538486125</c:v>
                </c:pt>
                <c:pt idx="523">
                  <c:v>631.72597603892461</c:v>
                </c:pt>
                <c:pt idx="524">
                  <c:v>638.59697565680881</c:v>
                </c:pt>
                <c:pt idx="525">
                  <c:v>640.64738441383736</c:v>
                </c:pt>
                <c:pt idx="526">
                  <c:v>642.13488956652247</c:v>
                </c:pt>
                <c:pt idx="527">
                  <c:v>666.55614432146911</c:v>
                </c:pt>
                <c:pt idx="528">
                  <c:v>648.20942333807079</c:v>
                </c:pt>
                <c:pt idx="529">
                  <c:v>654.57038138379005</c:v>
                </c:pt>
                <c:pt idx="530">
                  <c:v>651.11854680355725</c:v>
                </c:pt>
                <c:pt idx="531">
                  <c:v>653.65269461077844</c:v>
                </c:pt>
                <c:pt idx="532">
                  <c:v>652.00627861736143</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715.19738206676607</c:v>
                </c:pt>
                <c:pt idx="543">
                  <c:v>684.94197442265147</c:v>
                </c:pt>
                <c:pt idx="544">
                  <c:v>711.83071298596531</c:v>
                </c:pt>
                <c:pt idx="545">
                  <c:v>657.30067741039602</c:v>
                </c:pt>
                <c:pt idx="546">
                  <c:v>653.48691283906373</c:v>
                </c:pt>
                <c:pt idx="547">
                  <c:v>652.39814030438038</c:v>
                </c:pt>
                <c:pt idx="548">
                  <c:v>634.53641684726324</c:v>
                </c:pt>
                <c:pt idx="549">
                  <c:v>648.73937517374884</c:v>
                </c:pt>
                <c:pt idx="550">
                  <c:v>639.62956482822676</c:v>
                </c:pt>
                <c:pt idx="551">
                  <c:v>625.05971230816817</c:v>
                </c:pt>
                <c:pt idx="552">
                  <c:v>634.77795136327927</c:v>
                </c:pt>
                <c:pt idx="553">
                  <c:v>637.90655233063126</c:v>
                </c:pt>
                <c:pt idx="554">
                  <c:v>631.66149188505153</c:v>
                </c:pt>
                <c:pt idx="555">
                  <c:v>647.1636677566737</c:v>
                </c:pt>
                <c:pt idx="556">
                  <c:v>642.7266379350948</c:v>
                </c:pt>
                <c:pt idx="557">
                  <c:v>638.70523348421113</c:v>
                </c:pt>
                <c:pt idx="558">
                  <c:v>632.37210997868124</c:v>
                </c:pt>
                <c:pt idx="559">
                  <c:v>629.0121989569268</c:v>
                </c:pt>
                <c:pt idx="560">
                  <c:v>638.43878377892122</c:v>
                </c:pt>
                <c:pt idx="561">
                  <c:v>638.9857825073932</c:v>
                </c:pt>
                <c:pt idx="562">
                  <c:v>655.27959087979309</c:v>
                </c:pt>
                <c:pt idx="563">
                  <c:v>630.56425913940893</c:v>
                </c:pt>
                <c:pt idx="564">
                  <c:v>664.62545748874152</c:v>
                </c:pt>
                <c:pt idx="565">
                  <c:v>648.94571962144391</c:v>
                </c:pt>
                <c:pt idx="566">
                  <c:v>629.61200173568579</c:v>
                </c:pt>
                <c:pt idx="567">
                  <c:v>640.55148170921723</c:v>
                </c:pt>
                <c:pt idx="568">
                  <c:v>691.27126521618561</c:v>
                </c:pt>
                <c:pt idx="569">
                  <c:v>682.45562231920803</c:v>
                </c:pt>
                <c:pt idx="570">
                  <c:v>853.12366935921239</c:v>
                </c:pt>
                <c:pt idx="571">
                  <c:v>723.19199540603734</c:v>
                </c:pt>
                <c:pt idx="572">
                  <c:v>734.50637193673799</c:v>
                </c:pt>
                <c:pt idx="573">
                  <c:v>673.64153684308042</c:v>
                </c:pt>
                <c:pt idx="574">
                  <c:v>657.02606251614566</c:v>
                </c:pt>
                <c:pt idx="575">
                  <c:v>629.03948343204104</c:v>
                </c:pt>
                <c:pt idx="576">
                  <c:v>643.20019842889906</c:v>
                </c:pt>
                <c:pt idx="577">
                  <c:v>645.43385463452387</c:v>
                </c:pt>
                <c:pt idx="578">
                  <c:v>626.79242968996266</c:v>
                </c:pt>
                <c:pt idx="579">
                  <c:v>644.38502376147562</c:v>
                </c:pt>
                <c:pt idx="580">
                  <c:v>665.47573030739704</c:v>
                </c:pt>
                <c:pt idx="581">
                  <c:v>682.89127914114738</c:v>
                </c:pt>
                <c:pt idx="582">
                  <c:v>635.90134324196458</c:v>
                </c:pt>
                <c:pt idx="583">
                  <c:v>627.05780071593495</c:v>
                </c:pt>
                <c:pt idx="584">
                  <c:v>650.44489738411289</c:v>
                </c:pt>
                <c:pt idx="585">
                  <c:v>664.70646335381844</c:v>
                </c:pt>
                <c:pt idx="586">
                  <c:v>692.23329803394154</c:v>
                </c:pt>
                <c:pt idx="587">
                  <c:v>655.5326863874551</c:v>
                </c:pt>
                <c:pt idx="588">
                  <c:v>647.26622980838329</c:v>
                </c:pt>
                <c:pt idx="589">
                  <c:v>651.73587746264025</c:v>
                </c:pt>
                <c:pt idx="590">
                  <c:v>653.49968021509369</c:v>
                </c:pt>
                <c:pt idx="591">
                  <c:v>652.01387799941165</c:v>
                </c:pt>
                <c:pt idx="592">
                  <c:v>651.88078916170946</c:v>
                </c:pt>
                <c:pt idx="593">
                  <c:v>648.32267610962333</c:v>
                </c:pt>
                <c:pt idx="594">
                  <c:v>628.45633789635724</c:v>
                </c:pt>
                <c:pt idx="595">
                  <c:v>636.9054104068739</c:v>
                </c:pt>
                <c:pt idx="596">
                  <c:v>637.56867056480598</c:v>
                </c:pt>
                <c:pt idx="597">
                  <c:v>640.49374131020716</c:v>
                </c:pt>
                <c:pt idx="598">
                  <c:v>643.8745642295612</c:v>
                </c:pt>
                <c:pt idx="599">
                  <c:v>654.40600826896809</c:v>
                </c:pt>
                <c:pt idx="600">
                  <c:v>664.48761283362262</c:v>
                </c:pt>
                <c:pt idx="601">
                  <c:v>680.59277192306638</c:v>
                </c:pt>
                <c:pt idx="602">
                  <c:v>644.59449497063508</c:v>
                </c:pt>
                <c:pt idx="603">
                  <c:v>662.70028527149373</c:v>
                </c:pt>
                <c:pt idx="604">
                  <c:v>655.96421653234472</c:v>
                </c:pt>
                <c:pt idx="605">
                  <c:v>630.66381435215226</c:v>
                </c:pt>
                <c:pt idx="606">
                  <c:v>633.68355672693235</c:v>
                </c:pt>
                <c:pt idx="607">
                  <c:v>716.70270660108872</c:v>
                </c:pt>
                <c:pt idx="608">
                  <c:v>639.78039349163134</c:v>
                </c:pt>
                <c:pt idx="609">
                  <c:v>640.24386883970681</c:v>
                </c:pt>
                <c:pt idx="610">
                  <c:v>667.69981806174212</c:v>
                </c:pt>
                <c:pt idx="611">
                  <c:v>644.04057027964495</c:v>
                </c:pt>
                <c:pt idx="612">
                  <c:v>644.65626328836743</c:v>
                </c:pt>
                <c:pt idx="613">
                  <c:v>637.87536833300942</c:v>
                </c:pt>
                <c:pt idx="614">
                  <c:v>629.96558164830901</c:v>
                </c:pt>
                <c:pt idx="615">
                  <c:v>645.95479927898043</c:v>
                </c:pt>
                <c:pt idx="616">
                  <c:v>653.77036805692035</c:v>
                </c:pt>
                <c:pt idx="617">
                  <c:v>666.91584782465225</c:v>
                </c:pt>
                <c:pt idx="618">
                  <c:v>635.53980104452455</c:v>
                </c:pt>
                <c:pt idx="619">
                  <c:v>639.88500851262472</c:v>
                </c:pt>
                <c:pt idx="620">
                  <c:v>634.42276950581311</c:v>
                </c:pt>
                <c:pt idx="621">
                  <c:v>683.0887265384157</c:v>
                </c:pt>
                <c:pt idx="622">
                  <c:v>652.32652083968685</c:v>
                </c:pt>
                <c:pt idx="623">
                  <c:v>690.39637797786497</c:v>
                </c:pt>
                <c:pt idx="624">
                  <c:v>685.98244520258595</c:v>
                </c:pt>
                <c:pt idx="625">
                  <c:v>754.4142716719499</c:v>
                </c:pt>
                <c:pt idx="626">
                  <c:v>786.71512737342323</c:v>
                </c:pt>
                <c:pt idx="627">
                  <c:v>798.77778844915792</c:v>
                </c:pt>
                <c:pt idx="628">
                  <c:v>810.32217828775697</c:v>
                </c:pt>
                <c:pt idx="629">
                  <c:v>704.67901363892008</c:v>
                </c:pt>
                <c:pt idx="630">
                  <c:v>661.89458027743319</c:v>
                </c:pt>
                <c:pt idx="631">
                  <c:v>654.86592375433668</c:v>
                </c:pt>
                <c:pt idx="632">
                  <c:v>637.46438210177723</c:v>
                </c:pt>
                <c:pt idx="633">
                  <c:v>640.42760693668049</c:v>
                </c:pt>
                <c:pt idx="634">
                  <c:v>627.52732744551281</c:v>
                </c:pt>
                <c:pt idx="635">
                  <c:v>643.63120700815102</c:v>
                </c:pt>
                <c:pt idx="636">
                  <c:v>652.69655705155549</c:v>
                </c:pt>
                <c:pt idx="637">
                  <c:v>646.16171593250226</c:v>
                </c:pt>
                <c:pt idx="638">
                  <c:v>665.18550997315447</c:v>
                </c:pt>
                <c:pt idx="639">
                  <c:v>758.74730170434611</c:v>
                </c:pt>
                <c:pt idx="640">
                  <c:v>822.44831436652532</c:v>
                </c:pt>
                <c:pt idx="641">
                  <c:v>1261.0911769349004</c:v>
                </c:pt>
                <c:pt idx="642">
                  <c:v>0</c:v>
                </c:pt>
                <c:pt idx="643">
                  <c:v>828.08171567042245</c:v>
                </c:pt>
                <c:pt idx="644">
                  <c:v>707.58788258168443</c:v>
                </c:pt>
                <c:pt idx="645">
                  <c:v>687.61878066923077</c:v>
                </c:pt>
                <c:pt idx="646">
                  <c:v>687.91637222826239</c:v>
                </c:pt>
                <c:pt idx="647">
                  <c:v>683.43988500072032</c:v>
                </c:pt>
                <c:pt idx="648">
                  <c:v>689.03529414439129</c:v>
                </c:pt>
                <c:pt idx="649">
                  <c:v>657.71217533382037</c:v>
                </c:pt>
                <c:pt idx="650">
                  <c:v>676.2278958381354</c:v>
                </c:pt>
                <c:pt idx="651">
                  <c:v>652.95804292859066</c:v>
                </c:pt>
                <c:pt idx="652">
                  <c:v>652.61129464931571</c:v>
                </c:pt>
                <c:pt idx="653">
                  <c:v>642.46657746610867</c:v>
                </c:pt>
                <c:pt idx="654">
                  <c:v>639.5261080886047</c:v>
                </c:pt>
                <c:pt idx="655">
                  <c:v>746.27092881457975</c:v>
                </c:pt>
                <c:pt idx="656">
                  <c:v>652.74883608855976</c:v>
                </c:pt>
                <c:pt idx="657">
                  <c:v>653.93188881424862</c:v>
                </c:pt>
                <c:pt idx="658">
                  <c:v>641.57764335932359</c:v>
                </c:pt>
                <c:pt idx="659">
                  <c:v>667.07103711908883</c:v>
                </c:pt>
                <c:pt idx="660">
                  <c:v>635.74087443314033</c:v>
                </c:pt>
                <c:pt idx="661">
                  <c:v>659.33677284052976</c:v>
                </c:pt>
                <c:pt idx="662">
                  <c:v>628.71288680353143</c:v>
                </c:pt>
                <c:pt idx="663">
                  <c:v>632.1854901677325</c:v>
                </c:pt>
                <c:pt idx="664">
                  <c:v>632.85537156823489</c:v>
                </c:pt>
                <c:pt idx="665">
                  <c:v>626.83406989959269</c:v>
                </c:pt>
                <c:pt idx="666">
                  <c:v>650.83463480543901</c:v>
                </c:pt>
                <c:pt idx="667">
                  <c:v>646.53783166891128</c:v>
                </c:pt>
                <c:pt idx="668">
                  <c:v>646.06434369842884</c:v>
                </c:pt>
                <c:pt idx="669">
                  <c:v>674.86017720906659</c:v>
                </c:pt>
                <c:pt idx="670">
                  <c:v>615.378454243904</c:v>
                </c:pt>
                <c:pt idx="671">
                  <c:v>645.24024064891</c:v>
                </c:pt>
                <c:pt idx="672">
                  <c:v>637.00165996054886</c:v>
                </c:pt>
                <c:pt idx="673">
                  <c:v>632.13083239462105</c:v>
                </c:pt>
                <c:pt idx="674">
                  <c:v>643.15535693603499</c:v>
                </c:pt>
                <c:pt idx="675">
                  <c:v>635.17226950327392</c:v>
                </c:pt>
                <c:pt idx="676">
                  <c:v>639.38234749970252</c:v>
                </c:pt>
                <c:pt idx="677">
                  <c:v>643.62360948252751</c:v>
                </c:pt>
                <c:pt idx="678">
                  <c:v>631.25056168909407</c:v>
                </c:pt>
                <c:pt idx="679">
                  <c:v>660.32153586101674</c:v>
                </c:pt>
                <c:pt idx="680">
                  <c:v>642.87386193673615</c:v>
                </c:pt>
                <c:pt idx="681">
                  <c:v>659.46217633788228</c:v>
                </c:pt>
                <c:pt idx="682">
                  <c:v>664.78260188824743</c:v>
                </c:pt>
                <c:pt idx="683">
                  <c:v>636.79362423364853</c:v>
                </c:pt>
                <c:pt idx="684">
                  <c:v>697.83425344730927</c:v>
                </c:pt>
                <c:pt idx="685">
                  <c:v>633.9185207340031</c:v>
                </c:pt>
                <c:pt idx="686">
                  <c:v>649.56197137716708</c:v>
                </c:pt>
                <c:pt idx="687">
                  <c:v>646.17537546842823</c:v>
                </c:pt>
                <c:pt idx="688">
                  <c:v>639.80171917145992</c:v>
                </c:pt>
                <c:pt idx="689">
                  <c:v>644.76660597211662</c:v>
                </c:pt>
                <c:pt idx="690">
                  <c:v>642.74171767962059</c:v>
                </c:pt>
                <c:pt idx="691">
                  <c:v>630.40804200047296</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678.92415934889027</c:v>
                </c:pt>
                <c:pt idx="702">
                  <c:v>685.44461053521695</c:v>
                </c:pt>
                <c:pt idx="703">
                  <c:v>632.87204071018755</c:v>
                </c:pt>
                <c:pt idx="704">
                  <c:v>630.36064908934804</c:v>
                </c:pt>
                <c:pt idx="705">
                  <c:v>632.53681181989737</c:v>
                </c:pt>
                <c:pt idx="706">
                  <c:v>656.9535815132291</c:v>
                </c:pt>
                <c:pt idx="707">
                  <c:v>632.75963376253651</c:v>
                </c:pt>
                <c:pt idx="708">
                  <c:v>674.33414222274143</c:v>
                </c:pt>
                <c:pt idx="709">
                  <c:v>658.54245025634214</c:v>
                </c:pt>
                <c:pt idx="710">
                  <c:v>633.52211723669348</c:v>
                </c:pt>
                <c:pt idx="711">
                  <c:v>629.41094012343524</c:v>
                </c:pt>
                <c:pt idx="712">
                  <c:v>674.70396199879735</c:v>
                </c:pt>
                <c:pt idx="713">
                  <c:v>637.83806397165404</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714.99700373816177</c:v>
                </c:pt>
                <c:pt idx="725">
                  <c:v>1407.1171469188741</c:v>
                </c:pt>
                <c:pt idx="726">
                  <c:v>789.81962907060586</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637.11554618622438</c:v>
                </c:pt>
                <c:pt idx="741">
                  <c:v>644.09618135351695</c:v>
                </c:pt>
                <c:pt idx="742">
                  <c:v>664.55859232434705</c:v>
                </c:pt>
                <c:pt idx="743">
                  <c:v>638.78623097214984</c:v>
                </c:pt>
                <c:pt idx="744">
                  <c:v>637.91635051527282</c:v>
                </c:pt>
                <c:pt idx="745">
                  <c:v>629.07726686565707</c:v>
                </c:pt>
                <c:pt idx="746">
                  <c:v>627.60017331832705</c:v>
                </c:pt>
                <c:pt idx="747">
                  <c:v>633.52661390066532</c:v>
                </c:pt>
                <c:pt idx="748">
                  <c:v>637.30498583286135</c:v>
                </c:pt>
                <c:pt idx="749">
                  <c:v>640.8326027475299</c:v>
                </c:pt>
                <c:pt idx="750">
                  <c:v>634.75507736959719</c:v>
                </c:pt>
                <c:pt idx="751">
                  <c:v>644.90692215740944</c:v>
                </c:pt>
                <c:pt idx="752">
                  <c:v>626.56294852875567</c:v>
                </c:pt>
                <c:pt idx="753">
                  <c:v>649.59976845573681</c:v>
                </c:pt>
                <c:pt idx="754">
                  <c:v>641.92660180983216</c:v>
                </c:pt>
                <c:pt idx="755">
                  <c:v>632.40378758685881</c:v>
                </c:pt>
                <c:pt idx="756">
                  <c:v>633.15806171959935</c:v>
                </c:pt>
                <c:pt idx="757">
                  <c:v>633.23916301913505</c:v>
                </c:pt>
                <c:pt idx="758">
                  <c:v>642.76752739835626</c:v>
                </c:pt>
                <c:pt idx="759">
                  <c:v>641.35203080732265</c:v>
                </c:pt>
                <c:pt idx="760">
                  <c:v>637.0670833037542</c:v>
                </c:pt>
                <c:pt idx="761">
                  <c:v>649.20079124058782</c:v>
                </c:pt>
                <c:pt idx="762">
                  <c:v>650.89478215273903</c:v>
                </c:pt>
                <c:pt idx="763">
                  <c:v>637.55085108761727</c:v>
                </c:pt>
                <c:pt idx="764">
                  <c:v>636.0472283113811</c:v>
                </c:pt>
                <c:pt idx="765">
                  <c:v>661.91899521242351</c:v>
                </c:pt>
                <c:pt idx="766">
                  <c:v>640.05334315086589</c:v>
                </c:pt>
                <c:pt idx="767">
                  <c:v>648.57836981689127</c:v>
                </c:pt>
                <c:pt idx="768">
                  <c:v>633.46189341775266</c:v>
                </c:pt>
                <c:pt idx="769">
                  <c:v>639.9572665444249</c:v>
                </c:pt>
                <c:pt idx="770">
                  <c:v>652.32243761158145</c:v>
                </c:pt>
                <c:pt idx="771">
                  <c:v>640.71228158006807</c:v>
                </c:pt>
                <c:pt idx="772">
                  <c:v>633.96653945446849</c:v>
                </c:pt>
                <c:pt idx="773">
                  <c:v>631.51910317311638</c:v>
                </c:pt>
                <c:pt idx="774">
                  <c:v>630.22492326091901</c:v>
                </c:pt>
                <c:pt idx="775">
                  <c:v>631.64135588637896</c:v>
                </c:pt>
                <c:pt idx="776">
                  <c:v>626.24771362622153</c:v>
                </c:pt>
                <c:pt idx="777">
                  <c:v>629.94602275710508</c:v>
                </c:pt>
                <c:pt idx="778">
                  <c:v>626.6170917158621</c:v>
                </c:pt>
                <c:pt idx="779">
                  <c:v>619.93647953954508</c:v>
                </c:pt>
                <c:pt idx="780">
                  <c:v>623.91210442550664</c:v>
                </c:pt>
                <c:pt idx="781">
                  <c:v>629.22599380603822</c:v>
                </c:pt>
                <c:pt idx="782">
                  <c:v>628.58207907890255</c:v>
                </c:pt>
                <c:pt idx="783">
                  <c:v>627.52909012794726</c:v>
                </c:pt>
                <c:pt idx="784">
                  <c:v>641.83396379368219</c:v>
                </c:pt>
                <c:pt idx="785">
                  <c:v>647.50361843161897</c:v>
                </c:pt>
                <c:pt idx="786">
                  <c:v>639.28406887679864</c:v>
                </c:pt>
                <c:pt idx="787">
                  <c:v>640.04710414509532</c:v>
                </c:pt>
                <c:pt idx="788">
                  <c:v>706.82497069657563</c:v>
                </c:pt>
                <c:pt idx="789">
                  <c:v>798.30276925732244</c:v>
                </c:pt>
                <c:pt idx="790">
                  <c:v>640.50894701974141</c:v>
                </c:pt>
                <c:pt idx="791">
                  <c:v>632.76387503777153</c:v>
                </c:pt>
                <c:pt idx="792">
                  <c:v>637.87225450862275</c:v>
                </c:pt>
                <c:pt idx="793">
                  <c:v>640.93878889844882</c:v>
                </c:pt>
                <c:pt idx="794">
                  <c:v>634.46495761747678</c:v>
                </c:pt>
                <c:pt idx="795">
                  <c:v>634.33201904400096</c:v>
                </c:pt>
                <c:pt idx="796">
                  <c:v>640.42715706307672</c:v>
                </c:pt>
                <c:pt idx="797">
                  <c:v>641.2392574711414</c:v>
                </c:pt>
                <c:pt idx="798">
                  <c:v>638.17704961752395</c:v>
                </c:pt>
                <c:pt idx="799">
                  <c:v>639.19858405013201</c:v>
                </c:pt>
                <c:pt idx="800">
                  <c:v>650.61243704255287</c:v>
                </c:pt>
                <c:pt idx="801">
                  <c:v>634.35072150399651</c:v>
                </c:pt>
                <c:pt idx="802">
                  <c:v>655.1571853611614</c:v>
                </c:pt>
                <c:pt idx="803">
                  <c:v>663.34935973990048</c:v>
                </c:pt>
                <c:pt idx="804">
                  <c:v>647.38288500374404</c:v>
                </c:pt>
                <c:pt idx="805">
                  <c:v>668.11962963015776</c:v>
                </c:pt>
                <c:pt idx="806">
                  <c:v>662.26512743975945</c:v>
                </c:pt>
                <c:pt idx="807">
                  <c:v>638.9766776243066</c:v>
                </c:pt>
                <c:pt idx="808">
                  <c:v>647.68675407770081</c:v>
                </c:pt>
                <c:pt idx="809">
                  <c:v>653.82020576024161</c:v>
                </c:pt>
                <c:pt idx="810">
                  <c:v>663.94747595966953</c:v>
                </c:pt>
                <c:pt idx="811">
                  <c:v>651.85924305144761</c:v>
                </c:pt>
                <c:pt idx="812">
                  <c:v>660.68811362821975</c:v>
                </c:pt>
                <c:pt idx="813">
                  <c:v>667.47444106969897</c:v>
                </c:pt>
                <c:pt idx="814">
                  <c:v>662.21799281269364</c:v>
                </c:pt>
                <c:pt idx="815">
                  <c:v>660.91035336689538</c:v>
                </c:pt>
                <c:pt idx="816">
                  <c:v>657.03389587002323</c:v>
                </c:pt>
                <c:pt idx="817">
                  <c:v>640.22966553447156</c:v>
                </c:pt>
                <c:pt idx="818">
                  <c:v>641.15820834645228</c:v>
                </c:pt>
                <c:pt idx="819">
                  <c:v>644.70313790466639</c:v>
                </c:pt>
                <c:pt idx="820">
                  <c:v>649.7899913481009</c:v>
                </c:pt>
                <c:pt idx="821">
                  <c:v>652.32347530221546</c:v>
                </c:pt>
                <c:pt idx="822">
                  <c:v>648.14359057076035</c:v>
                </c:pt>
                <c:pt idx="823">
                  <c:v>661.65742065662505</c:v>
                </c:pt>
                <c:pt idx="824">
                  <c:v>663.36219812708487</c:v>
                </c:pt>
                <c:pt idx="825">
                  <c:v>687.43641453236569</c:v>
                </c:pt>
                <c:pt idx="826">
                  <c:v>676.14639830032525</c:v>
                </c:pt>
                <c:pt idx="827">
                  <c:v>677.24067651511461</c:v>
                </c:pt>
                <c:pt idx="828">
                  <c:v>684.23107132562984</c:v>
                </c:pt>
                <c:pt idx="829">
                  <c:v>695.9036411082875</c:v>
                </c:pt>
                <c:pt idx="830">
                  <c:v>712.41839348711392</c:v>
                </c:pt>
                <c:pt idx="831">
                  <c:v>722.80544153716573</c:v>
                </c:pt>
                <c:pt idx="832">
                  <c:v>675.79624293306347</c:v>
                </c:pt>
                <c:pt idx="833">
                  <c:v>704.19406563304312</c:v>
                </c:pt>
                <c:pt idx="834">
                  <c:v>692.88494269571356</c:v>
                </c:pt>
                <c:pt idx="835">
                  <c:v>652.47017190657925</c:v>
                </c:pt>
                <c:pt idx="836">
                  <c:v>653.24066994164696</c:v>
                </c:pt>
                <c:pt idx="837">
                  <c:v>638.35951454757117</c:v>
                </c:pt>
                <c:pt idx="838">
                  <c:v>636.52970060829841</c:v>
                </c:pt>
                <c:pt idx="839">
                  <c:v>642.35186499816723</c:v>
                </c:pt>
                <c:pt idx="840">
                  <c:v>640.80903568210488</c:v>
                </c:pt>
                <c:pt idx="841">
                  <c:v>640.74202272080936</c:v>
                </c:pt>
                <c:pt idx="842">
                  <c:v>638.28861540083949</c:v>
                </c:pt>
                <c:pt idx="843">
                  <c:v>640.07843042212721</c:v>
                </c:pt>
                <c:pt idx="844">
                  <c:v>648.41900268586051</c:v>
                </c:pt>
                <c:pt idx="845">
                  <c:v>642.40758041924812</c:v>
                </c:pt>
                <c:pt idx="846">
                  <c:v>683.49594052483565</c:v>
                </c:pt>
                <c:pt idx="847">
                  <c:v>646.41601050813244</c:v>
                </c:pt>
                <c:pt idx="848">
                  <c:v>632.60267153116251</c:v>
                </c:pt>
                <c:pt idx="849">
                  <c:v>662.5597716938604</c:v>
                </c:pt>
                <c:pt idx="850">
                  <c:v>651.49905138007557</c:v>
                </c:pt>
                <c:pt idx="851">
                  <c:v>639.03388934515363</c:v>
                </c:pt>
                <c:pt idx="852">
                  <c:v>679.80039446293188</c:v>
                </c:pt>
                <c:pt idx="853">
                  <c:v>651.15126658836596</c:v>
                </c:pt>
                <c:pt idx="854">
                  <c:v>659.26962894880717</c:v>
                </c:pt>
                <c:pt idx="855">
                  <c:v>652.87264254806792</c:v>
                </c:pt>
                <c:pt idx="856">
                  <c:v>668.82570345983095</c:v>
                </c:pt>
                <c:pt idx="857">
                  <c:v>663.48324506057736</c:v>
                </c:pt>
                <c:pt idx="858">
                  <c:v>676.91870961852646</c:v>
                </c:pt>
                <c:pt idx="859">
                  <c:v>697.14815620719105</c:v>
                </c:pt>
                <c:pt idx="860">
                  <c:v>795.49700755971332</c:v>
                </c:pt>
                <c:pt idx="861">
                  <c:v>951.64677820772454</c:v>
                </c:pt>
                <c:pt idx="862">
                  <c:v>708.08826153880545</c:v>
                </c:pt>
                <c:pt idx="863">
                  <c:v>643.36972153481713</c:v>
                </c:pt>
                <c:pt idx="864">
                  <c:v>788.35302082532996</c:v>
                </c:pt>
                <c:pt idx="865">
                  <c:v>851.58014342334798</c:v>
                </c:pt>
                <c:pt idx="866">
                  <c:v>640.97322491908483</c:v>
                </c:pt>
                <c:pt idx="867">
                  <c:v>665.5867391355464</c:v>
                </c:pt>
                <c:pt idx="868">
                  <c:v>678.70892626918055</c:v>
                </c:pt>
                <c:pt idx="869">
                  <c:v>681.9943299704837</c:v>
                </c:pt>
                <c:pt idx="870">
                  <c:v>639.88680341011536</c:v>
                </c:pt>
                <c:pt idx="871">
                  <c:v>652.63492640939296</c:v>
                </c:pt>
                <c:pt idx="872">
                  <c:v>636.93163104145992</c:v>
                </c:pt>
                <c:pt idx="873">
                  <c:v>639.67264394910853</c:v>
                </c:pt>
                <c:pt idx="874">
                  <c:v>642.82365219148312</c:v>
                </c:pt>
                <c:pt idx="875">
                  <c:v>640.6522742048935</c:v>
                </c:pt>
                <c:pt idx="876">
                  <c:v>634.83117880253064</c:v>
                </c:pt>
                <c:pt idx="877">
                  <c:v>634.89808629845152</c:v>
                </c:pt>
                <c:pt idx="878">
                  <c:v>638.03421356656736</c:v>
                </c:pt>
                <c:pt idx="879">
                  <c:v>644.36455388421291</c:v>
                </c:pt>
                <c:pt idx="880">
                  <c:v>640.35742867554461</c:v>
                </c:pt>
                <c:pt idx="881">
                  <c:v>647.94318184973167</c:v>
                </c:pt>
                <c:pt idx="882">
                  <c:v>654.62650857940969</c:v>
                </c:pt>
                <c:pt idx="883">
                  <c:v>642.37465353393475</c:v>
                </c:pt>
                <c:pt idx="884">
                  <c:v>657.0305237188029</c:v>
                </c:pt>
                <c:pt idx="885">
                  <c:v>658.15562353221071</c:v>
                </c:pt>
                <c:pt idx="886">
                  <c:v>680.59943883835444</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637.22519873190174</c:v>
                </c:pt>
                <c:pt idx="896">
                  <c:v>637.12534468456147</c:v>
                </c:pt>
                <c:pt idx="897">
                  <c:v>638.60042120820833</c:v>
                </c:pt>
                <c:pt idx="898">
                  <c:v>641.04513380119181</c:v>
                </c:pt>
                <c:pt idx="899">
                  <c:v>642.24709945326902</c:v>
                </c:pt>
                <c:pt idx="900">
                  <c:v>655.32163037108512</c:v>
                </c:pt>
                <c:pt idx="901">
                  <c:v>665.94152868946026</c:v>
                </c:pt>
                <c:pt idx="902">
                  <c:v>660.98226762149625</c:v>
                </c:pt>
                <c:pt idx="903">
                  <c:v>647.35909855173145</c:v>
                </c:pt>
                <c:pt idx="904">
                  <c:v>646.70127137956831</c:v>
                </c:pt>
                <c:pt idx="905">
                  <c:v>656.28081566491073</c:v>
                </c:pt>
                <c:pt idx="906">
                  <c:v>651.0110639060706</c:v>
                </c:pt>
                <c:pt idx="907">
                  <c:v>653.66965168848128</c:v>
                </c:pt>
                <c:pt idx="908">
                  <c:v>650.37917418411359</c:v>
                </c:pt>
                <c:pt idx="909">
                  <c:v>719.16232284233308</c:v>
                </c:pt>
                <c:pt idx="910">
                  <c:v>639.75639250783922</c:v>
                </c:pt>
                <c:pt idx="911">
                  <c:v>642.43208487476124</c:v>
                </c:pt>
                <c:pt idx="912">
                  <c:v>640.04971043356852</c:v>
                </c:pt>
                <c:pt idx="913">
                  <c:v>637.31246919792954</c:v>
                </c:pt>
                <c:pt idx="914">
                  <c:v>645.26175639572477</c:v>
                </c:pt>
                <c:pt idx="915">
                  <c:v>640.45529753422477</c:v>
                </c:pt>
                <c:pt idx="916">
                  <c:v>644.73429660558827</c:v>
                </c:pt>
                <c:pt idx="917">
                  <c:v>642.25514651862477</c:v>
                </c:pt>
                <c:pt idx="918">
                  <c:v>651.79032553374736</c:v>
                </c:pt>
                <c:pt idx="919">
                  <c:v>678.78008320479785</c:v>
                </c:pt>
                <c:pt idx="920">
                  <c:v>663.90585030285922</c:v>
                </c:pt>
                <c:pt idx="921">
                  <c:v>643.36456665758476</c:v>
                </c:pt>
                <c:pt idx="922">
                  <c:v>695.35907229696579</c:v>
                </c:pt>
                <c:pt idx="923">
                  <c:v>698.3625570274437</c:v>
                </c:pt>
                <c:pt idx="924">
                  <c:v>678.56382582421872</c:v>
                </c:pt>
                <c:pt idx="925">
                  <c:v>702.66924966047941</c:v>
                </c:pt>
                <c:pt idx="926">
                  <c:v>652.36731584020026</c:v>
                </c:pt>
                <c:pt idx="927">
                  <c:v>641.68018739643071</c:v>
                </c:pt>
                <c:pt idx="928">
                  <c:v>638.84589243161076</c:v>
                </c:pt>
                <c:pt idx="929">
                  <c:v>632.11398207066156</c:v>
                </c:pt>
                <c:pt idx="930">
                  <c:v>640.45310047236148</c:v>
                </c:pt>
                <c:pt idx="931">
                  <c:v>661.48350007779288</c:v>
                </c:pt>
                <c:pt idx="932">
                  <c:v>648.11560679095157</c:v>
                </c:pt>
                <c:pt idx="933">
                  <c:v>641.78315821148578</c:v>
                </c:pt>
                <c:pt idx="934">
                  <c:v>646.53153241290784</c:v>
                </c:pt>
                <c:pt idx="935">
                  <c:v>652.02139280217591</c:v>
                </c:pt>
                <c:pt idx="936">
                  <c:v>650.89500908779848</c:v>
                </c:pt>
                <c:pt idx="937">
                  <c:v>664.86723480366152</c:v>
                </c:pt>
                <c:pt idx="938">
                  <c:v>670.05543733343393</c:v>
                </c:pt>
                <c:pt idx="939">
                  <c:v>636.07115418132184</c:v>
                </c:pt>
                <c:pt idx="940">
                  <c:v>632.77951948850568</c:v>
                </c:pt>
                <c:pt idx="941">
                  <c:v>635.50167139003804</c:v>
                </c:pt>
                <c:pt idx="942">
                  <c:v>631.26145519695979</c:v>
                </c:pt>
                <c:pt idx="943">
                  <c:v>631.7791670315936</c:v>
                </c:pt>
                <c:pt idx="944">
                  <c:v>627.16437559162887</c:v>
                </c:pt>
                <c:pt idx="945">
                  <c:v>639.28300112124475</c:v>
                </c:pt>
                <c:pt idx="946">
                  <c:v>639.411390419329</c:v>
                </c:pt>
                <c:pt idx="947">
                  <c:v>643.76065134299847</c:v>
                </c:pt>
                <c:pt idx="948">
                  <c:v>642.82228169633538</c:v>
                </c:pt>
                <c:pt idx="949">
                  <c:v>645.21790228992063</c:v>
                </c:pt>
                <c:pt idx="950">
                  <c:v>644.43110811830388</c:v>
                </c:pt>
                <c:pt idx="951">
                  <c:v>644.27767703067127</c:v>
                </c:pt>
                <c:pt idx="952">
                  <c:v>632.7277084323199</c:v>
                </c:pt>
                <c:pt idx="953">
                  <c:v>635.91419616584528</c:v>
                </c:pt>
                <c:pt idx="954">
                  <c:v>672.13178841234196</c:v>
                </c:pt>
                <c:pt idx="955">
                  <c:v>758.22658197364501</c:v>
                </c:pt>
                <c:pt idx="956">
                  <c:v>1454.0736226250167</c:v>
                </c:pt>
                <c:pt idx="957">
                  <c:v>889.72837817315337</c:v>
                </c:pt>
                <c:pt idx="958">
                  <c:v>674.70191527997417</c:v>
                </c:pt>
                <c:pt idx="959">
                  <c:v>636.27910896417097</c:v>
                </c:pt>
                <c:pt idx="960">
                  <c:v>636.41341779492257</c:v>
                </c:pt>
                <c:pt idx="961">
                  <c:v>633.36289921993659</c:v>
                </c:pt>
                <c:pt idx="962">
                  <c:v>625.89107596732276</c:v>
                </c:pt>
                <c:pt idx="963">
                  <c:v>641.25692373919139</c:v>
                </c:pt>
                <c:pt idx="964">
                  <c:v>639.95024167141185</c:v>
                </c:pt>
                <c:pt idx="965">
                  <c:v>636.32953078459877</c:v>
                </c:pt>
                <c:pt idx="966">
                  <c:v>631.01460016363933</c:v>
                </c:pt>
                <c:pt idx="967">
                  <c:v>629.49461577876741</c:v>
                </c:pt>
                <c:pt idx="968">
                  <c:v>635.26935196296779</c:v>
                </c:pt>
                <c:pt idx="969">
                  <c:v>637.21655145030127</c:v>
                </c:pt>
                <c:pt idx="970">
                  <c:v>633.14296142197509</c:v>
                </c:pt>
                <c:pt idx="971">
                  <c:v>638.76648427285159</c:v>
                </c:pt>
                <c:pt idx="972">
                  <c:v>629.05407344253706</c:v>
                </c:pt>
                <c:pt idx="973">
                  <c:v>630.97626094021996</c:v>
                </c:pt>
                <c:pt idx="974">
                  <c:v>647.3271188194351</c:v>
                </c:pt>
                <c:pt idx="975">
                  <c:v>634.83612288991628</c:v>
                </c:pt>
                <c:pt idx="976">
                  <c:v>637.79944897057953</c:v>
                </c:pt>
                <c:pt idx="977">
                  <c:v>631.93409598238964</c:v>
                </c:pt>
                <c:pt idx="978">
                  <c:v>642.41295388497815</c:v>
                </c:pt>
                <c:pt idx="979">
                  <c:v>636.02075840615817</c:v>
                </c:pt>
                <c:pt idx="980">
                  <c:v>644.01305721411279</c:v>
                </c:pt>
                <c:pt idx="981">
                  <c:v>641.880615008375</c:v>
                </c:pt>
                <c:pt idx="982">
                  <c:v>639.47130252865986</c:v>
                </c:pt>
                <c:pt idx="983">
                  <c:v>641.00852045470936</c:v>
                </c:pt>
                <c:pt idx="984">
                  <c:v>655.20047133130151</c:v>
                </c:pt>
                <c:pt idx="985">
                  <c:v>663.15614797102353</c:v>
                </c:pt>
                <c:pt idx="986">
                  <c:v>667.87746875407322</c:v>
                </c:pt>
                <c:pt idx="987">
                  <c:v>655.99081177603477</c:v>
                </c:pt>
                <c:pt idx="988">
                  <c:v>637.75733797921896</c:v>
                </c:pt>
                <c:pt idx="989">
                  <c:v>643.96184864006671</c:v>
                </c:pt>
                <c:pt idx="990">
                  <c:v>647.03479652250678</c:v>
                </c:pt>
                <c:pt idx="991">
                  <c:v>644.00645411028609</c:v>
                </c:pt>
                <c:pt idx="992">
                  <c:v>636.77079172609467</c:v>
                </c:pt>
                <c:pt idx="993">
                  <c:v>634.80247051030881</c:v>
                </c:pt>
                <c:pt idx="994">
                  <c:v>647.88655946211429</c:v>
                </c:pt>
                <c:pt idx="995">
                  <c:v>640.31348198522369</c:v>
                </c:pt>
                <c:pt idx="996">
                  <c:v>644.10424030310116</c:v>
                </c:pt>
                <c:pt idx="997">
                  <c:v>694.84254632249326</c:v>
                </c:pt>
                <c:pt idx="998">
                  <c:v>691.58015925529764</c:v>
                </c:pt>
                <c:pt idx="999">
                  <c:v>682.86194987715339</c:v>
                </c:pt>
                <c:pt idx="1000">
                  <c:v>667.59707476195376</c:v>
                </c:pt>
                <c:pt idx="1001">
                  <c:v>678.54273645119838</c:v>
                </c:pt>
                <c:pt idx="1002">
                  <c:v>638.71213441398299</c:v>
                </c:pt>
                <c:pt idx="1003">
                  <c:v>636.0138841104332</c:v>
                </c:pt>
                <c:pt idx="1004">
                  <c:v>647.91794428049116</c:v>
                </c:pt>
                <c:pt idx="1005">
                  <c:v>642.39027165145546</c:v>
                </c:pt>
                <c:pt idx="1006">
                  <c:v>651.84437649713209</c:v>
                </c:pt>
                <c:pt idx="1007">
                  <c:v>640.44743314812376</c:v>
                </c:pt>
                <c:pt idx="1008">
                  <c:v>668.04865728307834</c:v>
                </c:pt>
                <c:pt idx="1009">
                  <c:v>636.8652788042881</c:v>
                </c:pt>
                <c:pt idx="1010">
                  <c:v>644.40655743699654</c:v>
                </c:pt>
                <c:pt idx="1011">
                  <c:v>657.47475021613968</c:v>
                </c:pt>
                <c:pt idx="1012">
                  <c:v>656.44763220849688</c:v>
                </c:pt>
                <c:pt idx="1013">
                  <c:v>645.10352152397081</c:v>
                </c:pt>
                <c:pt idx="1014">
                  <c:v>626.82865861378059</c:v>
                </c:pt>
                <c:pt idx="1015">
                  <c:v>647.84182696477797</c:v>
                </c:pt>
                <c:pt idx="1016">
                  <c:v>648.52020800986986</c:v>
                </c:pt>
                <c:pt idx="1017">
                  <c:v>648.70420875745151</c:v>
                </c:pt>
                <c:pt idx="1018">
                  <c:v>643.38361262689125</c:v>
                </c:pt>
                <c:pt idx="1019">
                  <c:v>633.30150752285351</c:v>
                </c:pt>
                <c:pt idx="1020">
                  <c:v>642.58293685266949</c:v>
                </c:pt>
                <c:pt idx="1021">
                  <c:v>644.09739288430615</c:v>
                </c:pt>
                <c:pt idx="1022">
                  <c:v>644.59674429008714</c:v>
                </c:pt>
                <c:pt idx="1023">
                  <c:v>643.04183869424617</c:v>
                </c:pt>
                <c:pt idx="1024">
                  <c:v>645.04303581604449</c:v>
                </c:pt>
                <c:pt idx="1025">
                  <c:v>641.85380388750855</c:v>
                </c:pt>
                <c:pt idx="1026">
                  <c:v>674.44798352870021</c:v>
                </c:pt>
                <c:pt idx="1027">
                  <c:v>677.47558414284788</c:v>
                </c:pt>
                <c:pt idx="1028">
                  <c:v>698.17011905039385</c:v>
                </c:pt>
                <c:pt idx="1029">
                  <c:v>693.31215009968219</c:v>
                </c:pt>
                <c:pt idx="1030">
                  <c:v>1018.9601150752204</c:v>
                </c:pt>
                <c:pt idx="1031">
                  <c:v>1011.5602850940481</c:v>
                </c:pt>
                <c:pt idx="1032">
                  <c:v>669.58507009079528</c:v>
                </c:pt>
                <c:pt idx="1033">
                  <c:v>646.43086110109061</c:v>
                </c:pt>
                <c:pt idx="1034">
                  <c:v>649.87043605425868</c:v>
                </c:pt>
                <c:pt idx="1035">
                  <c:v>649.03088160069274</c:v>
                </c:pt>
                <c:pt idx="1036">
                  <c:v>694.3941651575085</c:v>
                </c:pt>
                <c:pt idx="1037">
                  <c:v>633.81059907151052</c:v>
                </c:pt>
                <c:pt idx="1038">
                  <c:v>636.81954527714345</c:v>
                </c:pt>
                <c:pt idx="1039">
                  <c:v>641.41769308920266</c:v>
                </c:pt>
                <c:pt idx="1040">
                  <c:v>668.66938349640452</c:v>
                </c:pt>
                <c:pt idx="1041">
                  <c:v>685.91160666995381</c:v>
                </c:pt>
                <c:pt idx="1042">
                  <c:v>691.03908301118247</c:v>
                </c:pt>
                <c:pt idx="1043">
                  <c:v>779.64314854968404</c:v>
                </c:pt>
                <c:pt idx="1044">
                  <c:v>662.92896948876103</c:v>
                </c:pt>
                <c:pt idx="1045">
                  <c:v>644.14624654018542</c:v>
                </c:pt>
                <c:pt idx="1046">
                  <c:v>642.64831787042635</c:v>
                </c:pt>
                <c:pt idx="1047">
                  <c:v>634.41456342543233</c:v>
                </c:pt>
                <c:pt idx="1048">
                  <c:v>646.80287825605842</c:v>
                </c:pt>
                <c:pt idx="1049">
                  <c:v>642.22410036033716</c:v>
                </c:pt>
                <c:pt idx="1050">
                  <c:v>648.92196835710445</c:v>
                </c:pt>
                <c:pt idx="1051">
                  <c:v>637.38012267330691</c:v>
                </c:pt>
                <c:pt idx="1052">
                  <c:v>641.2621533983729</c:v>
                </c:pt>
                <c:pt idx="1053">
                  <c:v>648.67907423890017</c:v>
                </c:pt>
                <c:pt idx="1054">
                  <c:v>673.20329974267099</c:v>
                </c:pt>
                <c:pt idx="1055">
                  <c:v>660.44990695948809</c:v>
                </c:pt>
                <c:pt idx="1056">
                  <c:v>656.78988482867419</c:v>
                </c:pt>
                <c:pt idx="1057">
                  <c:v>632.66882177530306</c:v>
                </c:pt>
                <c:pt idx="1058">
                  <c:v>649.7409572585326</c:v>
                </c:pt>
                <c:pt idx="1059">
                  <c:v>642.37287202616653</c:v>
                </c:pt>
                <c:pt idx="1060">
                  <c:v>636.10663139576786</c:v>
                </c:pt>
                <c:pt idx="1061">
                  <c:v>647.48438486533598</c:v>
                </c:pt>
                <c:pt idx="1062">
                  <c:v>641.34466695522076</c:v>
                </c:pt>
                <c:pt idx="1063">
                  <c:v>653.62825378103764</c:v>
                </c:pt>
                <c:pt idx="1064">
                  <c:v>655.33575145362568</c:v>
                </c:pt>
                <c:pt idx="1065">
                  <c:v>663.15085379948675</c:v>
                </c:pt>
                <c:pt idx="1066">
                  <c:v>664.98455091003166</c:v>
                </c:pt>
                <c:pt idx="1067">
                  <c:v>652.57403234571666</c:v>
                </c:pt>
                <c:pt idx="1068">
                  <c:v>656.42320501857125</c:v>
                </c:pt>
                <c:pt idx="1069">
                  <c:v>663.57392291080146</c:v>
                </c:pt>
                <c:pt idx="1070">
                  <c:v>656.922563499837</c:v>
                </c:pt>
                <c:pt idx="1071">
                  <c:v>689.27591607449995</c:v>
                </c:pt>
                <c:pt idx="1072">
                  <c:v>663.50631762317096</c:v>
                </c:pt>
                <c:pt idx="1073">
                  <c:v>658.84536586365653</c:v>
                </c:pt>
                <c:pt idx="1074">
                  <c:v>667.61806180267445</c:v>
                </c:pt>
                <c:pt idx="1075">
                  <c:v>694.02427098175644</c:v>
                </c:pt>
                <c:pt idx="1076">
                  <c:v>719.35876036781292</c:v>
                </c:pt>
                <c:pt idx="1077">
                  <c:v>657.19471070050895</c:v>
                </c:pt>
                <c:pt idx="1078">
                  <c:v>670.09342816919661</c:v>
                </c:pt>
                <c:pt idx="1079">
                  <c:v>656.84540765193776</c:v>
                </c:pt>
                <c:pt idx="1080">
                  <c:v>659.48940410653961</c:v>
                </c:pt>
                <c:pt idx="1081">
                  <c:v>677.94166162782096</c:v>
                </c:pt>
                <c:pt idx="1082">
                  <c:v>666.45634056298911</c:v>
                </c:pt>
                <c:pt idx="1083">
                  <c:v>679.08337488340624</c:v>
                </c:pt>
                <c:pt idx="1084">
                  <c:v>827.98925515957944</c:v>
                </c:pt>
                <c:pt idx="1085">
                  <c:v>848.64551039944899</c:v>
                </c:pt>
                <c:pt idx="1086">
                  <c:v>698.68086161677968</c:v>
                </c:pt>
                <c:pt idx="1087">
                  <c:v>689.05619526824512</c:v>
                </c:pt>
                <c:pt idx="1088">
                  <c:v>649.45827062112278</c:v>
                </c:pt>
                <c:pt idx="1089">
                  <c:v>642.15123513211654</c:v>
                </c:pt>
                <c:pt idx="1090">
                  <c:v>636.09389954307244</c:v>
                </c:pt>
                <c:pt idx="1091">
                  <c:v>639.2928477348471</c:v>
                </c:pt>
                <c:pt idx="1092">
                  <c:v>648.7811806387723</c:v>
                </c:pt>
                <c:pt idx="1093">
                  <c:v>643.44016812212578</c:v>
                </c:pt>
                <c:pt idx="1094">
                  <c:v>644.74772973755262</c:v>
                </c:pt>
                <c:pt idx="1095">
                  <c:v>647.97020945054248</c:v>
                </c:pt>
              </c:numCache>
            </c:numRef>
          </c:yVal>
          <c:smooth val="0"/>
          <c:extLst>
            <c:ext xmlns:c16="http://schemas.microsoft.com/office/drawing/2014/chart" uri="{C3380CC4-5D6E-409C-BE32-E72D297353CC}">
              <c16:uniqueId val="{00000000-F394-4CD8-B3DE-F22A7B7B2505}"/>
            </c:ext>
          </c:extLst>
        </c:ser>
        <c:dLbls>
          <c:showLegendKey val="0"/>
          <c:showVal val="0"/>
          <c:showCatName val="0"/>
          <c:showSerName val="0"/>
          <c:showPercent val="0"/>
          <c:showBubbleSize val="0"/>
        </c:dLbls>
        <c:axId val="1279842159"/>
        <c:axId val="1279843823"/>
      </c:scatterChart>
      <c:valAx>
        <c:axId val="1279842159"/>
        <c:scaling>
          <c:orientation val="minMax"/>
          <c:max val="47.5"/>
          <c:min val="43"/>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9843823"/>
        <c:crosses val="autoZero"/>
        <c:crossBetween val="midCat"/>
      </c:valAx>
      <c:valAx>
        <c:axId val="1279843823"/>
        <c:scaling>
          <c:orientation val="minMax"/>
          <c:max val="670"/>
          <c:min val="61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9842159"/>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smtClean="0">
                <a:effectLst/>
              </a:rPr>
              <a:t>N</a:t>
            </a:r>
            <a:r>
              <a:rPr lang="en-US" sz="1400" b="0" i="0" u="none" strike="noStrike" baseline="-25000" dirty="0" smtClean="0">
                <a:effectLst/>
              </a:rPr>
              <a:t>2</a:t>
            </a:r>
            <a:r>
              <a:rPr lang="en-US" dirty="0" smtClean="0"/>
              <a:t> (Nm3) </a:t>
            </a:r>
            <a:r>
              <a:rPr lang="en-US" dirty="0"/>
              <a:t>vs Hot Metal </a:t>
            </a:r>
            <a:r>
              <a:rPr lang="en-US" dirty="0" smtClean="0"/>
              <a:t>Temperature(</a:t>
            </a:r>
            <a:r>
              <a:rPr lang="en-US" sz="1400" b="0" i="0" u="none" strike="noStrike" baseline="0" dirty="0" smtClean="0">
                <a:effectLst/>
              </a:rPr>
              <a:t>°C)</a:t>
            </a:r>
            <a:endParaRPr lang="en-US" dirty="0"/>
          </a:p>
        </c:rich>
      </c:tx>
      <c:layout>
        <c:manualLayout>
          <c:xMode val="edge"/>
          <c:yMode val="edge"/>
          <c:x val="0.17880965470609114"/>
          <c:y val="1.950963230487871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W$1:$AW$2</c:f>
              <c:strCache>
                <c:ptCount val="2"/>
                <c:pt idx="0">
                  <c:v>N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H$3:$H$1131</c:f>
              <c:numCache>
                <c:formatCode>0</c:formatCode>
                <c:ptCount val="1129"/>
                <c:pt idx="0">
                  <c:v>1516.4215815036478</c:v>
                </c:pt>
                <c:pt idx="1">
                  <c:v>1507.1332037470527</c:v>
                </c:pt>
                <c:pt idx="2">
                  <c:v>1514.3284402827601</c:v>
                </c:pt>
                <c:pt idx="3">
                  <c:v>1507.2575061253342</c:v>
                </c:pt>
                <c:pt idx="4">
                  <c:v>1513.5458327079896</c:v>
                </c:pt>
                <c:pt idx="5">
                  <c:v>1529.7269305117827</c:v>
                </c:pt>
                <c:pt idx="6">
                  <c:v>1528.2445904051751</c:v>
                </c:pt>
                <c:pt idx="7">
                  <c:v>1520.6929039096058</c:v>
                </c:pt>
                <c:pt idx="8">
                  <c:v>1528.1431135844284</c:v>
                </c:pt>
                <c:pt idx="9">
                  <c:v>1509.321271194292</c:v>
                </c:pt>
                <c:pt idx="10">
                  <c:v>1515.6842635803005</c:v>
                </c:pt>
                <c:pt idx="11">
                  <c:v>1522.4387990807022</c:v>
                </c:pt>
                <c:pt idx="12">
                  <c:v>1521.1149342865024</c:v>
                </c:pt>
                <c:pt idx="13">
                  <c:v>1529.5674324080478</c:v>
                </c:pt>
                <c:pt idx="14">
                  <c:v>1511.6978593994395</c:v>
                </c:pt>
                <c:pt idx="15">
                  <c:v>1518.1180454464009</c:v>
                </c:pt>
                <c:pt idx="16">
                  <c:v>1513.5277316704951</c:v>
                </c:pt>
                <c:pt idx="17">
                  <c:v>1513.8716528851794</c:v>
                </c:pt>
                <c:pt idx="18">
                  <c:v>1512.2218554355436</c:v>
                </c:pt>
                <c:pt idx="19">
                  <c:v>1508.4882949002101</c:v>
                </c:pt>
                <c:pt idx="20">
                  <c:v>1500.9779964175659</c:v>
                </c:pt>
                <c:pt idx="21">
                  <c:v>1491.5020993563983</c:v>
                </c:pt>
                <c:pt idx="22">
                  <c:v>1504.2992559486631</c:v>
                </c:pt>
                <c:pt idx="23">
                  <c:v>1503.8668338849184</c:v>
                </c:pt>
                <c:pt idx="24">
                  <c:v>1509.4592974729856</c:v>
                </c:pt>
                <c:pt idx="25">
                  <c:v>1507.7302694050459</c:v>
                </c:pt>
                <c:pt idx="26">
                  <c:v>1514.719590921015</c:v>
                </c:pt>
                <c:pt idx="27">
                  <c:v>1505.230204740272</c:v>
                </c:pt>
                <c:pt idx="28">
                  <c:v>1495.9236101414544</c:v>
                </c:pt>
                <c:pt idx="29">
                  <c:v>1515.0782318059398</c:v>
                </c:pt>
                <c:pt idx="30">
                  <c:v>1511.2229519095015</c:v>
                </c:pt>
                <c:pt idx="31">
                  <c:v>1503.3025057173613</c:v>
                </c:pt>
                <c:pt idx="32">
                  <c:v>1497.6519418304395</c:v>
                </c:pt>
                <c:pt idx="33">
                  <c:v>1509.089615207406</c:v>
                </c:pt>
                <c:pt idx="34">
                  <c:v>1521.8876127323992</c:v>
                </c:pt>
                <c:pt idx="35">
                  <c:v>1492.9834097110979</c:v>
                </c:pt>
                <c:pt idx="36">
                  <c:v>1512.1240425342328</c:v>
                </c:pt>
                <c:pt idx="37">
                  <c:v>1518.9046724840639</c:v>
                </c:pt>
                <c:pt idx="38">
                  <c:v>1509.4473309176178</c:v>
                </c:pt>
                <c:pt idx="39">
                  <c:v>1512.5012673494018</c:v>
                </c:pt>
                <c:pt idx="40">
                  <c:v>1514.5880796808976</c:v>
                </c:pt>
                <c:pt idx="41">
                  <c:v>1504.9035727993303</c:v>
                </c:pt>
                <c:pt idx="42">
                  <c:v>1516.9856217751906</c:v>
                </c:pt>
                <c:pt idx="43">
                  <c:v>1506.555561073784</c:v>
                </c:pt>
                <c:pt idx="44">
                  <c:v>1479.5182461984182</c:v>
                </c:pt>
                <c:pt idx="45">
                  <c:v>1472.0791678670396</c:v>
                </c:pt>
                <c:pt idx="46">
                  <c:v>1509.7889847494368</c:v>
                </c:pt>
                <c:pt idx="47">
                  <c:v>1510.2473585536718</c:v>
                </c:pt>
                <c:pt idx="48">
                  <c:v>1503.8744901185478</c:v>
                </c:pt>
                <c:pt idx="49">
                  <c:v>1504.4586913904623</c:v>
                </c:pt>
                <c:pt idx="50">
                  <c:v>1501.9503153567937</c:v>
                </c:pt>
                <c:pt idx="51">
                  <c:v>1509.017959399471</c:v>
                </c:pt>
                <c:pt idx="52">
                  <c:v>1504.0660640118231</c:v>
                </c:pt>
                <c:pt idx="53">
                  <c:v>1496.1242438083329</c:v>
                </c:pt>
                <c:pt idx="54">
                  <c:v>1509.7590445593921</c:v>
                </c:pt>
                <c:pt idx="55">
                  <c:v>1495.3967756881084</c:v>
                </c:pt>
                <c:pt idx="56">
                  <c:v>1509.873660210136</c:v>
                </c:pt>
                <c:pt idx="57">
                  <c:v>1503.9271805100295</c:v>
                </c:pt>
                <c:pt idx="58">
                  <c:v>1503.7615356563801</c:v>
                </c:pt>
                <c:pt idx="59">
                  <c:v>1520.1711091455136</c:v>
                </c:pt>
                <c:pt idx="60">
                  <c:v>1509.3810150012632</c:v>
                </c:pt>
                <c:pt idx="61">
                  <c:v>1506.1591007342947</c:v>
                </c:pt>
                <c:pt idx="62">
                  <c:v>1515.6690746234804</c:v>
                </c:pt>
                <c:pt idx="63">
                  <c:v>1514.8275550586745</c:v>
                </c:pt>
                <c:pt idx="64">
                  <c:v>1513.7087201800371</c:v>
                </c:pt>
                <c:pt idx="65">
                  <c:v>1511.841761285631</c:v>
                </c:pt>
                <c:pt idx="66">
                  <c:v>1499.2959648270009</c:v>
                </c:pt>
                <c:pt idx="67">
                  <c:v>1499.9367134973456</c:v>
                </c:pt>
                <c:pt idx="68">
                  <c:v>1493.5310361353393</c:v>
                </c:pt>
                <c:pt idx="69">
                  <c:v>1504.4437586671845</c:v>
                </c:pt>
                <c:pt idx="70">
                  <c:v>1511.6526480083776</c:v>
                </c:pt>
                <c:pt idx="71">
                  <c:v>1507.7374578330541</c:v>
                </c:pt>
                <c:pt idx="72">
                  <c:v>1505.4034612467199</c:v>
                </c:pt>
                <c:pt idx="73">
                  <c:v>1503.6884638323811</c:v>
                </c:pt>
                <c:pt idx="74">
                  <c:v>1508.8910802688238</c:v>
                </c:pt>
                <c:pt idx="75">
                  <c:v>1511.911222105361</c:v>
                </c:pt>
                <c:pt idx="76">
                  <c:v>1510.8214871844593</c:v>
                </c:pt>
                <c:pt idx="77">
                  <c:v>1495.4567115054092</c:v>
                </c:pt>
                <c:pt idx="78">
                  <c:v>1498.2000868304549</c:v>
                </c:pt>
                <c:pt idx="79">
                  <c:v>1508.1354795523084</c:v>
                </c:pt>
                <c:pt idx="80">
                  <c:v>1500.3928564381833</c:v>
                </c:pt>
                <c:pt idx="81">
                  <c:v>1503.8262197330735</c:v>
                </c:pt>
                <c:pt idx="82">
                  <c:v>1515.9918788090063</c:v>
                </c:pt>
                <c:pt idx="83">
                  <c:v>1509.9919091807717</c:v>
                </c:pt>
                <c:pt idx="84">
                  <c:v>1518.0834726965472</c:v>
                </c:pt>
                <c:pt idx="85">
                  <c:v>1499.9928433807495</c:v>
                </c:pt>
                <c:pt idx="86">
                  <c:v>1496.5586024910247</c:v>
                </c:pt>
                <c:pt idx="87">
                  <c:v>1491.7400060388268</c:v>
                </c:pt>
                <c:pt idx="88">
                  <c:v>1494.0250307277183</c:v>
                </c:pt>
                <c:pt idx="89">
                  <c:v>1481.3127898847245</c:v>
                </c:pt>
                <c:pt idx="90">
                  <c:v>1494.825002087349</c:v>
                </c:pt>
                <c:pt idx="91">
                  <c:v>1498.637819767478</c:v>
                </c:pt>
                <c:pt idx="92">
                  <c:v>1496.87146568297</c:v>
                </c:pt>
                <c:pt idx="93">
                  <c:v>1494.4025947790144</c:v>
                </c:pt>
                <c:pt idx="94">
                  <c:v>1495.4721605128461</c:v>
                </c:pt>
                <c:pt idx="95">
                  <c:v>1491.9566890047859</c:v>
                </c:pt>
                <c:pt idx="96">
                  <c:v>1494.665598797807</c:v>
                </c:pt>
                <c:pt idx="97">
                  <c:v>1500.438600238519</c:v>
                </c:pt>
                <c:pt idx="98">
                  <c:v>1484.8813885567902</c:v>
                </c:pt>
                <c:pt idx="99">
                  <c:v>1496.5654262548646</c:v>
                </c:pt>
                <c:pt idx="100">
                  <c:v>1497.2752844192855</c:v>
                </c:pt>
                <c:pt idx="101">
                  <c:v>1504.9267148830897</c:v>
                </c:pt>
                <c:pt idx="102">
                  <c:v>1498.0158290927959</c:v>
                </c:pt>
                <c:pt idx="103">
                  <c:v>1502.401022098843</c:v>
                </c:pt>
                <c:pt idx="104">
                  <c:v>1509.4779007249119</c:v>
                </c:pt>
                <c:pt idx="105">
                  <c:v>1501.6945077851458</c:v>
                </c:pt>
                <c:pt idx="106">
                  <c:v>1487.1961277871987</c:v>
                </c:pt>
                <c:pt idx="107">
                  <c:v>1477.9119158406193</c:v>
                </c:pt>
                <c:pt idx="108">
                  <c:v>1502.5897641822528</c:v>
                </c:pt>
                <c:pt idx="109">
                  <c:v>1499.3350772986123</c:v>
                </c:pt>
                <c:pt idx="110">
                  <c:v>1505.7555510615309</c:v>
                </c:pt>
                <c:pt idx="111">
                  <c:v>1503.8583622961537</c:v>
                </c:pt>
                <c:pt idx="112">
                  <c:v>1499.0735391529495</c:v>
                </c:pt>
                <c:pt idx="113">
                  <c:v>1497.1661332621184</c:v>
                </c:pt>
                <c:pt idx="114">
                  <c:v>1503.9517772228787</c:v>
                </c:pt>
                <c:pt idx="115">
                  <c:v>1504.4854148707143</c:v>
                </c:pt>
                <c:pt idx="116">
                  <c:v>1503.3106216315846</c:v>
                </c:pt>
                <c:pt idx="117">
                  <c:v>1508.0125919003101</c:v>
                </c:pt>
                <c:pt idx="118">
                  <c:v>1501.5603736201874</c:v>
                </c:pt>
                <c:pt idx="119">
                  <c:v>1506.9068469714489</c:v>
                </c:pt>
                <c:pt idx="120">
                  <c:v>1509.3873233699373</c:v>
                </c:pt>
                <c:pt idx="121">
                  <c:v>1500.4509665409312</c:v>
                </c:pt>
                <c:pt idx="122">
                  <c:v>1502.27266141839</c:v>
                </c:pt>
                <c:pt idx="123">
                  <c:v>1508.2625449525101</c:v>
                </c:pt>
                <c:pt idx="124">
                  <c:v>1508.3124239942699</c:v>
                </c:pt>
                <c:pt idx="125">
                  <c:v>1512.8875549853101</c:v>
                </c:pt>
                <c:pt idx="126">
                  <c:v>1503.3192955767499</c:v>
                </c:pt>
                <c:pt idx="127">
                  <c:v>1508.36564391554</c:v>
                </c:pt>
                <c:pt idx="128">
                  <c:v>1498.60302807584</c:v>
                </c:pt>
                <c:pt idx="129">
                  <c:v>1500.7204467727099</c:v>
                </c:pt>
                <c:pt idx="130">
                  <c:v>1499.9957814756599</c:v>
                </c:pt>
                <c:pt idx="131">
                  <c:v>1513.9959524814999</c:v>
                </c:pt>
                <c:pt idx="132">
                  <c:v>1508.3324289722</c:v>
                </c:pt>
                <c:pt idx="133">
                  <c:v>1496.3130861933801</c:v>
                </c:pt>
                <c:pt idx="134">
                  <c:v>1493.3720636836499</c:v>
                </c:pt>
                <c:pt idx="135">
                  <c:v>1497.3371575956501</c:v>
                </c:pt>
                <c:pt idx="136">
                  <c:v>1496.73044347108</c:v>
                </c:pt>
                <c:pt idx="137">
                  <c:v>1509.9561350694501</c:v>
                </c:pt>
                <c:pt idx="138">
                  <c:v>1518.38601764698</c:v>
                </c:pt>
                <c:pt idx="139">
                  <c:v>1512.6699136703201</c:v>
                </c:pt>
                <c:pt idx="140">
                  <c:v>1508.60768989945</c:v>
                </c:pt>
                <c:pt idx="141">
                  <c:v>1498.6521618399199</c:v>
                </c:pt>
                <c:pt idx="142">
                  <c:v>1494.28177920403</c:v>
                </c:pt>
                <c:pt idx="143">
                  <c:v>1479.4768604984699</c:v>
                </c:pt>
                <c:pt idx="144">
                  <c:v>1444.93582050551</c:v>
                </c:pt>
                <c:pt idx="145">
                  <c:v>1470.8198282098899</c:v>
                </c:pt>
                <c:pt idx="149">
                  <c:v>1470.8198282098899</c:v>
                </c:pt>
                <c:pt idx="150">
                  <c:v>1494.49982874481</c:v>
                </c:pt>
                <c:pt idx="151">
                  <c:v>1492.5993643895699</c:v>
                </c:pt>
                <c:pt idx="152">
                  <c:v>1487.4737370288799</c:v>
                </c:pt>
                <c:pt idx="153">
                  <c:v>1490.1577596736299</c:v>
                </c:pt>
                <c:pt idx="154">
                  <c:v>1491.0135906409901</c:v>
                </c:pt>
                <c:pt idx="155">
                  <c:v>1509.4287944247501</c:v>
                </c:pt>
                <c:pt idx="156">
                  <c:v>1502.1073114599201</c:v>
                </c:pt>
                <c:pt idx="157">
                  <c:v>1492.85638277315</c:v>
                </c:pt>
                <c:pt idx="158">
                  <c:v>1501.38868705298</c:v>
                </c:pt>
                <c:pt idx="159">
                  <c:v>1499.76375942803</c:v>
                </c:pt>
                <c:pt idx="160">
                  <c:v>1496.87642632344</c:v>
                </c:pt>
                <c:pt idx="161">
                  <c:v>1493.7105943122999</c:v>
                </c:pt>
                <c:pt idx="162">
                  <c:v>1485.89048859012</c:v>
                </c:pt>
                <c:pt idx="163">
                  <c:v>1492.2200824634399</c:v>
                </c:pt>
                <c:pt idx="164">
                  <c:v>1494.0132987914999</c:v>
                </c:pt>
                <c:pt idx="165">
                  <c:v>1494.9252155480799</c:v>
                </c:pt>
                <c:pt idx="166">
                  <c:v>1500.08794944022</c:v>
                </c:pt>
                <c:pt idx="167">
                  <c:v>1501.8398899786901</c:v>
                </c:pt>
                <c:pt idx="168">
                  <c:v>1502.9516705146</c:v>
                </c:pt>
                <c:pt idx="169">
                  <c:v>1511.50395013313</c:v>
                </c:pt>
                <c:pt idx="170">
                  <c:v>1504.8494906807</c:v>
                </c:pt>
                <c:pt idx="171">
                  <c:v>1512.7204096584301</c:v>
                </c:pt>
                <c:pt idx="172">
                  <c:v>1496.8276065408199</c:v>
                </c:pt>
                <c:pt idx="173">
                  <c:v>1498.6053553515101</c:v>
                </c:pt>
                <c:pt idx="174">
                  <c:v>1510.6142435954901</c:v>
                </c:pt>
                <c:pt idx="175">
                  <c:v>1510.67309777882</c:v>
                </c:pt>
                <c:pt idx="176">
                  <c:v>1506.32530215771</c:v>
                </c:pt>
                <c:pt idx="177">
                  <c:v>1485.39950958447</c:v>
                </c:pt>
                <c:pt idx="178">
                  <c:v>1485.29409078565</c:v>
                </c:pt>
                <c:pt idx="179">
                  <c:v>1500.92926141162</c:v>
                </c:pt>
                <c:pt idx="180">
                  <c:v>1497.79739686581</c:v>
                </c:pt>
                <c:pt idx="181">
                  <c:v>1495.7972788244099</c:v>
                </c:pt>
                <c:pt idx="182">
                  <c:v>1492.2021596203899</c:v>
                </c:pt>
                <c:pt idx="183">
                  <c:v>1512.6695412624599</c:v>
                </c:pt>
                <c:pt idx="184">
                  <c:v>1503.94358979413</c:v>
                </c:pt>
                <c:pt idx="185">
                  <c:v>1490.6108879670301</c:v>
                </c:pt>
                <c:pt idx="186">
                  <c:v>1495.43388024515</c:v>
                </c:pt>
                <c:pt idx="187">
                  <c:v>1491.1155982791799</c:v>
                </c:pt>
                <c:pt idx="188">
                  <c:v>1488.0188340432001</c:v>
                </c:pt>
                <c:pt idx="189">
                  <c:v>1497.32212261517</c:v>
                </c:pt>
                <c:pt idx="190">
                  <c:v>1506.95401575197</c:v>
                </c:pt>
                <c:pt idx="191">
                  <c:v>1497.1445996330599</c:v>
                </c:pt>
                <c:pt idx="192">
                  <c:v>1492.4383595740201</c:v>
                </c:pt>
                <c:pt idx="193">
                  <c:v>1495.7897207902899</c:v>
                </c:pt>
                <c:pt idx="194">
                  <c:v>1489.2336737011699</c:v>
                </c:pt>
                <c:pt idx="195">
                  <c:v>1475.4191940421599</c:v>
                </c:pt>
                <c:pt idx="196">
                  <c:v>1502.32925663736</c:v>
                </c:pt>
                <c:pt idx="197">
                  <c:v>1493.01946220988</c:v>
                </c:pt>
                <c:pt idx="198">
                  <c:v>1488.7436126228699</c:v>
                </c:pt>
                <c:pt idx="199">
                  <c:v>1497.3545463416399</c:v>
                </c:pt>
                <c:pt idx="200">
                  <c:v>1508.3580646769201</c:v>
                </c:pt>
                <c:pt idx="201">
                  <c:v>1485.97245537803</c:v>
                </c:pt>
                <c:pt idx="202">
                  <c:v>1495.4194703507001</c:v>
                </c:pt>
                <c:pt idx="203">
                  <c:v>1497.1571729377399</c:v>
                </c:pt>
                <c:pt idx="204">
                  <c:v>1484.7404574191601</c:v>
                </c:pt>
                <c:pt idx="205">
                  <c:v>1484.9919005850199</c:v>
                </c:pt>
                <c:pt idx="206">
                  <c:v>1483.03259457788</c:v>
                </c:pt>
                <c:pt idx="207">
                  <c:v>1480.55758203192</c:v>
                </c:pt>
                <c:pt idx="208">
                  <c:v>1483.70724717697</c:v>
                </c:pt>
                <c:pt idx="209">
                  <c:v>1497.37904615363</c:v>
                </c:pt>
                <c:pt idx="210">
                  <c:v>1481.9272316870799</c:v>
                </c:pt>
                <c:pt idx="211">
                  <c:v>1495.6014039572999</c:v>
                </c:pt>
                <c:pt idx="212">
                  <c:v>1498.5202845266299</c:v>
                </c:pt>
                <c:pt idx="213">
                  <c:v>1499.91182662608</c:v>
                </c:pt>
                <c:pt idx="214">
                  <c:v>1494.8205416723699</c:v>
                </c:pt>
                <c:pt idx="215">
                  <c:v>1491.56496801396</c:v>
                </c:pt>
                <c:pt idx="216">
                  <c:v>1502.22072168462</c:v>
                </c:pt>
                <c:pt idx="217">
                  <c:v>1510.2495035746999</c:v>
                </c:pt>
                <c:pt idx="218">
                  <c:v>1497.1404134511799</c:v>
                </c:pt>
                <c:pt idx="219">
                  <c:v>1486.0226191069501</c:v>
                </c:pt>
                <c:pt idx="220">
                  <c:v>1492.56837366799</c:v>
                </c:pt>
                <c:pt idx="221">
                  <c:v>1500.0863487041399</c:v>
                </c:pt>
                <c:pt idx="222">
                  <c:v>1500.7016932937199</c:v>
                </c:pt>
                <c:pt idx="223">
                  <c:v>1488.3642748793</c:v>
                </c:pt>
                <c:pt idx="224">
                  <c:v>1497.28683622978</c:v>
                </c:pt>
                <c:pt idx="225">
                  <c:v>1493.76847769347</c:v>
                </c:pt>
                <c:pt idx="226">
                  <c:v>1493.76847769347</c:v>
                </c:pt>
                <c:pt idx="227">
                  <c:v>1497.09967860097</c:v>
                </c:pt>
                <c:pt idx="228">
                  <c:v>1494.7249875042</c:v>
                </c:pt>
                <c:pt idx="229">
                  <c:v>1509.19308405723</c:v>
                </c:pt>
                <c:pt idx="230">
                  <c:v>1477.5282468902999</c:v>
                </c:pt>
                <c:pt idx="231">
                  <c:v>1484.66105579135</c:v>
                </c:pt>
                <c:pt idx="232">
                  <c:v>1492.99759893023</c:v>
                </c:pt>
                <c:pt idx="233">
                  <c:v>1491.72459388537</c:v>
                </c:pt>
                <c:pt idx="234">
                  <c:v>1508.1585270378901</c:v>
                </c:pt>
                <c:pt idx="235">
                  <c:v>1512.75617612983</c:v>
                </c:pt>
                <c:pt idx="236">
                  <c:v>1503.28509791396</c:v>
                </c:pt>
                <c:pt idx="237">
                  <c:v>1510.1039999135901</c:v>
                </c:pt>
                <c:pt idx="238">
                  <c:v>1506.7248168503299</c:v>
                </c:pt>
                <c:pt idx="239">
                  <c:v>1523.1557128639099</c:v>
                </c:pt>
                <c:pt idx="240">
                  <c:v>1523.6507920882</c:v>
                </c:pt>
                <c:pt idx="241">
                  <c:v>1520.14275862349</c:v>
                </c:pt>
                <c:pt idx="242">
                  <c:v>1514.3366953356001</c:v>
                </c:pt>
                <c:pt idx="243">
                  <c:v>1509.1530948475699</c:v>
                </c:pt>
                <c:pt idx="244">
                  <c:v>1500.6747039659899</c:v>
                </c:pt>
                <c:pt idx="245">
                  <c:v>1506.7242342873899</c:v>
                </c:pt>
                <c:pt idx="246">
                  <c:v>1509.0358920185099</c:v>
                </c:pt>
                <c:pt idx="247">
                  <c:v>1502.8481796074</c:v>
                </c:pt>
                <c:pt idx="248">
                  <c:v>1509.3485024341001</c:v>
                </c:pt>
                <c:pt idx="249">
                  <c:v>1521.1231086978</c:v>
                </c:pt>
                <c:pt idx="250">
                  <c:v>1517.77002625573</c:v>
                </c:pt>
                <c:pt idx="251">
                  <c:v>1523.1637789282299</c:v>
                </c:pt>
                <c:pt idx="252">
                  <c:v>1509.86493778473</c:v>
                </c:pt>
                <c:pt idx="253">
                  <c:v>1494.6838057551699</c:v>
                </c:pt>
                <c:pt idx="254">
                  <c:v>1490.67137955011</c:v>
                </c:pt>
                <c:pt idx="255">
                  <c:v>1497.32971831482</c:v>
                </c:pt>
                <c:pt idx="256">
                  <c:v>1488.4037447810899</c:v>
                </c:pt>
                <c:pt idx="257">
                  <c:v>1516.92149400675</c:v>
                </c:pt>
                <c:pt idx="258">
                  <c:v>1491.24349913589</c:v>
                </c:pt>
                <c:pt idx="259">
                  <c:v>1490.8393515688599</c:v>
                </c:pt>
                <c:pt idx="260">
                  <c:v>1511.0673288953201</c:v>
                </c:pt>
                <c:pt idx="261">
                  <c:v>1518.21882153566</c:v>
                </c:pt>
                <c:pt idx="262">
                  <c:v>1499.4106036799201</c:v>
                </c:pt>
                <c:pt idx="263">
                  <c:v>1504.31641211025</c:v>
                </c:pt>
                <c:pt idx="264">
                  <c:v>1509.8341485191099</c:v>
                </c:pt>
                <c:pt idx="265">
                  <c:v>1512.6916743202801</c:v>
                </c:pt>
                <c:pt idx="266">
                  <c:v>1506.4676729831699</c:v>
                </c:pt>
                <c:pt idx="267">
                  <c:v>1499.51556390417</c:v>
                </c:pt>
                <c:pt idx="268">
                  <c:v>1507.38432184407</c:v>
                </c:pt>
                <c:pt idx="269">
                  <c:v>1513.31710362484</c:v>
                </c:pt>
                <c:pt idx="270">
                  <c:v>1517.6435239095999</c:v>
                </c:pt>
                <c:pt idx="271">
                  <c:v>1495.80042261875</c:v>
                </c:pt>
                <c:pt idx="272">
                  <c:v>1494.0812611419999</c:v>
                </c:pt>
                <c:pt idx="273">
                  <c:v>1498.82557886617</c:v>
                </c:pt>
                <c:pt idx="274">
                  <c:v>1500.5784036744401</c:v>
                </c:pt>
                <c:pt idx="275">
                  <c:v>1503.0472449347899</c:v>
                </c:pt>
                <c:pt idx="276">
                  <c:v>1516.3492491847101</c:v>
                </c:pt>
                <c:pt idx="277">
                  <c:v>1514.7793740555501</c:v>
                </c:pt>
                <c:pt idx="278">
                  <c:v>1513.23800793127</c:v>
                </c:pt>
                <c:pt idx="279">
                  <c:v>1504.3074175459101</c:v>
                </c:pt>
                <c:pt idx="280">
                  <c:v>1496.6307060413999</c:v>
                </c:pt>
                <c:pt idx="281">
                  <c:v>1505.7054097169701</c:v>
                </c:pt>
                <c:pt idx="282">
                  <c:v>1503.7222958294401</c:v>
                </c:pt>
                <c:pt idx="283">
                  <c:v>1500.30677138187</c:v>
                </c:pt>
                <c:pt idx="284">
                  <c:v>1509.6981619309599</c:v>
                </c:pt>
                <c:pt idx="285">
                  <c:v>1515.4909136123899</c:v>
                </c:pt>
                <c:pt idx="286">
                  <c:v>1509.88443769577</c:v>
                </c:pt>
                <c:pt idx="287">
                  <c:v>1506.6603785979601</c:v>
                </c:pt>
                <c:pt idx="288">
                  <c:v>1503.04937613984</c:v>
                </c:pt>
                <c:pt idx="289">
                  <c:v>1513.83418351251</c:v>
                </c:pt>
                <c:pt idx="290">
                  <c:v>1511.1718085001</c:v>
                </c:pt>
                <c:pt idx="291">
                  <c:v>1529.4621577830801</c:v>
                </c:pt>
                <c:pt idx="292">
                  <c:v>1495.82658476402</c:v>
                </c:pt>
                <c:pt idx="293">
                  <c:v>1521.13980774325</c:v>
                </c:pt>
                <c:pt idx="294">
                  <c:v>1508.54205919574</c:v>
                </c:pt>
                <c:pt idx="295">
                  <c:v>1512.06991377126</c:v>
                </c:pt>
                <c:pt idx="296">
                  <c:v>1509.2443657003801</c:v>
                </c:pt>
                <c:pt idx="297">
                  <c:v>1505.2421485490099</c:v>
                </c:pt>
                <c:pt idx="298">
                  <c:v>1507.68877567866</c:v>
                </c:pt>
                <c:pt idx="299">
                  <c:v>1516.7496692116199</c:v>
                </c:pt>
                <c:pt idx="300">
                  <c:v>1514.8949428762</c:v>
                </c:pt>
                <c:pt idx="301">
                  <c:v>1507.89981839235</c:v>
                </c:pt>
                <c:pt idx="302">
                  <c:v>1510.5893522936999</c:v>
                </c:pt>
                <c:pt idx="303">
                  <c:v>1515.6176564894699</c:v>
                </c:pt>
                <c:pt idx="304">
                  <c:v>1509.56942774854</c:v>
                </c:pt>
                <c:pt idx="305">
                  <c:v>1501.09896443245</c:v>
                </c:pt>
                <c:pt idx="306">
                  <c:v>1508.32130793587</c:v>
                </c:pt>
                <c:pt idx="307">
                  <c:v>1510.8857810970601</c:v>
                </c:pt>
                <c:pt idx="308">
                  <c:v>1505.04302855474</c:v>
                </c:pt>
                <c:pt idx="309">
                  <c:v>1509.64072260496</c:v>
                </c:pt>
                <c:pt idx="310">
                  <c:v>1514.55618571322</c:v>
                </c:pt>
                <c:pt idx="311">
                  <c:v>1509.8816190167699</c:v>
                </c:pt>
                <c:pt idx="312">
                  <c:v>1511.4824999703701</c:v>
                </c:pt>
                <c:pt idx="313">
                  <c:v>1508.30744264901</c:v>
                </c:pt>
                <c:pt idx="314">
                  <c:v>1512.8304099363099</c:v>
                </c:pt>
                <c:pt idx="315">
                  <c:v>1502.56809620186</c:v>
                </c:pt>
                <c:pt idx="316">
                  <c:v>1512.4295393104201</c:v>
                </c:pt>
                <c:pt idx="317">
                  <c:v>1514.7176915254099</c:v>
                </c:pt>
                <c:pt idx="318">
                  <c:v>1519.03972763002</c:v>
                </c:pt>
                <c:pt idx="319">
                  <c:v>1508.03073871889</c:v>
                </c:pt>
                <c:pt idx="320">
                  <c:v>1514.95863745977</c:v>
                </c:pt>
                <c:pt idx="321">
                  <c:v>1511.01926542258</c:v>
                </c:pt>
                <c:pt idx="322">
                  <c:v>1514.8115434377</c:v>
                </c:pt>
                <c:pt idx="323">
                  <c:v>1510.2892939261201</c:v>
                </c:pt>
                <c:pt idx="324">
                  <c:v>1519.6112323253601</c:v>
                </c:pt>
                <c:pt idx="325">
                  <c:v>1512.9598409027401</c:v>
                </c:pt>
                <c:pt idx="326">
                  <c:v>1510.4025380752701</c:v>
                </c:pt>
                <c:pt idx="327">
                  <c:v>1516.3092435687599</c:v>
                </c:pt>
                <c:pt idx="328">
                  <c:v>1510.8216701532201</c:v>
                </c:pt>
                <c:pt idx="329">
                  <c:v>1522.15144931795</c:v>
                </c:pt>
                <c:pt idx="330">
                  <c:v>1501.77735012784</c:v>
                </c:pt>
                <c:pt idx="331">
                  <c:v>1500.27729748466</c:v>
                </c:pt>
                <c:pt idx="332">
                  <c:v>1517.39323193321</c:v>
                </c:pt>
                <c:pt idx="333">
                  <c:v>1513.02525347286</c:v>
                </c:pt>
                <c:pt idx="334">
                  <c:v>1497.7736171717299</c:v>
                </c:pt>
                <c:pt idx="335">
                  <c:v>1494.68422032082</c:v>
                </c:pt>
                <c:pt idx="336">
                  <c:v>1518.0801009695699</c:v>
                </c:pt>
                <c:pt idx="337">
                  <c:v>1510.41412288225</c:v>
                </c:pt>
                <c:pt idx="338">
                  <c:v>1507.16724925982</c:v>
                </c:pt>
                <c:pt idx="339">
                  <c:v>1506.6503293834</c:v>
                </c:pt>
                <c:pt idx="340">
                  <c:v>1515.1643185246</c:v>
                </c:pt>
                <c:pt idx="341">
                  <c:v>1516.21149247738</c:v>
                </c:pt>
                <c:pt idx="342">
                  <c:v>1513.0501297638</c:v>
                </c:pt>
                <c:pt idx="343">
                  <c:v>1505.1146307383599</c:v>
                </c:pt>
                <c:pt idx="344">
                  <c:v>1505.9992077475599</c:v>
                </c:pt>
                <c:pt idx="345">
                  <c:v>1525.5978827143001</c:v>
                </c:pt>
                <c:pt idx="346">
                  <c:v>1516.1055442261099</c:v>
                </c:pt>
                <c:pt idx="347">
                  <c:v>1522.4887100700701</c:v>
                </c:pt>
                <c:pt idx="348">
                  <c:v>1503.5603660766101</c:v>
                </c:pt>
                <c:pt idx="349">
                  <c:v>1514.7719157080301</c:v>
                </c:pt>
                <c:pt idx="350">
                  <c:v>1481.8407525525299</c:v>
                </c:pt>
                <c:pt idx="351">
                  <c:v>1504.3471127397099</c:v>
                </c:pt>
                <c:pt idx="352">
                  <c:v>1503.92436078936</c:v>
                </c:pt>
                <c:pt idx="353">
                  <c:v>1493.9996720397601</c:v>
                </c:pt>
                <c:pt idx="354">
                  <c:v>1503.0018323781601</c:v>
                </c:pt>
                <c:pt idx="355">
                  <c:v>1507.9601688422899</c:v>
                </c:pt>
                <c:pt idx="356">
                  <c:v>1486.00760168086</c:v>
                </c:pt>
                <c:pt idx="357">
                  <c:v>1517.0101008394499</c:v>
                </c:pt>
                <c:pt idx="358">
                  <c:v>1508.98577799346</c:v>
                </c:pt>
                <c:pt idx="359">
                  <c:v>1513.1544392818701</c:v>
                </c:pt>
                <c:pt idx="360">
                  <c:v>1501.5159766297299</c:v>
                </c:pt>
                <c:pt idx="361">
                  <c:v>1511.42765102004</c:v>
                </c:pt>
                <c:pt idx="362">
                  <c:v>1524.8011439914401</c:v>
                </c:pt>
                <c:pt idx="363">
                  <c:v>1499.9557946336099</c:v>
                </c:pt>
                <c:pt idx="364">
                  <c:v>1480.6589022360299</c:v>
                </c:pt>
                <c:pt idx="365">
                  <c:v>1526.1549985463901</c:v>
                </c:pt>
                <c:pt idx="366" formatCode="General">
                  <c:v>1517.5406701186801</c:v>
                </c:pt>
                <c:pt idx="367">
                  <c:v>1513.9099550726701</c:v>
                </c:pt>
                <c:pt idx="368">
                  <c:v>1512.2862669067299</c:v>
                </c:pt>
                <c:pt idx="369">
                  <c:v>1520.8089189243001</c:v>
                </c:pt>
                <c:pt idx="370">
                  <c:v>1498.0763359111299</c:v>
                </c:pt>
                <c:pt idx="371">
                  <c:v>1502.79621184961</c:v>
                </c:pt>
                <c:pt idx="372">
                  <c:v>1499.6851471276</c:v>
                </c:pt>
                <c:pt idx="373">
                  <c:v>1505.3036888762599</c:v>
                </c:pt>
                <c:pt idx="374">
                  <c:v>1510.4648442554001</c:v>
                </c:pt>
                <c:pt idx="375">
                  <c:v>1506.36206620229</c:v>
                </c:pt>
                <c:pt idx="376">
                  <c:v>1509.3139925159201</c:v>
                </c:pt>
                <c:pt idx="377">
                  <c:v>1516.3184462987999</c:v>
                </c:pt>
                <c:pt idx="378">
                  <c:v>1505.8899046567101</c:v>
                </c:pt>
                <c:pt idx="379">
                  <c:v>1506.3195339062299</c:v>
                </c:pt>
                <c:pt idx="380">
                  <c:v>1492.2091997856501</c:v>
                </c:pt>
                <c:pt idx="381">
                  <c:v>1498.52735479688</c:v>
                </c:pt>
                <c:pt idx="382">
                  <c:v>1511.78118873318</c:v>
                </c:pt>
                <c:pt idx="383">
                  <c:v>1513.6327375517001</c:v>
                </c:pt>
                <c:pt idx="384">
                  <c:v>1507.80677659312</c:v>
                </c:pt>
                <c:pt idx="385">
                  <c:v>1503.8956799607399</c:v>
                </c:pt>
                <c:pt idx="386">
                  <c:v>1507.8200361546001</c:v>
                </c:pt>
                <c:pt idx="387">
                  <c:v>1505.3481466227199</c:v>
                </c:pt>
                <c:pt idx="388">
                  <c:v>1507.6729563172401</c:v>
                </c:pt>
                <c:pt idx="389">
                  <c:v>1494.71791093805</c:v>
                </c:pt>
                <c:pt idx="390">
                  <c:v>1509.2634786722699</c:v>
                </c:pt>
                <c:pt idx="391">
                  <c:v>1504.7303266031699</c:v>
                </c:pt>
                <c:pt idx="392">
                  <c:v>1511.53802331819</c:v>
                </c:pt>
                <c:pt idx="393">
                  <c:v>1515.1806528413799</c:v>
                </c:pt>
                <c:pt idx="394">
                  <c:v>1509.4347843570699</c:v>
                </c:pt>
                <c:pt idx="395">
                  <c:v>1511.0418183870299</c:v>
                </c:pt>
                <c:pt idx="396">
                  <c:v>1519.04820269569</c:v>
                </c:pt>
                <c:pt idx="397">
                  <c:v>1514.12003930376</c:v>
                </c:pt>
                <c:pt idx="398">
                  <c:v>1502.04472020663</c:v>
                </c:pt>
                <c:pt idx="399">
                  <c:v>1497.6412194023901</c:v>
                </c:pt>
                <c:pt idx="400">
                  <c:v>1503.09378426168</c:v>
                </c:pt>
                <c:pt idx="401">
                  <c:v>1509.04694323124</c:v>
                </c:pt>
                <c:pt idx="402">
                  <c:v>1501.7954306809199</c:v>
                </c:pt>
                <c:pt idx="403">
                  <c:v>1508.5162742397099</c:v>
                </c:pt>
                <c:pt idx="404">
                  <c:v>1494.9962124891799</c:v>
                </c:pt>
                <c:pt idx="405">
                  <c:v>1510.44698700709</c:v>
                </c:pt>
                <c:pt idx="406">
                  <c:v>1508.4666452336401</c:v>
                </c:pt>
                <c:pt idx="407">
                  <c:v>1498.47340778894</c:v>
                </c:pt>
                <c:pt idx="408">
                  <c:v>1483.1570427183599</c:v>
                </c:pt>
                <c:pt idx="409">
                  <c:v>1501.73385156057</c:v>
                </c:pt>
                <c:pt idx="410">
                  <c:v>1504.6216814530501</c:v>
                </c:pt>
                <c:pt idx="411">
                  <c:v>1499.4824186698099</c:v>
                </c:pt>
                <c:pt idx="412">
                  <c:v>1503.6675354204499</c:v>
                </c:pt>
                <c:pt idx="413">
                  <c:v>1509.0629404722399</c:v>
                </c:pt>
                <c:pt idx="414">
                  <c:v>1486.18834561531</c:v>
                </c:pt>
                <c:pt idx="415">
                  <c:v>1505.63438581593</c:v>
                </c:pt>
                <c:pt idx="416">
                  <c:v>1511.53106123728</c:v>
                </c:pt>
                <c:pt idx="417">
                  <c:v>1517.08275971845</c:v>
                </c:pt>
                <c:pt idx="418">
                  <c:v>1512.3578172023999</c:v>
                </c:pt>
                <c:pt idx="419">
                  <c:v>1499.2015698269099</c:v>
                </c:pt>
                <c:pt idx="420">
                  <c:v>1509.6603486977201</c:v>
                </c:pt>
                <c:pt idx="421">
                  <c:v>1506.59364010577</c:v>
                </c:pt>
                <c:pt idx="422">
                  <c:v>1501.08210813816</c:v>
                </c:pt>
                <c:pt idx="423">
                  <c:v>1502.06569178615</c:v>
                </c:pt>
                <c:pt idx="424">
                  <c:v>1516.9780398651101</c:v>
                </c:pt>
                <c:pt idx="425">
                  <c:v>1503.83416155597</c:v>
                </c:pt>
                <c:pt idx="426">
                  <c:v>1499.5805831195701</c:v>
                </c:pt>
                <c:pt idx="427">
                  <c:v>1494.14529877776</c:v>
                </c:pt>
                <c:pt idx="428">
                  <c:v>1510.3762990053999</c:v>
                </c:pt>
                <c:pt idx="429">
                  <c:v>1507.2557990056901</c:v>
                </c:pt>
                <c:pt idx="430">
                  <c:v>1509.2327311598101</c:v>
                </c:pt>
                <c:pt idx="431">
                  <c:v>1504.7802965258099</c:v>
                </c:pt>
                <c:pt idx="432">
                  <c:v>1497.5599042828101</c:v>
                </c:pt>
                <c:pt idx="433">
                  <c:v>1502.30275187143</c:v>
                </c:pt>
                <c:pt idx="434">
                  <c:v>1499.1751537698001</c:v>
                </c:pt>
                <c:pt idx="435">
                  <c:v>1481.9030628688199</c:v>
                </c:pt>
                <c:pt idx="436">
                  <c:v>1503.7164218611399</c:v>
                </c:pt>
                <c:pt idx="437">
                  <c:v>1492.45365186657</c:v>
                </c:pt>
                <c:pt idx="438">
                  <c:v>1498.64033950936</c:v>
                </c:pt>
                <c:pt idx="439">
                  <c:v>1482.8886349105801</c:v>
                </c:pt>
                <c:pt idx="440">
                  <c:v>1510.6824344127101</c:v>
                </c:pt>
                <c:pt idx="441">
                  <c:v>1503.1429751542501</c:v>
                </c:pt>
                <c:pt idx="442">
                  <c:v>1506.51533623415</c:v>
                </c:pt>
                <c:pt idx="443">
                  <c:v>1490.09502062563</c:v>
                </c:pt>
                <c:pt idx="444">
                  <c:v>1492.88723430103</c:v>
                </c:pt>
                <c:pt idx="445">
                  <c:v>1483.0404519654601</c:v>
                </c:pt>
                <c:pt idx="446">
                  <c:v>1494.58071189925</c:v>
                </c:pt>
                <c:pt idx="447">
                  <c:v>1498.7589119265499</c:v>
                </c:pt>
                <c:pt idx="448">
                  <c:v>1504.50756964077</c:v>
                </c:pt>
                <c:pt idx="449">
                  <c:v>1503.2779237892901</c:v>
                </c:pt>
                <c:pt idx="450">
                  <c:v>1496.6303858501301</c:v>
                </c:pt>
                <c:pt idx="451">
                  <c:v>1498.1966384414</c:v>
                </c:pt>
                <c:pt idx="452">
                  <c:v>1499.14535474182</c:v>
                </c:pt>
                <c:pt idx="453">
                  <c:v>1495.1872127668601</c:v>
                </c:pt>
                <c:pt idx="454">
                  <c:v>1514.0249925467499</c:v>
                </c:pt>
                <c:pt idx="455">
                  <c:v>1490.09215733515</c:v>
                </c:pt>
                <c:pt idx="456">
                  <c:v>1507.8928025427001</c:v>
                </c:pt>
                <c:pt idx="457">
                  <c:v>1524.1512938758499</c:v>
                </c:pt>
                <c:pt idx="458">
                  <c:v>1497.4137917550299</c:v>
                </c:pt>
                <c:pt idx="459">
                  <c:v>1488.32699758837</c:v>
                </c:pt>
                <c:pt idx="460">
                  <c:v>1488.2011391937899</c:v>
                </c:pt>
                <c:pt idx="461">
                  <c:v>1502.08235432476</c:v>
                </c:pt>
                <c:pt idx="462">
                  <c:v>1489.0419760341099</c:v>
                </c:pt>
                <c:pt idx="463">
                  <c:v>1490.9617974068799</c:v>
                </c:pt>
                <c:pt idx="464">
                  <c:v>1497.08280756874</c:v>
                </c:pt>
                <c:pt idx="465">
                  <c:v>1511.8434240494901</c:v>
                </c:pt>
                <c:pt idx="466">
                  <c:v>1513.61465235945</c:v>
                </c:pt>
                <c:pt idx="467">
                  <c:v>1499.90975379616</c:v>
                </c:pt>
                <c:pt idx="468">
                  <c:v>1529.89677521679</c:v>
                </c:pt>
                <c:pt idx="469">
                  <c:v>1490.07139302005</c:v>
                </c:pt>
                <c:pt idx="470">
                  <c:v>1492.34944660733</c:v>
                </c:pt>
                <c:pt idx="471">
                  <c:v>1499.4171554192701</c:v>
                </c:pt>
                <c:pt idx="472">
                  <c:v>1487.3966094256</c:v>
                </c:pt>
                <c:pt idx="473">
                  <c:v>1482.8249372844</c:v>
                </c:pt>
                <c:pt idx="474">
                  <c:v>1489.76727102529</c:v>
                </c:pt>
                <c:pt idx="475">
                  <c:v>1501.0691793189901</c:v>
                </c:pt>
                <c:pt idx="476">
                  <c:v>1491.20274972948</c:v>
                </c:pt>
                <c:pt idx="477">
                  <c:v>1485.98685324907</c:v>
                </c:pt>
                <c:pt idx="478">
                  <c:v>1481.8898698328501</c:v>
                </c:pt>
                <c:pt idx="479">
                  <c:v>1485.1360922665899</c:v>
                </c:pt>
                <c:pt idx="480">
                  <c:v>1490.91145793388</c:v>
                </c:pt>
                <c:pt idx="481">
                  <c:v>1494.0734472822601</c:v>
                </c:pt>
                <c:pt idx="482">
                  <c:v>1499.8120651245099</c:v>
                </c:pt>
                <c:pt idx="483">
                  <c:v>1514.52581376802</c:v>
                </c:pt>
                <c:pt idx="484">
                  <c:v>1500.37083369579</c:v>
                </c:pt>
                <c:pt idx="485">
                  <c:v>1500.30779224256</c:v>
                </c:pt>
                <c:pt idx="486">
                  <c:v>1486.2886046408701</c:v>
                </c:pt>
                <c:pt idx="487">
                  <c:v>1502.83157000096</c:v>
                </c:pt>
                <c:pt idx="488">
                  <c:v>1486.52057707109</c:v>
                </c:pt>
                <c:pt idx="489">
                  <c:v>1494.3681682756001</c:v>
                </c:pt>
                <c:pt idx="490">
                  <c:v>1484.78678031547</c:v>
                </c:pt>
                <c:pt idx="491">
                  <c:v>1490.0696778189099</c:v>
                </c:pt>
                <c:pt idx="492">
                  <c:v>1493.60188259644</c:v>
                </c:pt>
                <c:pt idx="493">
                  <c:v>1485.1896534631601</c:v>
                </c:pt>
                <c:pt idx="494">
                  <c:v>1466.7398031814901</c:v>
                </c:pt>
                <c:pt idx="495">
                  <c:v>1456.1269804905401</c:v>
                </c:pt>
                <c:pt idx="496">
                  <c:v>1433.37744946099</c:v>
                </c:pt>
                <c:pt idx="499">
                  <c:v>1489.3394977758001</c:v>
                </c:pt>
                <c:pt idx="500">
                  <c:v>1487.2746074182901</c:v>
                </c:pt>
                <c:pt idx="501">
                  <c:v>1494.0184132775901</c:v>
                </c:pt>
                <c:pt idx="502">
                  <c:v>1494.61418457133</c:v>
                </c:pt>
                <c:pt idx="503">
                  <c:v>1488.3237135290201</c:v>
                </c:pt>
                <c:pt idx="504">
                  <c:v>1490.78451195817</c:v>
                </c:pt>
                <c:pt idx="505">
                  <c:v>1481.5672445359201</c:v>
                </c:pt>
                <c:pt idx="506">
                  <c:v>1484.4436711506501</c:v>
                </c:pt>
                <c:pt idx="507">
                  <c:v>1492.2464600436999</c:v>
                </c:pt>
                <c:pt idx="508">
                  <c:v>1482.8035128490001</c:v>
                </c:pt>
                <c:pt idx="509">
                  <c:v>1484.3503963681401</c:v>
                </c:pt>
                <c:pt idx="510">
                  <c:v>1489.3497046718401</c:v>
                </c:pt>
                <c:pt idx="511">
                  <c:v>1482.34343080348</c:v>
                </c:pt>
                <c:pt idx="512">
                  <c:v>1486.93842638762</c:v>
                </c:pt>
                <c:pt idx="513">
                  <c:v>1500.6387500962001</c:v>
                </c:pt>
                <c:pt idx="514">
                  <c:v>1493.84271900616</c:v>
                </c:pt>
                <c:pt idx="515">
                  <c:v>1474.6451206300701</c:v>
                </c:pt>
                <c:pt idx="516">
                  <c:v>1477.9691325164799</c:v>
                </c:pt>
                <c:pt idx="517">
                  <c:v>1477.1781866914</c:v>
                </c:pt>
                <c:pt idx="518">
                  <c:v>1503.7396461040601</c:v>
                </c:pt>
                <c:pt idx="519">
                  <c:v>1488.9301752378999</c:v>
                </c:pt>
                <c:pt idx="520">
                  <c:v>1494.5251791830301</c:v>
                </c:pt>
                <c:pt idx="521">
                  <c:v>1506.23497858465</c:v>
                </c:pt>
                <c:pt idx="522">
                  <c:v>1494.2592197030699</c:v>
                </c:pt>
                <c:pt idx="523">
                  <c:v>1495.9548421448401</c:v>
                </c:pt>
                <c:pt idx="524">
                  <c:v>1509.02694029043</c:v>
                </c:pt>
                <c:pt idx="525">
                  <c:v>1512.12847319196</c:v>
                </c:pt>
                <c:pt idx="526">
                  <c:v>1517.5790016539399</c:v>
                </c:pt>
                <c:pt idx="527">
                  <c:v>1490.0059740901199</c:v>
                </c:pt>
                <c:pt idx="528">
                  <c:v>1493.2749989599099</c:v>
                </c:pt>
                <c:pt idx="529">
                  <c:v>1505.61056148644</c:v>
                </c:pt>
                <c:pt idx="530">
                  <c:v>1508.8475437396</c:v>
                </c:pt>
                <c:pt idx="531">
                  <c:v>1506.9481266959499</c:v>
                </c:pt>
                <c:pt idx="532">
                  <c:v>1498.4085056051399</c:v>
                </c:pt>
                <c:pt idx="533">
                  <c:v>1492.98347281924</c:v>
                </c:pt>
                <c:pt idx="534">
                  <c:v>1490.2024690635201</c:v>
                </c:pt>
                <c:pt idx="535">
                  <c:v>1485.96472627917</c:v>
                </c:pt>
                <c:pt idx="536">
                  <c:v>1493.7486098623799</c:v>
                </c:pt>
                <c:pt idx="537">
                  <c:v>1494.1077807234501</c:v>
                </c:pt>
                <c:pt idx="538">
                  <c:v>1484.0301882899801</c:v>
                </c:pt>
                <c:pt idx="539">
                  <c:v>1484.3282998545801</c:v>
                </c:pt>
                <c:pt idx="540">
                  <c:v>1487.14966278723</c:v>
                </c:pt>
                <c:pt idx="541">
                  <c:v>1495.15935515196</c:v>
                </c:pt>
                <c:pt idx="542">
                  <c:v>1498.5027339712799</c:v>
                </c:pt>
                <c:pt idx="543">
                  <c:v>1491.7021207847499</c:v>
                </c:pt>
                <c:pt idx="544">
                  <c:v>1503.76508354308</c:v>
                </c:pt>
                <c:pt idx="545">
                  <c:v>1478.62257307153</c:v>
                </c:pt>
                <c:pt idx="546">
                  <c:v>1493.07000212107</c:v>
                </c:pt>
                <c:pt idx="547">
                  <c:v>1497.9312738759299</c:v>
                </c:pt>
                <c:pt idx="548">
                  <c:v>1499.9253162666801</c:v>
                </c:pt>
                <c:pt idx="549">
                  <c:v>1496.5466347711699</c:v>
                </c:pt>
                <c:pt idx="550">
                  <c:v>1501.9027215855799</c:v>
                </c:pt>
                <c:pt idx="551">
                  <c:v>1486.0475529918599</c:v>
                </c:pt>
                <c:pt idx="552">
                  <c:v>1495.6545088605701</c:v>
                </c:pt>
                <c:pt idx="553">
                  <c:v>1494.35702873584</c:v>
                </c:pt>
                <c:pt idx="554">
                  <c:v>1496.0040980200399</c:v>
                </c:pt>
                <c:pt idx="555">
                  <c:v>1488.76840207743</c:v>
                </c:pt>
                <c:pt idx="556">
                  <c:v>1505.83308950376</c:v>
                </c:pt>
                <c:pt idx="557">
                  <c:v>1502.4712994776201</c:v>
                </c:pt>
                <c:pt idx="558">
                  <c:v>1487.71071481165</c:v>
                </c:pt>
                <c:pt idx="559">
                  <c:v>1505.21869244664</c:v>
                </c:pt>
                <c:pt idx="560">
                  <c:v>1503.58615492901</c:v>
                </c:pt>
                <c:pt idx="561">
                  <c:v>1492.6805304438899</c:v>
                </c:pt>
                <c:pt idx="562">
                  <c:v>1490.3784971991799</c:v>
                </c:pt>
                <c:pt idx="563">
                  <c:v>1502.9547845028301</c:v>
                </c:pt>
                <c:pt idx="564">
                  <c:v>1503.3687708489099</c:v>
                </c:pt>
                <c:pt idx="565">
                  <c:v>1511.0861979876299</c:v>
                </c:pt>
                <c:pt idx="566">
                  <c:v>1475.65362097292</c:v>
                </c:pt>
                <c:pt idx="567">
                  <c:v>1517.1654590999999</c:v>
                </c:pt>
                <c:pt idx="568">
                  <c:v>1511.72232706518</c:v>
                </c:pt>
                <c:pt idx="569">
                  <c:v>1514.6425220242299</c:v>
                </c:pt>
                <c:pt idx="570">
                  <c:v>1515.2889630561201</c:v>
                </c:pt>
                <c:pt idx="571">
                  <c:v>1516.4872734048199</c:v>
                </c:pt>
                <c:pt idx="572">
                  <c:v>1509.9414943044501</c:v>
                </c:pt>
                <c:pt idx="573">
                  <c:v>1507.2358067617699</c:v>
                </c:pt>
                <c:pt idx="574">
                  <c:v>1512.1944451305301</c:v>
                </c:pt>
                <c:pt idx="575">
                  <c:v>1491.09696500158</c:v>
                </c:pt>
                <c:pt idx="576">
                  <c:v>1508.7219610305799</c:v>
                </c:pt>
                <c:pt idx="577">
                  <c:v>1510.99858875777</c:v>
                </c:pt>
                <c:pt idx="578">
                  <c:v>1508.8338180471501</c:v>
                </c:pt>
                <c:pt idx="579">
                  <c:v>1502.2866448391801</c:v>
                </c:pt>
                <c:pt idx="580">
                  <c:v>1512.5186713236001</c:v>
                </c:pt>
                <c:pt idx="581">
                  <c:v>1494.1165226685</c:v>
                </c:pt>
                <c:pt idx="582">
                  <c:v>1512.3128004897701</c:v>
                </c:pt>
                <c:pt idx="583">
                  <c:v>1503.1745170050499</c:v>
                </c:pt>
                <c:pt idx="584">
                  <c:v>1499.32212889263</c:v>
                </c:pt>
                <c:pt idx="585">
                  <c:v>1497.31825165239</c:v>
                </c:pt>
                <c:pt idx="586">
                  <c:v>1497.6665562365299</c:v>
                </c:pt>
                <c:pt idx="587">
                  <c:v>1499.7244296690301</c:v>
                </c:pt>
                <c:pt idx="588">
                  <c:v>1514.3227874745301</c:v>
                </c:pt>
                <c:pt idx="589">
                  <c:v>1495.88459119144</c:v>
                </c:pt>
                <c:pt idx="590">
                  <c:v>1513.9583681337199</c:v>
                </c:pt>
                <c:pt idx="591">
                  <c:v>1508.7691617465</c:v>
                </c:pt>
                <c:pt idx="592">
                  <c:v>1489.04762818736</c:v>
                </c:pt>
                <c:pt idx="593">
                  <c:v>1496.9860838581501</c:v>
                </c:pt>
                <c:pt idx="594">
                  <c:v>1514.59830569989</c:v>
                </c:pt>
                <c:pt idx="595">
                  <c:v>1494.21541868638</c:v>
                </c:pt>
                <c:pt idx="596">
                  <c:v>1500.06164918117</c:v>
                </c:pt>
                <c:pt idx="597">
                  <c:v>1504.9767722771201</c:v>
                </c:pt>
                <c:pt idx="598">
                  <c:v>1518.8077500558099</c:v>
                </c:pt>
                <c:pt idx="599">
                  <c:v>1502.1042032947701</c:v>
                </c:pt>
                <c:pt idx="600">
                  <c:v>1509.9116100496101</c:v>
                </c:pt>
                <c:pt idx="601">
                  <c:v>1499.3633669989499</c:v>
                </c:pt>
                <c:pt idx="602">
                  <c:v>1503.73721802002</c:v>
                </c:pt>
                <c:pt idx="603">
                  <c:v>1510.17934594337</c:v>
                </c:pt>
                <c:pt idx="604">
                  <c:v>1504.7339587325901</c:v>
                </c:pt>
                <c:pt idx="605">
                  <c:v>1511.1233723906901</c:v>
                </c:pt>
                <c:pt idx="606">
                  <c:v>1495.9977103418901</c:v>
                </c:pt>
                <c:pt idx="607">
                  <c:v>1519.2171235431799</c:v>
                </c:pt>
                <c:pt idx="608">
                  <c:v>1501.62744006403</c:v>
                </c:pt>
                <c:pt idx="609">
                  <c:v>1504.56111469195</c:v>
                </c:pt>
                <c:pt idx="610">
                  <c:v>1515.39643985212</c:v>
                </c:pt>
                <c:pt idx="611">
                  <c:v>1519.4954423367501</c:v>
                </c:pt>
                <c:pt idx="612">
                  <c:v>1505.75836419386</c:v>
                </c:pt>
                <c:pt idx="613">
                  <c:v>1509.97647097547</c:v>
                </c:pt>
                <c:pt idx="614">
                  <c:v>1512.0853462473599</c:v>
                </c:pt>
                <c:pt idx="615">
                  <c:v>1505.3004572167399</c:v>
                </c:pt>
                <c:pt idx="616">
                  <c:v>1509.29382342125</c:v>
                </c:pt>
                <c:pt idx="617">
                  <c:v>1499.7729705795</c:v>
                </c:pt>
                <c:pt idx="618">
                  <c:v>1501.20193459038</c:v>
                </c:pt>
                <c:pt idx="619">
                  <c:v>1507.36286909658</c:v>
                </c:pt>
                <c:pt idx="620">
                  <c:v>1508.06247710917</c:v>
                </c:pt>
                <c:pt idx="621">
                  <c:v>1514.15164455439</c:v>
                </c:pt>
                <c:pt idx="622">
                  <c:v>1508.16473382706</c:v>
                </c:pt>
                <c:pt idx="623">
                  <c:v>1520.2919132699899</c:v>
                </c:pt>
                <c:pt idx="624">
                  <c:v>1509.0998704552101</c:v>
                </c:pt>
                <c:pt idx="625">
                  <c:v>1516.0441936692901</c:v>
                </c:pt>
                <c:pt idx="626">
                  <c:v>1506.0872087662799</c:v>
                </c:pt>
                <c:pt idx="627">
                  <c:v>1520.9957072935599</c:v>
                </c:pt>
                <c:pt idx="628">
                  <c:v>1509.1735645715501</c:v>
                </c:pt>
                <c:pt idx="629">
                  <c:v>1515.8825062584499</c:v>
                </c:pt>
                <c:pt idx="630">
                  <c:v>1503.4817510984601</c:v>
                </c:pt>
                <c:pt idx="631">
                  <c:v>1500.91543373433</c:v>
                </c:pt>
                <c:pt idx="632">
                  <c:v>1498.8580467215299</c:v>
                </c:pt>
                <c:pt idx="633">
                  <c:v>1506.20141287345</c:v>
                </c:pt>
                <c:pt idx="634">
                  <c:v>1497.51110920972</c:v>
                </c:pt>
                <c:pt idx="635">
                  <c:v>1497.8113242322599</c:v>
                </c:pt>
                <c:pt idx="636">
                  <c:v>1512.5543028557499</c:v>
                </c:pt>
                <c:pt idx="637">
                  <c:v>1513.0120503291701</c:v>
                </c:pt>
                <c:pt idx="638">
                  <c:v>1509.5109952744399</c:v>
                </c:pt>
                <c:pt idx="639">
                  <c:v>1508.2232413209599</c:v>
                </c:pt>
                <c:pt idx="640">
                  <c:v>1500.6466232673499</c:v>
                </c:pt>
                <c:pt idx="641">
                  <c:v>1473.7633532416201</c:v>
                </c:pt>
                <c:pt idx="643">
                  <c:v>1527.39723765846</c:v>
                </c:pt>
                <c:pt idx="644">
                  <c:v>1520.5446515727499</c:v>
                </c:pt>
                <c:pt idx="645">
                  <c:v>1523.3007373497001</c:v>
                </c:pt>
                <c:pt idx="646">
                  <c:v>1512.7959192600399</c:v>
                </c:pt>
                <c:pt idx="647">
                  <c:v>1517.7392672098999</c:v>
                </c:pt>
                <c:pt idx="648">
                  <c:v>1507.18792054285</c:v>
                </c:pt>
                <c:pt idx="649">
                  <c:v>1495.47586895732</c:v>
                </c:pt>
                <c:pt idx="650">
                  <c:v>1491.99887361387</c:v>
                </c:pt>
                <c:pt idx="651">
                  <c:v>1499.07334826897</c:v>
                </c:pt>
                <c:pt idx="652">
                  <c:v>1498.48875627845</c:v>
                </c:pt>
                <c:pt idx="653">
                  <c:v>1498.7863212285899</c:v>
                </c:pt>
                <c:pt idx="654">
                  <c:v>1500.89800390347</c:v>
                </c:pt>
                <c:pt idx="655">
                  <c:v>1492.98507619561</c:v>
                </c:pt>
                <c:pt idx="656">
                  <c:v>1509.6831104196899</c:v>
                </c:pt>
                <c:pt idx="657">
                  <c:v>1492.7548110553</c:v>
                </c:pt>
                <c:pt idx="658">
                  <c:v>1503.11462488658</c:v>
                </c:pt>
                <c:pt idx="659">
                  <c:v>1505.0571676417101</c:v>
                </c:pt>
                <c:pt idx="660">
                  <c:v>1499.61445298072</c:v>
                </c:pt>
                <c:pt idx="661">
                  <c:v>1497.78743376384</c:v>
                </c:pt>
                <c:pt idx="662">
                  <c:v>1485.7835383843001</c:v>
                </c:pt>
                <c:pt idx="663">
                  <c:v>1500.53367243465</c:v>
                </c:pt>
                <c:pt idx="664">
                  <c:v>1481.09738332761</c:v>
                </c:pt>
                <c:pt idx="665">
                  <c:v>1493.9186983571699</c:v>
                </c:pt>
                <c:pt idx="666">
                  <c:v>1496.6560792533901</c:v>
                </c:pt>
                <c:pt idx="667">
                  <c:v>1488.42509711669</c:v>
                </c:pt>
                <c:pt idx="668">
                  <c:v>1500.7590702198199</c:v>
                </c:pt>
                <c:pt idx="669">
                  <c:v>1493.2996834084699</c:v>
                </c:pt>
                <c:pt idx="670">
                  <c:v>1500.3576330993501</c:v>
                </c:pt>
                <c:pt idx="671">
                  <c:v>1493.8387839460199</c:v>
                </c:pt>
                <c:pt idx="672">
                  <c:v>1498.3925626954001</c:v>
                </c:pt>
                <c:pt idx="673">
                  <c:v>1492.4709682160101</c:v>
                </c:pt>
                <c:pt idx="674">
                  <c:v>1487.24729037064</c:v>
                </c:pt>
                <c:pt idx="675">
                  <c:v>1494.6953485316701</c:v>
                </c:pt>
                <c:pt idx="676">
                  <c:v>1482.85132765764</c:v>
                </c:pt>
                <c:pt idx="677">
                  <c:v>1506.42554508489</c:v>
                </c:pt>
                <c:pt idx="678">
                  <c:v>1491.7499926502301</c:v>
                </c:pt>
                <c:pt idx="679">
                  <c:v>1484.7011702155601</c:v>
                </c:pt>
                <c:pt idx="680">
                  <c:v>1506.5459802105299</c:v>
                </c:pt>
                <c:pt idx="681">
                  <c:v>1505.0008307273399</c:v>
                </c:pt>
                <c:pt idx="682">
                  <c:v>1495.65648688539</c:v>
                </c:pt>
                <c:pt idx="683">
                  <c:v>1483.6557872866599</c:v>
                </c:pt>
                <c:pt idx="684">
                  <c:v>1500.0787955782</c:v>
                </c:pt>
                <c:pt idx="685">
                  <c:v>1479.9379265086</c:v>
                </c:pt>
                <c:pt idx="686">
                  <c:v>1497.13816542265</c:v>
                </c:pt>
                <c:pt idx="687">
                  <c:v>1492.4835965847601</c:v>
                </c:pt>
                <c:pt idx="688">
                  <c:v>1481.7971994669001</c:v>
                </c:pt>
                <c:pt idx="689">
                  <c:v>1487.96764830182</c:v>
                </c:pt>
                <c:pt idx="690">
                  <c:v>1487.75751901733</c:v>
                </c:pt>
                <c:pt idx="691">
                  <c:v>1501.9542225756099</c:v>
                </c:pt>
                <c:pt idx="692">
                  <c:v>1501.56580831206</c:v>
                </c:pt>
                <c:pt idx="693">
                  <c:v>1491.8989712207001</c:v>
                </c:pt>
                <c:pt idx="694">
                  <c:v>1497.7780307401699</c:v>
                </c:pt>
                <c:pt idx="695">
                  <c:v>1484.4254800157</c:v>
                </c:pt>
                <c:pt idx="696">
                  <c:v>1497.45444982089</c:v>
                </c:pt>
                <c:pt idx="697">
                  <c:v>1506.8412172160799</c:v>
                </c:pt>
                <c:pt idx="698">
                  <c:v>1489.2606238016101</c:v>
                </c:pt>
                <c:pt idx="699">
                  <c:v>1501.95577772563</c:v>
                </c:pt>
                <c:pt idx="700">
                  <c:v>1501.6887082451599</c:v>
                </c:pt>
                <c:pt idx="701">
                  <c:v>1499.3572730839801</c:v>
                </c:pt>
                <c:pt idx="702">
                  <c:v>1503.3521593441201</c:v>
                </c:pt>
                <c:pt idx="703">
                  <c:v>1487.22034259928</c:v>
                </c:pt>
                <c:pt idx="704">
                  <c:v>1497.2830770948101</c:v>
                </c:pt>
                <c:pt idx="705">
                  <c:v>1501.77122190567</c:v>
                </c:pt>
                <c:pt idx="706">
                  <c:v>1492.81271917709</c:v>
                </c:pt>
                <c:pt idx="707">
                  <c:v>1489.8954874091501</c:v>
                </c:pt>
                <c:pt idx="708">
                  <c:v>1492.72551144217</c:v>
                </c:pt>
                <c:pt idx="709">
                  <c:v>1488.55991625817</c:v>
                </c:pt>
                <c:pt idx="710">
                  <c:v>1496.9030682722801</c:v>
                </c:pt>
                <c:pt idx="711">
                  <c:v>1493.75011254776</c:v>
                </c:pt>
                <c:pt idx="712">
                  <c:v>1500.00922414909</c:v>
                </c:pt>
                <c:pt idx="713">
                  <c:v>1509.4777252787101</c:v>
                </c:pt>
                <c:pt idx="714">
                  <c:v>1495.0466661329301</c:v>
                </c:pt>
                <c:pt idx="715">
                  <c:v>1495.36647598936</c:v>
                </c:pt>
                <c:pt idx="716">
                  <c:v>1500.49583228908</c:v>
                </c:pt>
                <c:pt idx="717">
                  <c:v>1487.1328808822</c:v>
                </c:pt>
                <c:pt idx="718">
                  <c:v>1486.64661067465</c:v>
                </c:pt>
                <c:pt idx="719">
                  <c:v>1500.5388213904801</c:v>
                </c:pt>
                <c:pt idx="720">
                  <c:v>1495.62148592433</c:v>
                </c:pt>
                <c:pt idx="721">
                  <c:v>1514.4241246107299</c:v>
                </c:pt>
                <c:pt idx="722">
                  <c:v>1510.40216145615</c:v>
                </c:pt>
                <c:pt idx="723">
                  <c:v>1511.6033550136001</c:v>
                </c:pt>
                <c:pt idx="724">
                  <c:v>1493.7466225124899</c:v>
                </c:pt>
                <c:pt idx="725">
                  <c:v>1451.7063670986499</c:v>
                </c:pt>
                <c:pt idx="726">
                  <c:v>1549.4423563683999</c:v>
                </c:pt>
                <c:pt idx="727">
                  <c:v>1500.29828634657</c:v>
                </c:pt>
                <c:pt idx="728">
                  <c:v>1496.6319418711</c:v>
                </c:pt>
                <c:pt idx="729">
                  <c:v>1513.27541291734</c:v>
                </c:pt>
                <c:pt idx="730">
                  <c:v>1502.1788481395599</c:v>
                </c:pt>
                <c:pt idx="731">
                  <c:v>1509.5640016287555</c:v>
                </c:pt>
                <c:pt idx="732">
                  <c:v>1490.1187750607817</c:v>
                </c:pt>
                <c:pt idx="733">
                  <c:v>1501.4372629431839</c:v>
                </c:pt>
                <c:pt idx="734">
                  <c:v>1502.5865740417491</c:v>
                </c:pt>
                <c:pt idx="735">
                  <c:v>1493.6455819835621</c:v>
                </c:pt>
                <c:pt idx="736">
                  <c:v>1494.2942158951462</c:v>
                </c:pt>
                <c:pt idx="737">
                  <c:v>1489.8717119964326</c:v>
                </c:pt>
                <c:pt idx="738">
                  <c:v>1491.8292080461401</c:v>
                </c:pt>
                <c:pt idx="739">
                  <c:v>1501.664488393124</c:v>
                </c:pt>
                <c:pt idx="740">
                  <c:v>1499.8501228255066</c:v>
                </c:pt>
                <c:pt idx="741">
                  <c:v>1501.0559176172883</c:v>
                </c:pt>
                <c:pt idx="742">
                  <c:v>1483.698867423175</c:v>
                </c:pt>
                <c:pt idx="743">
                  <c:v>1500.2178816692058</c:v>
                </c:pt>
                <c:pt idx="744">
                  <c:v>1488.5791431189994</c:v>
                </c:pt>
                <c:pt idx="745">
                  <c:v>1482.5228600486175</c:v>
                </c:pt>
                <c:pt idx="746">
                  <c:v>1499.0262286919397</c:v>
                </c:pt>
                <c:pt idx="747">
                  <c:v>1499.1436626722636</c:v>
                </c:pt>
                <c:pt idx="748">
                  <c:v>1494.5943601544152</c:v>
                </c:pt>
                <c:pt idx="749">
                  <c:v>1501.4810814582277</c:v>
                </c:pt>
                <c:pt idx="750">
                  <c:v>1497.2847773794499</c:v>
                </c:pt>
                <c:pt idx="751">
                  <c:v>1512.5821124265469</c:v>
                </c:pt>
                <c:pt idx="752">
                  <c:v>1492.0793158409874</c:v>
                </c:pt>
                <c:pt idx="753">
                  <c:v>1497.3370089447119</c:v>
                </c:pt>
                <c:pt idx="754">
                  <c:v>1491.6049640628833</c:v>
                </c:pt>
                <c:pt idx="755">
                  <c:v>1493.3734399178038</c:v>
                </c:pt>
                <c:pt idx="756">
                  <c:v>1501.0291698374567</c:v>
                </c:pt>
                <c:pt idx="757">
                  <c:v>1502.5168431478526</c:v>
                </c:pt>
                <c:pt idx="758">
                  <c:v>1502.2740411446835</c:v>
                </c:pt>
                <c:pt idx="759">
                  <c:v>1502.7061621374935</c:v>
                </c:pt>
                <c:pt idx="760">
                  <c:v>1500.198862793329</c:v>
                </c:pt>
                <c:pt idx="761">
                  <c:v>1501.954557075785</c:v>
                </c:pt>
                <c:pt idx="762">
                  <c:v>1499.0303400323642</c:v>
                </c:pt>
                <c:pt idx="763">
                  <c:v>1488.3545879748233</c:v>
                </c:pt>
                <c:pt idx="764">
                  <c:v>1496.5295605293102</c:v>
                </c:pt>
                <c:pt idx="765">
                  <c:v>1497.5767430748758</c:v>
                </c:pt>
                <c:pt idx="766">
                  <c:v>1505.4299708310709</c:v>
                </c:pt>
                <c:pt idx="767">
                  <c:v>1500.1478199348719</c:v>
                </c:pt>
                <c:pt idx="768">
                  <c:v>1504.4430916292922</c:v>
                </c:pt>
                <c:pt idx="769">
                  <c:v>1510.4948693502106</c:v>
                </c:pt>
                <c:pt idx="770">
                  <c:v>1498.3618378091658</c:v>
                </c:pt>
                <c:pt idx="771">
                  <c:v>1498.0598972286925</c:v>
                </c:pt>
                <c:pt idx="772">
                  <c:v>1499.4120978677306</c:v>
                </c:pt>
                <c:pt idx="773">
                  <c:v>1492.456880388293</c:v>
                </c:pt>
                <c:pt idx="774">
                  <c:v>1497.1698511645552</c:v>
                </c:pt>
                <c:pt idx="775">
                  <c:v>1503.7660784546945</c:v>
                </c:pt>
                <c:pt idx="776">
                  <c:v>1495.4604483983544</c:v>
                </c:pt>
                <c:pt idx="777">
                  <c:v>1496.2022156001781</c:v>
                </c:pt>
                <c:pt idx="778">
                  <c:v>1510.0863821621756</c:v>
                </c:pt>
                <c:pt idx="779">
                  <c:v>1504.2814659774756</c:v>
                </c:pt>
                <c:pt idx="780">
                  <c:v>1503.1466320523182</c:v>
                </c:pt>
                <c:pt idx="781">
                  <c:v>1511.5776207294107</c:v>
                </c:pt>
                <c:pt idx="782">
                  <c:v>1508.4181588583956</c:v>
                </c:pt>
                <c:pt idx="783">
                  <c:v>1501.0600336211287</c:v>
                </c:pt>
                <c:pt idx="784">
                  <c:v>1495.1163755247485</c:v>
                </c:pt>
                <c:pt idx="785">
                  <c:v>1506.7117854788617</c:v>
                </c:pt>
                <c:pt idx="786">
                  <c:v>1501.2062596819053</c:v>
                </c:pt>
                <c:pt idx="787">
                  <c:v>1512.3132541952475</c:v>
                </c:pt>
                <c:pt idx="788">
                  <c:v>1496.065298480542</c:v>
                </c:pt>
                <c:pt idx="789">
                  <c:v>1486.9730845370666</c:v>
                </c:pt>
                <c:pt idx="790">
                  <c:v>1497.847348697258</c:v>
                </c:pt>
                <c:pt idx="791">
                  <c:v>1494.7505483787659</c:v>
                </c:pt>
                <c:pt idx="792">
                  <c:v>1488.3597958022006</c:v>
                </c:pt>
                <c:pt idx="793">
                  <c:v>1493.4412130975154</c:v>
                </c:pt>
                <c:pt idx="794">
                  <c:v>1514.5131633148867</c:v>
                </c:pt>
                <c:pt idx="795">
                  <c:v>1481.7633970526874</c:v>
                </c:pt>
                <c:pt idx="796">
                  <c:v>1486.0633994085663</c:v>
                </c:pt>
                <c:pt idx="797">
                  <c:v>1494.5491201261891</c:v>
                </c:pt>
                <c:pt idx="798">
                  <c:v>1491.5922975720109</c:v>
                </c:pt>
                <c:pt idx="799">
                  <c:v>1499.0915159984138</c:v>
                </c:pt>
                <c:pt idx="800">
                  <c:v>1502.3006562879968</c:v>
                </c:pt>
                <c:pt idx="801">
                  <c:v>1510.3330199461134</c:v>
                </c:pt>
                <c:pt idx="802">
                  <c:v>1499.8957145441452</c:v>
                </c:pt>
                <c:pt idx="803">
                  <c:v>1490.511994971554</c:v>
                </c:pt>
                <c:pt idx="804">
                  <c:v>1491.7204281769748</c:v>
                </c:pt>
                <c:pt idx="805">
                  <c:v>1494.3668530653904</c:v>
                </c:pt>
                <c:pt idx="806">
                  <c:v>1494.242271886566</c:v>
                </c:pt>
                <c:pt idx="807">
                  <c:v>1496.126063543041</c:v>
                </c:pt>
                <c:pt idx="808">
                  <c:v>1499.2701053334081</c:v>
                </c:pt>
                <c:pt idx="809">
                  <c:v>1494.3551764368235</c:v>
                </c:pt>
                <c:pt idx="810">
                  <c:v>1500.8771552165706</c:v>
                </c:pt>
                <c:pt idx="811">
                  <c:v>1494.7971735724834</c:v>
                </c:pt>
                <c:pt idx="812">
                  <c:v>1499.2945388512851</c:v>
                </c:pt>
                <c:pt idx="813">
                  <c:v>1507.9817278455598</c:v>
                </c:pt>
                <c:pt idx="814">
                  <c:v>1488.7974746939315</c:v>
                </c:pt>
                <c:pt idx="815">
                  <c:v>1496.8190742834493</c:v>
                </c:pt>
                <c:pt idx="816">
                  <c:v>1501.3707678832588</c:v>
                </c:pt>
                <c:pt idx="817">
                  <c:v>1483.6448197567636</c:v>
                </c:pt>
                <c:pt idx="818">
                  <c:v>1512.257305056107</c:v>
                </c:pt>
                <c:pt idx="819">
                  <c:v>1498.5410650379054</c:v>
                </c:pt>
                <c:pt idx="820">
                  <c:v>1491.9984294897881</c:v>
                </c:pt>
                <c:pt idx="821">
                  <c:v>1492.1482054268868</c:v>
                </c:pt>
                <c:pt idx="822">
                  <c:v>1504.2186938026659</c:v>
                </c:pt>
                <c:pt idx="823">
                  <c:v>1497.6397018146126</c:v>
                </c:pt>
                <c:pt idx="824">
                  <c:v>1501.1942017695653</c:v>
                </c:pt>
                <c:pt idx="825">
                  <c:v>1510.524046064063</c:v>
                </c:pt>
                <c:pt idx="826">
                  <c:v>1503.4795113569735</c:v>
                </c:pt>
                <c:pt idx="827">
                  <c:v>1500.8822867580648</c:v>
                </c:pt>
                <c:pt idx="828">
                  <c:v>1502.0612409850207</c:v>
                </c:pt>
                <c:pt idx="829">
                  <c:v>1508.6219100216781</c:v>
                </c:pt>
                <c:pt idx="830">
                  <c:v>1516.4013465158521</c:v>
                </c:pt>
                <c:pt idx="831">
                  <c:v>1504.5125509638503</c:v>
                </c:pt>
                <c:pt idx="832">
                  <c:v>1504.3205025191423</c:v>
                </c:pt>
                <c:pt idx="833">
                  <c:v>1506.5022823445952</c:v>
                </c:pt>
                <c:pt idx="834">
                  <c:v>1488.9295237498777</c:v>
                </c:pt>
                <c:pt idx="835">
                  <c:v>1498.1943021795614</c:v>
                </c:pt>
                <c:pt idx="836">
                  <c:v>1505.4420929523376</c:v>
                </c:pt>
                <c:pt idx="837">
                  <c:v>1502.8708026393297</c:v>
                </c:pt>
                <c:pt idx="838">
                  <c:v>1504.8703488947876</c:v>
                </c:pt>
                <c:pt idx="839">
                  <c:v>1503.3628654593053</c:v>
                </c:pt>
                <c:pt idx="840">
                  <c:v>1506.8113535919331</c:v>
                </c:pt>
                <c:pt idx="841">
                  <c:v>1497.1754980383582</c:v>
                </c:pt>
                <c:pt idx="842">
                  <c:v>1502.8641925917411</c:v>
                </c:pt>
                <c:pt idx="843">
                  <c:v>1506.4233542787313</c:v>
                </c:pt>
                <c:pt idx="844">
                  <c:v>1491.1473764598456</c:v>
                </c:pt>
                <c:pt idx="845">
                  <c:v>1506.4043543484452</c:v>
                </c:pt>
                <c:pt idx="846">
                  <c:v>1511.4615391467432</c:v>
                </c:pt>
                <c:pt idx="847">
                  <c:v>1504.7218897288237</c:v>
                </c:pt>
                <c:pt idx="848">
                  <c:v>1496.9089363789685</c:v>
                </c:pt>
                <c:pt idx="849">
                  <c:v>1499.465895376014</c:v>
                </c:pt>
                <c:pt idx="850">
                  <c:v>1502.8901232016317</c:v>
                </c:pt>
                <c:pt idx="851">
                  <c:v>1503.4486186657562</c:v>
                </c:pt>
                <c:pt idx="852">
                  <c:v>1509.105668275721</c:v>
                </c:pt>
                <c:pt idx="853">
                  <c:v>1499.7151595795151</c:v>
                </c:pt>
                <c:pt idx="854">
                  <c:v>1494.9589757937053</c:v>
                </c:pt>
                <c:pt idx="855">
                  <c:v>1508.7613979936714</c:v>
                </c:pt>
                <c:pt idx="856">
                  <c:v>1517.7877679404376</c:v>
                </c:pt>
                <c:pt idx="857">
                  <c:v>1505.3781005594383</c:v>
                </c:pt>
                <c:pt idx="858">
                  <c:v>1495.6660368256387</c:v>
                </c:pt>
                <c:pt idx="859">
                  <c:v>1504.9204476864948</c:v>
                </c:pt>
                <c:pt idx="860">
                  <c:v>1489.6361576449426</c:v>
                </c:pt>
                <c:pt idx="861">
                  <c:v>1457.7823183496264</c:v>
                </c:pt>
                <c:pt idx="862">
                  <c:v>1505.1024765220229</c:v>
                </c:pt>
                <c:pt idx="863">
                  <c:v>1502.1352793870419</c:v>
                </c:pt>
                <c:pt idx="864">
                  <c:v>1490.9422992367729</c:v>
                </c:pt>
                <c:pt idx="865">
                  <c:v>1483.6307612823416</c:v>
                </c:pt>
                <c:pt idx="866">
                  <c:v>1505.8161668529385</c:v>
                </c:pt>
                <c:pt idx="867">
                  <c:v>1500.2947959424139</c:v>
                </c:pt>
                <c:pt idx="868">
                  <c:v>1503.8878227255091</c:v>
                </c:pt>
                <c:pt idx="869">
                  <c:v>1490.5825842744121</c:v>
                </c:pt>
                <c:pt idx="870">
                  <c:v>1489.8799095166696</c:v>
                </c:pt>
                <c:pt idx="871">
                  <c:v>1500.6297426599949</c:v>
                </c:pt>
                <c:pt idx="872">
                  <c:v>1501.0817040203137</c:v>
                </c:pt>
                <c:pt idx="873">
                  <c:v>1494.81271134245</c:v>
                </c:pt>
                <c:pt idx="874">
                  <c:v>1487.5773166680131</c:v>
                </c:pt>
                <c:pt idx="875">
                  <c:v>1500.4925026428075</c:v>
                </c:pt>
                <c:pt idx="876">
                  <c:v>1494.8596595657812</c:v>
                </c:pt>
                <c:pt idx="877">
                  <c:v>1506.6117942291842</c:v>
                </c:pt>
                <c:pt idx="878">
                  <c:v>1485.4390543443724</c:v>
                </c:pt>
                <c:pt idx="879">
                  <c:v>1511.5517141892935</c:v>
                </c:pt>
                <c:pt idx="880">
                  <c:v>1485.3727776849298</c:v>
                </c:pt>
                <c:pt idx="881">
                  <c:v>1496.5947352410765</c:v>
                </c:pt>
                <c:pt idx="882">
                  <c:v>1506.4159858370867</c:v>
                </c:pt>
                <c:pt idx="883">
                  <c:v>1488.7998542454543</c:v>
                </c:pt>
                <c:pt idx="884">
                  <c:v>1487.2307142747504</c:v>
                </c:pt>
                <c:pt idx="885">
                  <c:v>1488.9029324522594</c:v>
                </c:pt>
                <c:pt idx="886">
                  <c:v>1485.7123873056871</c:v>
                </c:pt>
                <c:pt idx="887">
                  <c:v>1500.5614357935267</c:v>
                </c:pt>
                <c:pt idx="888">
                  <c:v>1504.6146949671945</c:v>
                </c:pt>
                <c:pt idx="889">
                  <c:v>1492.7144316638389</c:v>
                </c:pt>
                <c:pt idx="890">
                  <c:v>1491.8036590438583</c:v>
                </c:pt>
                <c:pt idx="891">
                  <c:v>1503.5373886903587</c:v>
                </c:pt>
                <c:pt idx="892">
                  <c:v>1498.7407022155051</c:v>
                </c:pt>
                <c:pt idx="893">
                  <c:v>1500.0113324019528</c:v>
                </c:pt>
                <c:pt idx="894">
                  <c:v>1486.5443285832303</c:v>
                </c:pt>
                <c:pt idx="895">
                  <c:v>1480.5550414253739</c:v>
                </c:pt>
                <c:pt idx="896">
                  <c:v>1495.466825468616</c:v>
                </c:pt>
                <c:pt idx="897">
                  <c:v>1501.6499994936507</c:v>
                </c:pt>
                <c:pt idx="898">
                  <c:v>1496.8071009752223</c:v>
                </c:pt>
                <c:pt idx="899">
                  <c:v>1495.3002512641426</c:v>
                </c:pt>
                <c:pt idx="900">
                  <c:v>1502.6052702281393</c:v>
                </c:pt>
                <c:pt idx="901">
                  <c:v>1497.2604106159845</c:v>
                </c:pt>
                <c:pt idx="902">
                  <c:v>1494.6346231437933</c:v>
                </c:pt>
                <c:pt idx="903">
                  <c:v>1497.9639208138351</c:v>
                </c:pt>
                <c:pt idx="904">
                  <c:v>1490.9337766337896</c:v>
                </c:pt>
                <c:pt idx="905">
                  <c:v>1507.707169252589</c:v>
                </c:pt>
                <c:pt idx="906">
                  <c:v>1506.1064296993086</c:v>
                </c:pt>
                <c:pt idx="907">
                  <c:v>1495.7669268447235</c:v>
                </c:pt>
                <c:pt idx="908">
                  <c:v>1492.4379482294296</c:v>
                </c:pt>
                <c:pt idx="909">
                  <c:v>1487.104511593767</c:v>
                </c:pt>
                <c:pt idx="910">
                  <c:v>1501.970030158828</c:v>
                </c:pt>
                <c:pt idx="911">
                  <c:v>1507.6074709949271</c:v>
                </c:pt>
                <c:pt idx="912">
                  <c:v>1485.6874081963201</c:v>
                </c:pt>
                <c:pt idx="913">
                  <c:v>1496.6923020100178</c:v>
                </c:pt>
                <c:pt idx="914">
                  <c:v>1495.1391703527581</c:v>
                </c:pt>
                <c:pt idx="915">
                  <c:v>1492.1897270863324</c:v>
                </c:pt>
                <c:pt idx="916">
                  <c:v>1515.2466856131698</c:v>
                </c:pt>
                <c:pt idx="917">
                  <c:v>1500.1209747236333</c:v>
                </c:pt>
                <c:pt idx="918">
                  <c:v>1494.1066775793486</c:v>
                </c:pt>
                <c:pt idx="919">
                  <c:v>1499.4301027873864</c:v>
                </c:pt>
                <c:pt idx="920">
                  <c:v>1500.2717905575162</c:v>
                </c:pt>
                <c:pt idx="921">
                  <c:v>1494.4774740586438</c:v>
                </c:pt>
                <c:pt idx="922">
                  <c:v>1502.1799467325882</c:v>
                </c:pt>
                <c:pt idx="923">
                  <c:v>1498.6344882613166</c:v>
                </c:pt>
                <c:pt idx="924">
                  <c:v>1502.0720625291035</c:v>
                </c:pt>
                <c:pt idx="925">
                  <c:v>1496.4535155265294</c:v>
                </c:pt>
                <c:pt idx="926">
                  <c:v>1505.2822084159181</c:v>
                </c:pt>
                <c:pt idx="927">
                  <c:v>1491.4035698475391</c:v>
                </c:pt>
                <c:pt idx="928">
                  <c:v>1493.7551879527423</c:v>
                </c:pt>
                <c:pt idx="929">
                  <c:v>1503.6044663863111</c:v>
                </c:pt>
                <c:pt idx="930">
                  <c:v>1498.73101047563</c:v>
                </c:pt>
                <c:pt idx="931">
                  <c:v>1489.1246039658631</c:v>
                </c:pt>
                <c:pt idx="932">
                  <c:v>1489.7034789367174</c:v>
                </c:pt>
                <c:pt idx="933">
                  <c:v>1488.3763229393439</c:v>
                </c:pt>
                <c:pt idx="934">
                  <c:v>1498.7847353175496</c:v>
                </c:pt>
                <c:pt idx="935">
                  <c:v>1497.5369732979029</c:v>
                </c:pt>
                <c:pt idx="936">
                  <c:v>1498.5078098275592</c:v>
                </c:pt>
                <c:pt idx="937">
                  <c:v>1503.7901185713779</c:v>
                </c:pt>
                <c:pt idx="938">
                  <c:v>1493.3225879269194</c:v>
                </c:pt>
                <c:pt idx="939">
                  <c:v>1480.2271124786344</c:v>
                </c:pt>
                <c:pt idx="940">
                  <c:v>1501.3723138289236</c:v>
                </c:pt>
                <c:pt idx="941">
                  <c:v>1496.1587513803672</c:v>
                </c:pt>
                <c:pt idx="942">
                  <c:v>1485.415931218668</c:v>
                </c:pt>
                <c:pt idx="943">
                  <c:v>1486.9418958028143</c:v>
                </c:pt>
                <c:pt idx="944">
                  <c:v>1495.5362670665595</c:v>
                </c:pt>
                <c:pt idx="945">
                  <c:v>1499.9909972723528</c:v>
                </c:pt>
                <c:pt idx="946">
                  <c:v>1494.3108070774922</c:v>
                </c:pt>
                <c:pt idx="947">
                  <c:v>1500.5752327403595</c:v>
                </c:pt>
                <c:pt idx="948">
                  <c:v>1499.4336992093729</c:v>
                </c:pt>
                <c:pt idx="949">
                  <c:v>1503.3758987528402</c:v>
                </c:pt>
                <c:pt idx="950">
                  <c:v>1506.2457411359544</c:v>
                </c:pt>
                <c:pt idx="951">
                  <c:v>1493.6655366515929</c:v>
                </c:pt>
                <c:pt idx="952">
                  <c:v>1496.0956412041476</c:v>
                </c:pt>
                <c:pt idx="953">
                  <c:v>1503.4117872973536</c:v>
                </c:pt>
                <c:pt idx="954">
                  <c:v>1515.0298591482644</c:v>
                </c:pt>
                <c:pt idx="955">
                  <c:v>1500.3084582335107</c:v>
                </c:pt>
                <c:pt idx="956">
                  <c:v>1419.0706048789409</c:v>
                </c:pt>
                <c:pt idx="957">
                  <c:v>1534.5969162420477</c:v>
                </c:pt>
                <c:pt idx="958">
                  <c:v>1515.5216947242104</c:v>
                </c:pt>
                <c:pt idx="959">
                  <c:v>1517.9588657633594</c:v>
                </c:pt>
                <c:pt idx="960">
                  <c:v>1506.4998473529758</c:v>
                </c:pt>
                <c:pt idx="961">
                  <c:v>1496.4579010794571</c:v>
                </c:pt>
                <c:pt idx="962">
                  <c:v>1506.2621589072062</c:v>
                </c:pt>
                <c:pt idx="963">
                  <c:v>1514.3458877497396</c:v>
                </c:pt>
                <c:pt idx="964">
                  <c:v>1488.0476433065053</c:v>
                </c:pt>
                <c:pt idx="965">
                  <c:v>1496.0480025241666</c:v>
                </c:pt>
                <c:pt idx="966">
                  <c:v>1493.6859757134878</c:v>
                </c:pt>
                <c:pt idx="967">
                  <c:v>1498.3972641748926</c:v>
                </c:pt>
                <c:pt idx="968">
                  <c:v>1506.8489766341952</c:v>
                </c:pt>
                <c:pt idx="969">
                  <c:v>1496.6128713404619</c:v>
                </c:pt>
                <c:pt idx="970">
                  <c:v>1506.9850205744044</c:v>
                </c:pt>
                <c:pt idx="971">
                  <c:v>1512.7823494018767</c:v>
                </c:pt>
                <c:pt idx="972">
                  <c:v>1490.1395869843718</c:v>
                </c:pt>
                <c:pt idx="973">
                  <c:v>1497.9833920039086</c:v>
                </c:pt>
                <c:pt idx="974">
                  <c:v>1507.3985837588018</c:v>
                </c:pt>
                <c:pt idx="975">
                  <c:v>1503.3882755848856</c:v>
                </c:pt>
                <c:pt idx="976">
                  <c:v>1510.1346906881195</c:v>
                </c:pt>
                <c:pt idx="977">
                  <c:v>1506.8752857099216</c:v>
                </c:pt>
                <c:pt idx="978">
                  <c:v>1510.026331723742</c:v>
                </c:pt>
                <c:pt idx="979">
                  <c:v>1502.7362727417312</c:v>
                </c:pt>
                <c:pt idx="980">
                  <c:v>1502.9340593086763</c:v>
                </c:pt>
                <c:pt idx="981">
                  <c:v>1508.1349324545736</c:v>
                </c:pt>
                <c:pt idx="982">
                  <c:v>1508.4045547522348</c:v>
                </c:pt>
                <c:pt idx="983">
                  <c:v>1516.8184520799673</c:v>
                </c:pt>
                <c:pt idx="984">
                  <c:v>1497.7340893714111</c:v>
                </c:pt>
                <c:pt idx="985">
                  <c:v>1512.0541810458121</c:v>
                </c:pt>
                <c:pt idx="986">
                  <c:v>1505.6868764809569</c:v>
                </c:pt>
                <c:pt idx="987">
                  <c:v>1498.4200721294571</c:v>
                </c:pt>
                <c:pt idx="988">
                  <c:v>1489.6497396112552</c:v>
                </c:pt>
                <c:pt idx="989">
                  <c:v>1494.0810840459817</c:v>
                </c:pt>
                <c:pt idx="990">
                  <c:v>1502.6735153646612</c:v>
                </c:pt>
                <c:pt idx="991">
                  <c:v>1501.2070343229482</c:v>
                </c:pt>
                <c:pt idx="992">
                  <c:v>1503.5121090993637</c:v>
                </c:pt>
                <c:pt idx="993">
                  <c:v>1505.9535490796707</c:v>
                </c:pt>
                <c:pt idx="994">
                  <c:v>1503.8392071835272</c:v>
                </c:pt>
                <c:pt idx="995">
                  <c:v>1499.8903421681857</c:v>
                </c:pt>
                <c:pt idx="996">
                  <c:v>1495.8677195124344</c:v>
                </c:pt>
                <c:pt idx="997">
                  <c:v>1488.1552970984762</c:v>
                </c:pt>
                <c:pt idx="998">
                  <c:v>1492.6101714210615</c:v>
                </c:pt>
                <c:pt idx="999">
                  <c:v>1497.2475224726638</c:v>
                </c:pt>
                <c:pt idx="1000">
                  <c:v>1491.9510410861933</c:v>
                </c:pt>
                <c:pt idx="1001">
                  <c:v>1484.3142337042652</c:v>
                </c:pt>
                <c:pt idx="1002">
                  <c:v>1494.7753354215649</c:v>
                </c:pt>
                <c:pt idx="1003">
                  <c:v>1493.3284980103699</c:v>
                </c:pt>
                <c:pt idx="1004">
                  <c:v>1489.6214432774664</c:v>
                </c:pt>
                <c:pt idx="1005">
                  <c:v>1483.9427215103269</c:v>
                </c:pt>
                <c:pt idx="1006">
                  <c:v>1503.5960439570003</c:v>
                </c:pt>
                <c:pt idx="1007">
                  <c:v>1513.1430257654722</c:v>
                </c:pt>
                <c:pt idx="1008">
                  <c:v>1505.0406353444978</c:v>
                </c:pt>
                <c:pt idx="1009">
                  <c:v>1481.2454991227585</c:v>
                </c:pt>
                <c:pt idx="1010">
                  <c:v>1489.3596934367417</c:v>
                </c:pt>
                <c:pt idx="1011">
                  <c:v>1493.9052930869891</c:v>
                </c:pt>
                <c:pt idx="1012">
                  <c:v>1485.9391900867124</c:v>
                </c:pt>
                <c:pt idx="1013">
                  <c:v>1490.733212944052</c:v>
                </c:pt>
                <c:pt idx="1014">
                  <c:v>1477.8448160529545</c:v>
                </c:pt>
                <c:pt idx="1015">
                  <c:v>1514.3749317191362</c:v>
                </c:pt>
                <c:pt idx="1016">
                  <c:v>1504.4504941672105</c:v>
                </c:pt>
                <c:pt idx="1017">
                  <c:v>1501.2324021706252</c:v>
                </c:pt>
                <c:pt idx="1018">
                  <c:v>1490.9722079618152</c:v>
                </c:pt>
                <c:pt idx="1019">
                  <c:v>1492.1734895174509</c:v>
                </c:pt>
                <c:pt idx="1020">
                  <c:v>1489.7561087368872</c:v>
                </c:pt>
                <c:pt idx="1021">
                  <c:v>1488.5292141659661</c:v>
                </c:pt>
                <c:pt idx="1022">
                  <c:v>1498.4291705576265</c:v>
                </c:pt>
                <c:pt idx="1023">
                  <c:v>1480.6870401180433</c:v>
                </c:pt>
                <c:pt idx="1024">
                  <c:v>1494.0280292608575</c:v>
                </c:pt>
                <c:pt idx="1025">
                  <c:v>1503.3937228486227</c:v>
                </c:pt>
                <c:pt idx="1026">
                  <c:v>1481.6354120502504</c:v>
                </c:pt>
                <c:pt idx="1027">
                  <c:v>1480.5963433565805</c:v>
                </c:pt>
                <c:pt idx="1028">
                  <c:v>1499.0371425780816</c:v>
                </c:pt>
                <c:pt idx="1029">
                  <c:v>1500.1332418648174</c:v>
                </c:pt>
                <c:pt idx="1030">
                  <c:v>1451.6448937799296</c:v>
                </c:pt>
                <c:pt idx="1031">
                  <c:v>1498.0173320538352</c:v>
                </c:pt>
                <c:pt idx="1032">
                  <c:v>1487.0565728220718</c:v>
                </c:pt>
                <c:pt idx="1033">
                  <c:v>1484.7058284611776</c:v>
                </c:pt>
                <c:pt idx="1034">
                  <c:v>1491.2300480583615</c:v>
                </c:pt>
                <c:pt idx="1035">
                  <c:v>1496.5153319920296</c:v>
                </c:pt>
                <c:pt idx="1036">
                  <c:v>1497.3129293791844</c:v>
                </c:pt>
                <c:pt idx="1037">
                  <c:v>1499.1896909534032</c:v>
                </c:pt>
                <c:pt idx="1038">
                  <c:v>1498.4910073928324</c:v>
                </c:pt>
                <c:pt idx="1039">
                  <c:v>1505.3068734059332</c:v>
                </c:pt>
                <c:pt idx="1040">
                  <c:v>1522.150344982892</c:v>
                </c:pt>
                <c:pt idx="1041">
                  <c:v>1508.5755028515227</c:v>
                </c:pt>
                <c:pt idx="1042">
                  <c:v>1494.1467574098388</c:v>
                </c:pt>
                <c:pt idx="1043">
                  <c:v>1484.9481203250821</c:v>
                </c:pt>
                <c:pt idx="1044">
                  <c:v>1490.4755890699435</c:v>
                </c:pt>
                <c:pt idx="1045">
                  <c:v>1481.6424051925453</c:v>
                </c:pt>
                <c:pt idx="1046">
                  <c:v>1498.2304838403995</c:v>
                </c:pt>
                <c:pt idx="1047">
                  <c:v>1483.6928460315621</c:v>
                </c:pt>
                <c:pt idx="1048">
                  <c:v>1483.753909048688</c:v>
                </c:pt>
                <c:pt idx="1049">
                  <c:v>1476.614307624644</c:v>
                </c:pt>
                <c:pt idx="1050">
                  <c:v>1485.2813124323643</c:v>
                </c:pt>
                <c:pt idx="1051">
                  <c:v>1494.4411043184898</c:v>
                </c:pt>
                <c:pt idx="1052">
                  <c:v>1493.7858372390151</c:v>
                </c:pt>
                <c:pt idx="1053">
                  <c:v>1502.1177346783081</c:v>
                </c:pt>
                <c:pt idx="1054">
                  <c:v>1483.8416623673902</c:v>
                </c:pt>
                <c:pt idx="1055">
                  <c:v>1482.294898890116</c:v>
                </c:pt>
                <c:pt idx="1056">
                  <c:v>1471.0457734170652</c:v>
                </c:pt>
                <c:pt idx="1057">
                  <c:v>1495.6114557566195</c:v>
                </c:pt>
                <c:pt idx="1058">
                  <c:v>1480.9037804952138</c:v>
                </c:pt>
                <c:pt idx="1059">
                  <c:v>1480.4244113647389</c:v>
                </c:pt>
                <c:pt idx="1060">
                  <c:v>1487.0473362691505</c:v>
                </c:pt>
                <c:pt idx="1061">
                  <c:v>1480.8395812283634</c:v>
                </c:pt>
                <c:pt idx="1062">
                  <c:v>1491.3815538639999</c:v>
                </c:pt>
                <c:pt idx="1063">
                  <c:v>1496.2908017907296</c:v>
                </c:pt>
                <c:pt idx="1064">
                  <c:v>1501.4926004537551</c:v>
                </c:pt>
                <c:pt idx="1065">
                  <c:v>1480.9544115204792</c:v>
                </c:pt>
                <c:pt idx="1066">
                  <c:v>1482.8835616882288</c:v>
                </c:pt>
                <c:pt idx="1067">
                  <c:v>1499.4715431393754</c:v>
                </c:pt>
                <c:pt idx="1068">
                  <c:v>1500.3117310757796</c:v>
                </c:pt>
                <c:pt idx="1069">
                  <c:v>1489.130531405754</c:v>
                </c:pt>
                <c:pt idx="1070">
                  <c:v>1486.9741220915039</c:v>
                </c:pt>
                <c:pt idx="1071">
                  <c:v>1483.6535733482399</c:v>
                </c:pt>
                <c:pt idx="1072">
                  <c:v>1509.8346537360196</c:v>
                </c:pt>
                <c:pt idx="1073">
                  <c:v>1502.4889088018501</c:v>
                </c:pt>
                <c:pt idx="1074">
                  <c:v>1492.8456822486696</c:v>
                </c:pt>
                <c:pt idx="1075">
                  <c:v>1492.4379451181399</c:v>
                </c:pt>
                <c:pt idx="1076">
                  <c:v>1497.6262222084899</c:v>
                </c:pt>
                <c:pt idx="1077">
                  <c:v>1482.036614409365</c:v>
                </c:pt>
                <c:pt idx="1078">
                  <c:v>1493.5538220085707</c:v>
                </c:pt>
                <c:pt idx="1079">
                  <c:v>1491.0590452209567</c:v>
                </c:pt>
                <c:pt idx="1080">
                  <c:v>1499.3142722774842</c:v>
                </c:pt>
                <c:pt idx="1081">
                  <c:v>1499.5693879993846</c:v>
                </c:pt>
                <c:pt idx="1082">
                  <c:v>1492.9557913254453</c:v>
                </c:pt>
                <c:pt idx="1083">
                  <c:v>1494.6807343644202</c:v>
                </c:pt>
                <c:pt idx="1084">
                  <c:v>1499.6292844439047</c:v>
                </c:pt>
                <c:pt idx="1085">
                  <c:v>1517.2324174710827</c:v>
                </c:pt>
                <c:pt idx="1086">
                  <c:v>1499.8766231793063</c:v>
                </c:pt>
                <c:pt idx="1087">
                  <c:v>1495.6972185656978</c:v>
                </c:pt>
                <c:pt idx="1088">
                  <c:v>1489.3810225152918</c:v>
                </c:pt>
                <c:pt idx="1089">
                  <c:v>1496.7667276435857</c:v>
                </c:pt>
                <c:pt idx="1090">
                  <c:v>1498.4852981173449</c:v>
                </c:pt>
                <c:pt idx="1091">
                  <c:v>1491.8512342377985</c:v>
                </c:pt>
                <c:pt idx="1092">
                  <c:v>1498.8913048812879</c:v>
                </c:pt>
                <c:pt idx="1093">
                  <c:v>1484.3915105832075</c:v>
                </c:pt>
                <c:pt idx="1094">
                  <c:v>1498.1055934062233</c:v>
                </c:pt>
                <c:pt idx="1095">
                  <c:v>1497.7084383624351</c:v>
                </c:pt>
              </c:numCache>
            </c:numRef>
          </c:xVal>
          <c:yVal>
            <c:numRef>
              <c:f>'[Final Graph 2.xlsx]Parameters ranges for ANN step1'!$AW$3:$AW$1131</c:f>
              <c:numCache>
                <c:formatCode>0.0000</c:formatCode>
                <c:ptCount val="1129"/>
                <c:pt idx="0">
                  <c:v>651.13081002894523</c:v>
                </c:pt>
                <c:pt idx="1">
                  <c:v>650.94665425079825</c:v>
                </c:pt>
                <c:pt idx="2">
                  <c:v>619.00755324179613</c:v>
                </c:pt>
                <c:pt idx="3">
                  <c:v>623.45703516178628</c:v>
                </c:pt>
                <c:pt idx="4">
                  <c:v>634.95266671420575</c:v>
                </c:pt>
                <c:pt idx="5">
                  <c:v>642.51898371690368</c:v>
                </c:pt>
                <c:pt idx="6">
                  <c:v>667.75034092122257</c:v>
                </c:pt>
                <c:pt idx="7">
                  <c:v>639.41716543601149</c:v>
                </c:pt>
                <c:pt idx="8">
                  <c:v>667.71774707511884</c:v>
                </c:pt>
                <c:pt idx="9">
                  <c:v>641.40040562474655</c:v>
                </c:pt>
                <c:pt idx="10">
                  <c:v>632.92741920641402</c:v>
                </c:pt>
                <c:pt idx="11">
                  <c:v>631.17583705295317</c:v>
                </c:pt>
                <c:pt idx="12">
                  <c:v>636.58654242827765</c:v>
                </c:pt>
                <c:pt idx="13">
                  <c:v>675.86721121503172</c:v>
                </c:pt>
                <c:pt idx="14">
                  <c:v>642.5420726836353</c:v>
                </c:pt>
                <c:pt idx="15">
                  <c:v>626.54936169236771</c:v>
                </c:pt>
                <c:pt idx="16">
                  <c:v>628.23656864340194</c:v>
                </c:pt>
                <c:pt idx="17">
                  <c:v>663.00701006051338</c:v>
                </c:pt>
                <c:pt idx="18">
                  <c:v>684.5596839355054</c:v>
                </c:pt>
                <c:pt idx="19">
                  <c:v>628.12145240323537</c:v>
                </c:pt>
                <c:pt idx="20">
                  <c:v>633.16058553924825</c:v>
                </c:pt>
                <c:pt idx="21">
                  <c:v>637.43355707088165</c:v>
                </c:pt>
                <c:pt idx="22">
                  <c:v>639.67492114477136</c:v>
                </c:pt>
                <c:pt idx="23">
                  <c:v>641.34102846382268</c:v>
                </c:pt>
                <c:pt idx="24">
                  <c:v>634.17171904416193</c:v>
                </c:pt>
                <c:pt idx="25">
                  <c:v>649.56195895128701</c:v>
                </c:pt>
                <c:pt idx="26">
                  <c:v>677.70531549797556</c:v>
                </c:pt>
                <c:pt idx="27">
                  <c:v>644.34209185706936</c:v>
                </c:pt>
                <c:pt idx="28">
                  <c:v>643.81239555251227</c:v>
                </c:pt>
                <c:pt idx="29">
                  <c:v>644.70658195110718</c:v>
                </c:pt>
                <c:pt idx="30">
                  <c:v>650.60028131688364</c:v>
                </c:pt>
                <c:pt idx="31">
                  <c:v>636.48730295791245</c:v>
                </c:pt>
                <c:pt idx="32">
                  <c:v>667.9569700443908</c:v>
                </c:pt>
                <c:pt idx="33">
                  <c:v>662.96969748815525</c:v>
                </c:pt>
                <c:pt idx="34">
                  <c:v>662.80271686483638</c:v>
                </c:pt>
                <c:pt idx="35">
                  <c:v>703.76653209409403</c:v>
                </c:pt>
                <c:pt idx="36">
                  <c:v>658.10427022905264</c:v>
                </c:pt>
                <c:pt idx="37">
                  <c:v>675.71098600685866</c:v>
                </c:pt>
                <c:pt idx="38">
                  <c:v>652.92507640237648</c:v>
                </c:pt>
                <c:pt idx="39">
                  <c:v>651.60438730308817</c:v>
                </c:pt>
                <c:pt idx="40">
                  <c:v>648.31445665551939</c:v>
                </c:pt>
                <c:pt idx="41">
                  <c:v>666.70332799780863</c:v>
                </c:pt>
                <c:pt idx="42">
                  <c:v>705.8502328139773</c:v>
                </c:pt>
                <c:pt idx="43">
                  <c:v>736.94228141389158</c:v>
                </c:pt>
                <c:pt idx="44">
                  <c:v>740.7476782508154</c:v>
                </c:pt>
                <c:pt idx="45">
                  <c:v>1116.1156829024385</c:v>
                </c:pt>
                <c:pt idx="46">
                  <c:v>831.99123434184389</c:v>
                </c:pt>
                <c:pt idx="47">
                  <c:v>748.42276704902656</c:v>
                </c:pt>
                <c:pt idx="48">
                  <c:v>701.37358937764861</c:v>
                </c:pt>
                <c:pt idx="49">
                  <c:v>650.13080227823923</c:v>
                </c:pt>
                <c:pt idx="50">
                  <c:v>716.3549903350247</c:v>
                </c:pt>
                <c:pt idx="51">
                  <c:v>658.40591341486311</c:v>
                </c:pt>
                <c:pt idx="52">
                  <c:v>648.85518754511236</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620.46536679776989</c:v>
                </c:pt>
                <c:pt idx="65">
                  <c:v>637.95605646373485</c:v>
                </c:pt>
                <c:pt idx="66">
                  <c:v>637.66071668053814</c:v>
                </c:pt>
                <c:pt idx="67">
                  <c:v>649.35064779921106</c:v>
                </c:pt>
                <c:pt idx="68">
                  <c:v>692.63946147009949</c:v>
                </c:pt>
                <c:pt idx="69">
                  <c:v>677.14711168578037</c:v>
                </c:pt>
                <c:pt idx="70">
                  <c:v>650.10461703244482</c:v>
                </c:pt>
                <c:pt idx="71">
                  <c:v>656.66457759248544</c:v>
                </c:pt>
                <c:pt idx="72">
                  <c:v>648.66295753038651</c:v>
                </c:pt>
                <c:pt idx="73">
                  <c:v>627.05675033785133</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629.93059061979716</c:v>
                </c:pt>
                <c:pt idx="88">
                  <c:v>627.3075280395384</c:v>
                </c:pt>
                <c:pt idx="89">
                  <c:v>635.82704622214044</c:v>
                </c:pt>
                <c:pt idx="90">
                  <c:v>629.92758465377642</c:v>
                </c:pt>
                <c:pt idx="91">
                  <c:v>637.49203076118818</c:v>
                </c:pt>
                <c:pt idx="92">
                  <c:v>636.34648418759139</c:v>
                </c:pt>
                <c:pt idx="93">
                  <c:v>629.07633582760309</c:v>
                </c:pt>
                <c:pt idx="94">
                  <c:v>644.70107130548524</c:v>
                </c:pt>
                <c:pt idx="95">
                  <c:v>641.75267803002316</c:v>
                </c:pt>
                <c:pt idx="96">
                  <c:v>633.42795933485024</c:v>
                </c:pt>
                <c:pt idx="97">
                  <c:v>636.66631036630122</c:v>
                </c:pt>
                <c:pt idx="98">
                  <c:v>624.68444112921736</c:v>
                </c:pt>
                <c:pt idx="99">
                  <c:v>652.87513228630928</c:v>
                </c:pt>
                <c:pt idx="100">
                  <c:v>675.78717228660855</c:v>
                </c:pt>
                <c:pt idx="101">
                  <c:v>643.16130040117207</c:v>
                </c:pt>
                <c:pt idx="102">
                  <c:v>640.52921795157772</c:v>
                </c:pt>
                <c:pt idx="103">
                  <c:v>638.39213832309463</c:v>
                </c:pt>
                <c:pt idx="104">
                  <c:v>658.7003367630208</c:v>
                </c:pt>
                <c:pt idx="105">
                  <c:v>668.30277528808642</c:v>
                </c:pt>
                <c:pt idx="106">
                  <c:v>660.28791552081827</c:v>
                </c:pt>
                <c:pt idx="107">
                  <c:v>646.30886074291379</c:v>
                </c:pt>
                <c:pt idx="108">
                  <c:v>646.2788998304427</c:v>
                </c:pt>
                <c:pt idx="109">
                  <c:v>662.90827024602549</c:v>
                </c:pt>
                <c:pt idx="110">
                  <c:v>642.85534871225502</c:v>
                </c:pt>
                <c:pt idx="111">
                  <c:v>643.20820078990801</c:v>
                </c:pt>
                <c:pt idx="112">
                  <c:v>666.30648367488959</c:v>
                </c:pt>
                <c:pt idx="113">
                  <c:v>708.3866724545926</c:v>
                </c:pt>
                <c:pt idx="114">
                  <c:v>672.29183854321457</c:v>
                </c:pt>
                <c:pt idx="115">
                  <c:v>647.29094192330751</c:v>
                </c:pt>
                <c:pt idx="116">
                  <c:v>652.94792159515259</c:v>
                </c:pt>
                <c:pt idx="117">
                  <c:v>693.14347601606937</c:v>
                </c:pt>
                <c:pt idx="118">
                  <c:v>654.84034167087282</c:v>
                </c:pt>
                <c:pt idx="119">
                  <c:v>670.57474724265387</c:v>
                </c:pt>
                <c:pt idx="120">
                  <c:v>639.94411039056479</c:v>
                </c:pt>
                <c:pt idx="121">
                  <c:v>668.84934202688135</c:v>
                </c:pt>
                <c:pt idx="122">
                  <c:v>683.50337488138064</c:v>
                </c:pt>
                <c:pt idx="123">
                  <c:v>700.45089977347573</c:v>
                </c:pt>
                <c:pt idx="124">
                  <c:v>691.96276571151634</c:v>
                </c:pt>
                <c:pt idx="125">
                  <c:v>666.90494792100401</c:v>
                </c:pt>
                <c:pt idx="126">
                  <c:v>656.86417471732477</c:v>
                </c:pt>
                <c:pt idx="127">
                  <c:v>641.37646961964447</c:v>
                </c:pt>
                <c:pt idx="128">
                  <c:v>639.24550278583104</c:v>
                </c:pt>
                <c:pt idx="129">
                  <c:v>644.41969145752273</c:v>
                </c:pt>
                <c:pt idx="130">
                  <c:v>647.10561551275146</c:v>
                </c:pt>
                <c:pt idx="131">
                  <c:v>658.86334385986254</c:v>
                </c:pt>
                <c:pt idx="132">
                  <c:v>665.32539921347961</c:v>
                </c:pt>
                <c:pt idx="133">
                  <c:v>665.24540993277083</c:v>
                </c:pt>
                <c:pt idx="134">
                  <c:v>690.25381490129962</c:v>
                </c:pt>
                <c:pt idx="135">
                  <c:v>687.36377857127013</c:v>
                </c:pt>
                <c:pt idx="136">
                  <c:v>659.513004423182</c:v>
                </c:pt>
                <c:pt idx="137">
                  <c:v>657.44721786946297</c:v>
                </c:pt>
                <c:pt idx="138">
                  <c:v>652.73968588320633</c:v>
                </c:pt>
                <c:pt idx="139">
                  <c:v>638.44938442567548</c:v>
                </c:pt>
                <c:pt idx="140">
                  <c:v>663.34223926869572</c:v>
                </c:pt>
                <c:pt idx="141">
                  <c:v>714.55735773282527</c:v>
                </c:pt>
                <c:pt idx="142">
                  <c:v>839.95188314072084</c:v>
                </c:pt>
                <c:pt idx="143">
                  <c:v>914.22038469286224</c:v>
                </c:pt>
                <c:pt idx="144">
                  <c:v>1492.1952981574664</c:v>
                </c:pt>
                <c:pt idx="145">
                  <c:v>7417.4918551058327</c:v>
                </c:pt>
                <c:pt idx="146">
                  <c:v>0</c:v>
                </c:pt>
                <c:pt idx="147">
                  <c:v>0</c:v>
                </c:pt>
                <c:pt idx="148">
                  <c:v>0</c:v>
                </c:pt>
                <c:pt idx="149">
                  <c:v>1201.5855366373034</c:v>
                </c:pt>
                <c:pt idx="150">
                  <c:v>761.15549762124806</c:v>
                </c:pt>
                <c:pt idx="151">
                  <c:v>658.09677072497129</c:v>
                </c:pt>
                <c:pt idx="152">
                  <c:v>625.8507361357066</c:v>
                </c:pt>
                <c:pt idx="153">
                  <c:v>620.91348022745103</c:v>
                </c:pt>
                <c:pt idx="154">
                  <c:v>621.98094252129295</c:v>
                </c:pt>
                <c:pt idx="155">
                  <c:v>629.4022711565334</c:v>
                </c:pt>
                <c:pt idx="156">
                  <c:v>631.49284042079364</c:v>
                </c:pt>
                <c:pt idx="157">
                  <c:v>628.49265299838987</c:v>
                </c:pt>
                <c:pt idx="158">
                  <c:v>642.77729609791527</c:v>
                </c:pt>
                <c:pt idx="159">
                  <c:v>639.9059560974955</c:v>
                </c:pt>
                <c:pt idx="160">
                  <c:v>644.35599011780562</c:v>
                </c:pt>
                <c:pt idx="161">
                  <c:v>658.94515287543913</c:v>
                </c:pt>
                <c:pt idx="162">
                  <c:v>672.07135681636339</c:v>
                </c:pt>
                <c:pt idx="163">
                  <c:v>633.24097076886426</c:v>
                </c:pt>
                <c:pt idx="164">
                  <c:v>625.56330938819804</c:v>
                </c:pt>
                <c:pt idx="165">
                  <c:v>627.92954147107798</c:v>
                </c:pt>
                <c:pt idx="166">
                  <c:v>643.06399690782121</c:v>
                </c:pt>
                <c:pt idx="167">
                  <c:v>640.8321753601407</c:v>
                </c:pt>
                <c:pt idx="168">
                  <c:v>644.25309043116056</c:v>
                </c:pt>
                <c:pt idx="169">
                  <c:v>633.92832474883471</c:v>
                </c:pt>
                <c:pt idx="170">
                  <c:v>650.00242322002714</c:v>
                </c:pt>
                <c:pt idx="171">
                  <c:v>667.65886520028812</c:v>
                </c:pt>
                <c:pt idx="172">
                  <c:v>653.53721119848581</c:v>
                </c:pt>
                <c:pt idx="173">
                  <c:v>661.23989835287239</c:v>
                </c:pt>
                <c:pt idx="174">
                  <c:v>661.61219635426369</c:v>
                </c:pt>
                <c:pt idx="175">
                  <c:v>654.57531708376007</c:v>
                </c:pt>
                <c:pt idx="176">
                  <c:v>689.45928083178103</c:v>
                </c:pt>
                <c:pt idx="177">
                  <c:v>699.0846576339452</c:v>
                </c:pt>
                <c:pt idx="178">
                  <c:v>659.69024944766431</c:v>
                </c:pt>
                <c:pt idx="179">
                  <c:v>677.29838090057251</c:v>
                </c:pt>
                <c:pt idx="180">
                  <c:v>649.59490598985644</c:v>
                </c:pt>
                <c:pt idx="181">
                  <c:v>631.73192746151005</c:v>
                </c:pt>
                <c:pt idx="182">
                  <c:v>649.62900111500642</c:v>
                </c:pt>
                <c:pt idx="183">
                  <c:v>640.03267202294808</c:v>
                </c:pt>
                <c:pt idx="184">
                  <c:v>647.3114016238892</c:v>
                </c:pt>
                <c:pt idx="185">
                  <c:v>646.23387094578425</c:v>
                </c:pt>
                <c:pt idx="186">
                  <c:v>651.98133014390078</c:v>
                </c:pt>
                <c:pt idx="187">
                  <c:v>650.01329950993306</c:v>
                </c:pt>
                <c:pt idx="188">
                  <c:v>648.15149420223804</c:v>
                </c:pt>
                <c:pt idx="189">
                  <c:v>646.32329267922501</c:v>
                </c:pt>
                <c:pt idx="190">
                  <c:v>646.41369334717183</c:v>
                </c:pt>
                <c:pt idx="191">
                  <c:v>649.912065659326</c:v>
                </c:pt>
                <c:pt idx="192">
                  <c:v>649.34051784989833</c:v>
                </c:pt>
                <c:pt idx="193">
                  <c:v>647.04547834760217</c:v>
                </c:pt>
                <c:pt idx="194">
                  <c:v>652.68980268213738</c:v>
                </c:pt>
                <c:pt idx="195">
                  <c:v>654.82799479460937</c:v>
                </c:pt>
                <c:pt idx="196">
                  <c:v>648.30804555933719</c:v>
                </c:pt>
                <c:pt idx="197">
                  <c:v>643.54144645452629</c:v>
                </c:pt>
                <c:pt idx="198">
                  <c:v>641.1678004767117</c:v>
                </c:pt>
                <c:pt idx="199">
                  <c:v>642.12035667315888</c:v>
                </c:pt>
                <c:pt idx="200">
                  <c:v>651.69839345557091</c:v>
                </c:pt>
                <c:pt idx="201">
                  <c:v>644.71559996365704</c:v>
                </c:pt>
                <c:pt idx="202">
                  <c:v>647.0831798200237</c:v>
                </c:pt>
                <c:pt idx="203">
                  <c:v>647.68392742089782</c:v>
                </c:pt>
                <c:pt idx="204">
                  <c:v>642.79352954013916</c:v>
                </c:pt>
                <c:pt idx="205">
                  <c:v>641.43268395580208</c:v>
                </c:pt>
                <c:pt idx="206">
                  <c:v>665.75128668257162</c:v>
                </c:pt>
                <c:pt idx="207">
                  <c:v>654.67408236940116</c:v>
                </c:pt>
                <c:pt idx="208">
                  <c:v>635.28484727909927</c:v>
                </c:pt>
                <c:pt idx="209">
                  <c:v>650.70071935349154</c:v>
                </c:pt>
                <c:pt idx="210">
                  <c:v>629.9100782307155</c:v>
                </c:pt>
                <c:pt idx="211">
                  <c:v>638.79581031304269</c:v>
                </c:pt>
                <c:pt idx="212">
                  <c:v>638.67435999506301</c:v>
                </c:pt>
                <c:pt idx="213">
                  <c:v>649.666823136895</c:v>
                </c:pt>
                <c:pt idx="214">
                  <c:v>673.14758875958773</c:v>
                </c:pt>
                <c:pt idx="215">
                  <c:v>648.28063368841629</c:v>
                </c:pt>
                <c:pt idx="216">
                  <c:v>634.12647014694437</c:v>
                </c:pt>
                <c:pt idx="217">
                  <c:v>644.26213216077667</c:v>
                </c:pt>
                <c:pt idx="218">
                  <c:v>639.3600872107138</c:v>
                </c:pt>
                <c:pt idx="219">
                  <c:v>721.05147392806282</c:v>
                </c:pt>
                <c:pt idx="220">
                  <c:v>633.72598175712051</c:v>
                </c:pt>
                <c:pt idx="221">
                  <c:v>637.58730964095184</c:v>
                </c:pt>
                <c:pt idx="222">
                  <c:v>632.55658276321071</c:v>
                </c:pt>
                <c:pt idx="223">
                  <c:v>638.26227262443217</c:v>
                </c:pt>
                <c:pt idx="224">
                  <c:v>624.06656731298597</c:v>
                </c:pt>
                <c:pt idx="225">
                  <c:v>614.13102617787297</c:v>
                </c:pt>
                <c:pt idx="226">
                  <c:v>649.63899390320887</c:v>
                </c:pt>
                <c:pt idx="227">
                  <c:v>627.16200197296189</c:v>
                </c:pt>
                <c:pt idx="228">
                  <c:v>635.20122503257801</c:v>
                </c:pt>
                <c:pt idx="229">
                  <c:v>632.57638442355221</c:v>
                </c:pt>
                <c:pt idx="230">
                  <c:v>660.44888295370913</c:v>
                </c:pt>
                <c:pt idx="231">
                  <c:v>637.11391931878643</c:v>
                </c:pt>
                <c:pt idx="232">
                  <c:v>645.48315775417598</c:v>
                </c:pt>
                <c:pt idx="233">
                  <c:v>651.45099997201635</c:v>
                </c:pt>
                <c:pt idx="234">
                  <c:v>637.98007100427583</c:v>
                </c:pt>
                <c:pt idx="235">
                  <c:v>651.63839647592886</c:v>
                </c:pt>
                <c:pt idx="236">
                  <c:v>646.99751717664446</c:v>
                </c:pt>
                <c:pt idx="237">
                  <c:v>645.00870901838493</c:v>
                </c:pt>
                <c:pt idx="238">
                  <c:v>648.48052782974082</c:v>
                </c:pt>
                <c:pt idx="239">
                  <c:v>646.35868550678606</c:v>
                </c:pt>
                <c:pt idx="240">
                  <c:v>692.93407250423627</c:v>
                </c:pt>
                <c:pt idx="241">
                  <c:v>696.46690251425287</c:v>
                </c:pt>
                <c:pt idx="242">
                  <c:v>701.53389344072957</c:v>
                </c:pt>
                <c:pt idx="243">
                  <c:v>690.43754669280611</c:v>
                </c:pt>
                <c:pt idx="244">
                  <c:v>689.72297826119518</c:v>
                </c:pt>
                <c:pt idx="245">
                  <c:v>790.49840665131762</c:v>
                </c:pt>
                <c:pt idx="246">
                  <c:v>920.71158132060611</c:v>
                </c:pt>
                <c:pt idx="247">
                  <c:v>909.5537449972137</c:v>
                </c:pt>
                <c:pt idx="248">
                  <c:v>884.20459584286709</c:v>
                </c:pt>
                <c:pt idx="249">
                  <c:v>828.74746167748685</c:v>
                </c:pt>
                <c:pt idx="250">
                  <c:v>844.37993073785958</c:v>
                </c:pt>
                <c:pt idx="251">
                  <c:v>739.36482951126709</c:v>
                </c:pt>
                <c:pt idx="252">
                  <c:v>693.57160466543928</c:v>
                </c:pt>
                <c:pt idx="253">
                  <c:v>732.11705116895553</c:v>
                </c:pt>
                <c:pt idx="254">
                  <c:v>730.72952411971369</c:v>
                </c:pt>
                <c:pt idx="255">
                  <c:v>780.39448621332917</c:v>
                </c:pt>
                <c:pt idx="256">
                  <c:v>665.8519571989043</c:v>
                </c:pt>
                <c:pt idx="257">
                  <c:v>642.12522197079863</c:v>
                </c:pt>
                <c:pt idx="258">
                  <c:v>678.86300858730192</c:v>
                </c:pt>
                <c:pt idx="259">
                  <c:v>894.88218592873875</c:v>
                </c:pt>
                <c:pt idx="260">
                  <c:v>856.42360465956926</c:v>
                </c:pt>
                <c:pt idx="261">
                  <c:v>710.32958248323314</c:v>
                </c:pt>
                <c:pt idx="262">
                  <c:v>707.59229574222491</c:v>
                </c:pt>
                <c:pt idx="263">
                  <c:v>739.63351675175613</c:v>
                </c:pt>
                <c:pt idx="264">
                  <c:v>697.85169806780482</c:v>
                </c:pt>
                <c:pt idx="265">
                  <c:v>654.64563310752862</c:v>
                </c:pt>
                <c:pt idx="266">
                  <c:v>672.86130055012677</c:v>
                </c:pt>
                <c:pt idx="267">
                  <c:v>709.75949176362849</c:v>
                </c:pt>
                <c:pt idx="268">
                  <c:v>634.90396163894798</c:v>
                </c:pt>
                <c:pt idx="269">
                  <c:v>653.52921877547874</c:v>
                </c:pt>
                <c:pt idx="270">
                  <c:v>660.92107774066199</c:v>
                </c:pt>
                <c:pt idx="271">
                  <c:v>675.44722315050694</c:v>
                </c:pt>
                <c:pt idx="272">
                  <c:v>649.2542952634567</c:v>
                </c:pt>
                <c:pt idx="273">
                  <c:v>637.37805795348049</c:v>
                </c:pt>
                <c:pt idx="274">
                  <c:v>650.49958806320308</c:v>
                </c:pt>
                <c:pt idx="275">
                  <c:v>663.48346621210658</c:v>
                </c:pt>
                <c:pt idx="276">
                  <c:v>651.23209109427535</c:v>
                </c:pt>
                <c:pt idx="277">
                  <c:v>659.66671311373625</c:v>
                </c:pt>
                <c:pt idx="278">
                  <c:v>686.97736317562533</c:v>
                </c:pt>
                <c:pt idx="279">
                  <c:v>650.13753060812439</c:v>
                </c:pt>
                <c:pt idx="280">
                  <c:v>630.05500784369497</c:v>
                </c:pt>
                <c:pt idx="281">
                  <c:v>640.1823016411098</c:v>
                </c:pt>
                <c:pt idx="282">
                  <c:v>633.44658651945213</c:v>
                </c:pt>
                <c:pt idx="283">
                  <c:v>631.93600543589571</c:v>
                </c:pt>
                <c:pt idx="284">
                  <c:v>630.54867615316925</c:v>
                </c:pt>
                <c:pt idx="285">
                  <c:v>637.66387559303519</c:v>
                </c:pt>
                <c:pt idx="286">
                  <c:v>634.68354931299461</c:v>
                </c:pt>
                <c:pt idx="287">
                  <c:v>642.05518742555648</c:v>
                </c:pt>
                <c:pt idx="288">
                  <c:v>651.94390601452233</c:v>
                </c:pt>
                <c:pt idx="289">
                  <c:v>651.25928601394389</c:v>
                </c:pt>
                <c:pt idx="290">
                  <c:v>650.91610376053757</c:v>
                </c:pt>
                <c:pt idx="291">
                  <c:v>697.72303476133857</c:v>
                </c:pt>
                <c:pt idx="292">
                  <c:v>668.77103159935609</c:v>
                </c:pt>
                <c:pt idx="293">
                  <c:v>660.83855405537327</c:v>
                </c:pt>
                <c:pt idx="294">
                  <c:v>654.06881596209178</c:v>
                </c:pt>
                <c:pt idx="295">
                  <c:v>662.87162720261063</c:v>
                </c:pt>
                <c:pt idx="296">
                  <c:v>661.58360805851703</c:v>
                </c:pt>
                <c:pt idx="297">
                  <c:v>674.08173457444968</c:v>
                </c:pt>
                <c:pt idx="298">
                  <c:v>646.21537255496685</c:v>
                </c:pt>
                <c:pt idx="299">
                  <c:v>679.46005238493603</c:v>
                </c:pt>
                <c:pt idx="300">
                  <c:v>686.68625635698299</c:v>
                </c:pt>
                <c:pt idx="301">
                  <c:v>671.90600282687103</c:v>
                </c:pt>
                <c:pt idx="302">
                  <c:v>651.09255572886593</c:v>
                </c:pt>
                <c:pt idx="303">
                  <c:v>638.94559044865628</c:v>
                </c:pt>
                <c:pt idx="304">
                  <c:v>653.43749693382244</c:v>
                </c:pt>
                <c:pt idx="305">
                  <c:v>637.9118555061234</c:v>
                </c:pt>
                <c:pt idx="306">
                  <c:v>643.4777086872391</c:v>
                </c:pt>
                <c:pt idx="307">
                  <c:v>645.76304378820157</c:v>
                </c:pt>
                <c:pt idx="308">
                  <c:v>654.40119748705774</c:v>
                </c:pt>
                <c:pt idx="309">
                  <c:v>654.77676309733454</c:v>
                </c:pt>
                <c:pt idx="310">
                  <c:v>642.8578604705076</c:v>
                </c:pt>
                <c:pt idx="311">
                  <c:v>642.3971267990986</c:v>
                </c:pt>
                <c:pt idx="312">
                  <c:v>653.62723110420688</c:v>
                </c:pt>
                <c:pt idx="313">
                  <c:v>657.42888173333972</c:v>
                </c:pt>
                <c:pt idx="314">
                  <c:v>662.62434489856082</c:v>
                </c:pt>
                <c:pt idx="315">
                  <c:v>647.86094946601554</c:v>
                </c:pt>
                <c:pt idx="316">
                  <c:v>660.67891018098726</c:v>
                </c:pt>
                <c:pt idx="317">
                  <c:v>663.62202378115069</c:v>
                </c:pt>
                <c:pt idx="318">
                  <c:v>648.94076166140792</c:v>
                </c:pt>
                <c:pt idx="319">
                  <c:v>641.09228554261074</c:v>
                </c:pt>
                <c:pt idx="320">
                  <c:v>649.35116115196911</c:v>
                </c:pt>
                <c:pt idx="321">
                  <c:v>647.83433090734013</c:v>
                </c:pt>
                <c:pt idx="322">
                  <c:v>648.16040409691993</c:v>
                </c:pt>
                <c:pt idx="323">
                  <c:v>652.04562267486119</c:v>
                </c:pt>
                <c:pt idx="324">
                  <c:v>642.23907522674801</c:v>
                </c:pt>
                <c:pt idx="325">
                  <c:v>639.79995763166949</c:v>
                </c:pt>
                <c:pt idx="326">
                  <c:v>631.68646672105285</c:v>
                </c:pt>
                <c:pt idx="327">
                  <c:v>634.88958530944876</c:v>
                </c:pt>
                <c:pt idx="328">
                  <c:v>631.23088829103472</c:v>
                </c:pt>
                <c:pt idx="329">
                  <c:v>639.73738142978937</c:v>
                </c:pt>
                <c:pt idx="330">
                  <c:v>640.52566472499814</c:v>
                </c:pt>
                <c:pt idx="331">
                  <c:v>648.04876896061944</c:v>
                </c:pt>
                <c:pt idx="332">
                  <c:v>647.84593781998171</c:v>
                </c:pt>
                <c:pt idx="333">
                  <c:v>642.23773343597225</c:v>
                </c:pt>
                <c:pt idx="334">
                  <c:v>758.60433332250057</c:v>
                </c:pt>
                <c:pt idx="335">
                  <c:v>737.99426839161424</c:v>
                </c:pt>
                <c:pt idx="336">
                  <c:v>652.21612085092931</c:v>
                </c:pt>
                <c:pt idx="337">
                  <c:v>638.41484854960163</c:v>
                </c:pt>
                <c:pt idx="338">
                  <c:v>637.1935148217184</c:v>
                </c:pt>
                <c:pt idx="339">
                  <c:v>630.80148743363998</c:v>
                </c:pt>
                <c:pt idx="340">
                  <c:v>628.93795840116934</c:v>
                </c:pt>
                <c:pt idx="341">
                  <c:v>622.96613787876993</c:v>
                </c:pt>
                <c:pt idx="342">
                  <c:v>627.8534464427363</c:v>
                </c:pt>
                <c:pt idx="343">
                  <c:v>632.87787083109356</c:v>
                </c:pt>
                <c:pt idx="344">
                  <c:v>635.45316328963463</c:v>
                </c:pt>
                <c:pt idx="345">
                  <c:v>640.09069639160259</c:v>
                </c:pt>
                <c:pt idx="346">
                  <c:v>635.29097467074905</c:v>
                </c:pt>
                <c:pt idx="347">
                  <c:v>629.35782472002927</c:v>
                </c:pt>
                <c:pt idx="348">
                  <c:v>636.36251211400042</c:v>
                </c:pt>
                <c:pt idx="349">
                  <c:v>633.76743870825987</c:v>
                </c:pt>
                <c:pt idx="350">
                  <c:v>636.2192778361773</c:v>
                </c:pt>
                <c:pt idx="351">
                  <c:v>624.10549869746603</c:v>
                </c:pt>
                <c:pt idx="352">
                  <c:v>635.48321089705041</c:v>
                </c:pt>
                <c:pt idx="353">
                  <c:v>638.97656144089524</c:v>
                </c:pt>
                <c:pt idx="354">
                  <c:v>638.28598536885238</c:v>
                </c:pt>
                <c:pt idx="355">
                  <c:v>636.51997506898556</c:v>
                </c:pt>
                <c:pt idx="356">
                  <c:v>684.91108754387938</c:v>
                </c:pt>
                <c:pt idx="357">
                  <c:v>654.98633490139321</c:v>
                </c:pt>
                <c:pt idx="358">
                  <c:v>631.27703745600638</c:v>
                </c:pt>
                <c:pt idx="359">
                  <c:v>636.3794482059152</c:v>
                </c:pt>
                <c:pt idx="360">
                  <c:v>630.67098085061366</c:v>
                </c:pt>
                <c:pt idx="361">
                  <c:v>632.0262541061312</c:v>
                </c:pt>
                <c:pt idx="362">
                  <c:v>634.11540602889374</c:v>
                </c:pt>
                <c:pt idx="363">
                  <c:v>724.87365059427179</c:v>
                </c:pt>
                <c:pt idx="364">
                  <c:v>913.71948615034228</c:v>
                </c:pt>
                <c:pt idx="365">
                  <c:v>864.71845565776198</c:v>
                </c:pt>
                <c:pt idx="366">
                  <c:v>629.66804582324562</c:v>
                </c:pt>
                <c:pt idx="367">
                  <c:v>634.95603487613687</c:v>
                </c:pt>
                <c:pt idx="368">
                  <c:v>623.46981229834751</c:v>
                </c:pt>
                <c:pt idx="369">
                  <c:v>621.33664391589241</c:v>
                </c:pt>
                <c:pt idx="370">
                  <c:v>615.71458413329594</c:v>
                </c:pt>
                <c:pt idx="371">
                  <c:v>619.43048479649326</c:v>
                </c:pt>
                <c:pt idx="372">
                  <c:v>615.44704542249042</c:v>
                </c:pt>
                <c:pt idx="373">
                  <c:v>623.88792738248037</c:v>
                </c:pt>
                <c:pt idx="374">
                  <c:v>625.22645971420252</c:v>
                </c:pt>
                <c:pt idx="375">
                  <c:v>644.75992140093285</c:v>
                </c:pt>
                <c:pt idx="376">
                  <c:v>633.51967836344761</c:v>
                </c:pt>
                <c:pt idx="377">
                  <c:v>629.66715142273097</c:v>
                </c:pt>
                <c:pt idx="378">
                  <c:v>627.22374046018467</c:v>
                </c:pt>
                <c:pt idx="379">
                  <c:v>628.87946698833719</c:v>
                </c:pt>
                <c:pt idx="380">
                  <c:v>620.56528983339467</c:v>
                </c:pt>
                <c:pt idx="381">
                  <c:v>613.30341178206311</c:v>
                </c:pt>
                <c:pt idx="382">
                  <c:v>622.44936034198122</c:v>
                </c:pt>
                <c:pt idx="383">
                  <c:v>631.28637547682399</c:v>
                </c:pt>
                <c:pt idx="384">
                  <c:v>630.98815182576629</c:v>
                </c:pt>
                <c:pt idx="385">
                  <c:v>625.25343946860903</c:v>
                </c:pt>
                <c:pt idx="386">
                  <c:v>626.12283369193017</c:v>
                </c:pt>
                <c:pt idx="387">
                  <c:v>629.41914564058879</c:v>
                </c:pt>
                <c:pt idx="388">
                  <c:v>629.76154134682884</c:v>
                </c:pt>
                <c:pt idx="389">
                  <c:v>629.62344284960909</c:v>
                </c:pt>
                <c:pt idx="390">
                  <c:v>625.56086499627042</c:v>
                </c:pt>
                <c:pt idx="391">
                  <c:v>618.97012634947521</c:v>
                </c:pt>
                <c:pt idx="392">
                  <c:v>624.39864918374155</c:v>
                </c:pt>
                <c:pt idx="393">
                  <c:v>620.96702390766382</c:v>
                </c:pt>
                <c:pt idx="394">
                  <c:v>622.25713973862105</c:v>
                </c:pt>
                <c:pt idx="395">
                  <c:v>625.65220365520543</c:v>
                </c:pt>
                <c:pt idx="396">
                  <c:v>633.81876553241318</c:v>
                </c:pt>
                <c:pt idx="397">
                  <c:v>623.91967569890301</c:v>
                </c:pt>
                <c:pt idx="398">
                  <c:v>632.89539565713312</c:v>
                </c:pt>
                <c:pt idx="399">
                  <c:v>626.85254372412044</c:v>
                </c:pt>
                <c:pt idx="400">
                  <c:v>637.31725434998111</c:v>
                </c:pt>
                <c:pt idx="401">
                  <c:v>631.42855829197072</c:v>
                </c:pt>
                <c:pt idx="402">
                  <c:v>640.01782818390438</c:v>
                </c:pt>
                <c:pt idx="403">
                  <c:v>639.72186494881589</c:v>
                </c:pt>
                <c:pt idx="404">
                  <c:v>640.35035192703356</c:v>
                </c:pt>
                <c:pt idx="405">
                  <c:v>644.26299509916464</c:v>
                </c:pt>
                <c:pt idx="406">
                  <c:v>629.7130779596647</c:v>
                </c:pt>
                <c:pt idx="407">
                  <c:v>630.68386707896343</c:v>
                </c:pt>
                <c:pt idx="408">
                  <c:v>644.71324015192999</c:v>
                </c:pt>
                <c:pt idx="409">
                  <c:v>630.13869025875545</c:v>
                </c:pt>
                <c:pt idx="410">
                  <c:v>634.32598491970941</c:v>
                </c:pt>
                <c:pt idx="411">
                  <c:v>625.79326343549053</c:v>
                </c:pt>
                <c:pt idx="412">
                  <c:v>635.52166971464624</c:v>
                </c:pt>
                <c:pt idx="413">
                  <c:v>629.8666552551033</c:v>
                </c:pt>
                <c:pt idx="414">
                  <c:v>630.10523901702209</c:v>
                </c:pt>
                <c:pt idx="415">
                  <c:v>641.11908514445508</c:v>
                </c:pt>
                <c:pt idx="416">
                  <c:v>647.08528468696716</c:v>
                </c:pt>
                <c:pt idx="417">
                  <c:v>635.30229618832038</c:v>
                </c:pt>
                <c:pt idx="418">
                  <c:v>623.74226691483523</c:v>
                </c:pt>
                <c:pt idx="419">
                  <c:v>639.07449011698611</c:v>
                </c:pt>
                <c:pt idx="420">
                  <c:v>639.13774764667789</c:v>
                </c:pt>
                <c:pt idx="421">
                  <c:v>639.30643784022129</c:v>
                </c:pt>
                <c:pt idx="422">
                  <c:v>648.93419387121128</c:v>
                </c:pt>
                <c:pt idx="423">
                  <c:v>644.14886673118485</c:v>
                </c:pt>
                <c:pt idx="424">
                  <c:v>637.57735125851252</c:v>
                </c:pt>
                <c:pt idx="425">
                  <c:v>648.2421424759026</c:v>
                </c:pt>
                <c:pt idx="426">
                  <c:v>634.85750762244356</c:v>
                </c:pt>
                <c:pt idx="427">
                  <c:v>626.99112111756074</c:v>
                </c:pt>
                <c:pt idx="428">
                  <c:v>627.20425403413731</c:v>
                </c:pt>
                <c:pt idx="429">
                  <c:v>639.2509079190271</c:v>
                </c:pt>
                <c:pt idx="430">
                  <c:v>636.1118570065903</c:v>
                </c:pt>
                <c:pt idx="431">
                  <c:v>636.05922984179222</c:v>
                </c:pt>
                <c:pt idx="432">
                  <c:v>625.0791642671154</c:v>
                </c:pt>
                <c:pt idx="433">
                  <c:v>636.43918097927656</c:v>
                </c:pt>
                <c:pt idx="434">
                  <c:v>636.78134088189984</c:v>
                </c:pt>
                <c:pt idx="435">
                  <c:v>632.29542974655374</c:v>
                </c:pt>
                <c:pt idx="436">
                  <c:v>637.42184141481289</c:v>
                </c:pt>
                <c:pt idx="437">
                  <c:v>641.98076796774137</c:v>
                </c:pt>
                <c:pt idx="438">
                  <c:v>644.10266201930426</c:v>
                </c:pt>
                <c:pt idx="439">
                  <c:v>649.67080824742357</c:v>
                </c:pt>
                <c:pt idx="440">
                  <c:v>635.36684747289303</c:v>
                </c:pt>
                <c:pt idx="441">
                  <c:v>656.52542998010654</c:v>
                </c:pt>
                <c:pt idx="442">
                  <c:v>633.99731513093218</c:v>
                </c:pt>
                <c:pt idx="443">
                  <c:v>637.96877342886319</c:v>
                </c:pt>
                <c:pt idx="444">
                  <c:v>633.78148842810822</c:v>
                </c:pt>
                <c:pt idx="445">
                  <c:v>627.03228712613009</c:v>
                </c:pt>
                <c:pt idx="446">
                  <c:v>630.60152536028465</c:v>
                </c:pt>
                <c:pt idx="447">
                  <c:v>637.93431492649802</c:v>
                </c:pt>
                <c:pt idx="448">
                  <c:v>644.09634538249611</c:v>
                </c:pt>
                <c:pt idx="449">
                  <c:v>650.05982399999345</c:v>
                </c:pt>
                <c:pt idx="450">
                  <c:v>636.00092932297343</c:v>
                </c:pt>
                <c:pt idx="451">
                  <c:v>633.18405623098852</c:v>
                </c:pt>
                <c:pt idx="452">
                  <c:v>624.38028232392571</c:v>
                </c:pt>
                <c:pt idx="453">
                  <c:v>638.96672281974918</c:v>
                </c:pt>
                <c:pt idx="454">
                  <c:v>634.54371453939882</c:v>
                </c:pt>
                <c:pt idx="455">
                  <c:v>621.95676500198908</c:v>
                </c:pt>
                <c:pt idx="456">
                  <c:v>633.3190515031597</c:v>
                </c:pt>
                <c:pt idx="457">
                  <c:v>654.02845751153063</c:v>
                </c:pt>
                <c:pt idx="458">
                  <c:v>632.86187791438726</c:v>
                </c:pt>
                <c:pt idx="459">
                  <c:v>640.36998554495835</c:v>
                </c:pt>
                <c:pt idx="460">
                  <c:v>629.36472018872087</c:v>
                </c:pt>
                <c:pt idx="461">
                  <c:v>634.80695922346604</c:v>
                </c:pt>
                <c:pt idx="462">
                  <c:v>625.93219091766309</c:v>
                </c:pt>
                <c:pt idx="463">
                  <c:v>618.66181885323647</c:v>
                </c:pt>
                <c:pt idx="464">
                  <c:v>625.82901119111796</c:v>
                </c:pt>
                <c:pt idx="465">
                  <c:v>624.25302378489368</c:v>
                </c:pt>
                <c:pt idx="466">
                  <c:v>639.55706581944537</c:v>
                </c:pt>
                <c:pt idx="467">
                  <c:v>811.06651274502428</c:v>
                </c:pt>
                <c:pt idx="468">
                  <c:v>1056.4586067330986</c:v>
                </c:pt>
                <c:pt idx="469">
                  <c:v>639.8031674767866</c:v>
                </c:pt>
                <c:pt idx="470">
                  <c:v>636.72102210454091</c:v>
                </c:pt>
                <c:pt idx="471">
                  <c:v>629.62149056647843</c:v>
                </c:pt>
                <c:pt idx="472">
                  <c:v>637.30905859707207</c:v>
                </c:pt>
                <c:pt idx="473">
                  <c:v>636.01776953777437</c:v>
                </c:pt>
                <c:pt idx="474">
                  <c:v>634.5252496001109</c:v>
                </c:pt>
                <c:pt idx="475">
                  <c:v>642.66510897280716</c:v>
                </c:pt>
                <c:pt idx="476">
                  <c:v>641.41598858932298</c:v>
                </c:pt>
                <c:pt idx="477">
                  <c:v>645.5409021594171</c:v>
                </c:pt>
                <c:pt idx="478">
                  <c:v>632.60065102204021</c:v>
                </c:pt>
                <c:pt idx="479">
                  <c:v>637.14836092507937</c:v>
                </c:pt>
                <c:pt idx="480">
                  <c:v>650.45653008403974</c:v>
                </c:pt>
                <c:pt idx="481">
                  <c:v>659.20219267320499</c:v>
                </c:pt>
                <c:pt idx="482">
                  <c:v>660.40421137183637</c:v>
                </c:pt>
                <c:pt idx="483">
                  <c:v>663.43157585821768</c:v>
                </c:pt>
                <c:pt idx="484">
                  <c:v>649.78070173977744</c:v>
                </c:pt>
                <c:pt idx="485">
                  <c:v>653.34828512685453</c:v>
                </c:pt>
                <c:pt idx="486">
                  <c:v>633.23395185151571</c:v>
                </c:pt>
                <c:pt idx="487">
                  <c:v>648.5117247049393</c:v>
                </c:pt>
                <c:pt idx="488">
                  <c:v>642.20504802840026</c:v>
                </c:pt>
                <c:pt idx="489">
                  <c:v>643.87883949443949</c:v>
                </c:pt>
                <c:pt idx="490">
                  <c:v>640.99439206672605</c:v>
                </c:pt>
                <c:pt idx="491">
                  <c:v>634.75320108826577</c:v>
                </c:pt>
                <c:pt idx="492">
                  <c:v>679.2506902197498</c:v>
                </c:pt>
                <c:pt idx="493">
                  <c:v>886.31798964149368</c:v>
                </c:pt>
                <c:pt idx="494">
                  <c:v>976.71009101406605</c:v>
                </c:pt>
                <c:pt idx="495">
                  <c:v>1172.2222409006183</c:v>
                </c:pt>
                <c:pt idx="496">
                  <c:v>1207.0167680667305</c:v>
                </c:pt>
                <c:pt idx="497">
                  <c:v>0</c:v>
                </c:pt>
                <c:pt idx="498">
                  <c:v>0</c:v>
                </c:pt>
                <c:pt idx="499">
                  <c:v>636.67173709633448</c:v>
                </c:pt>
                <c:pt idx="500">
                  <c:v>630.16637942907334</c:v>
                </c:pt>
                <c:pt idx="501">
                  <c:v>634.8194973051518</c:v>
                </c:pt>
                <c:pt idx="502">
                  <c:v>638.46316060639754</c:v>
                </c:pt>
                <c:pt idx="503">
                  <c:v>628.58210875461305</c:v>
                </c:pt>
                <c:pt idx="504">
                  <c:v>646.68964272716141</c:v>
                </c:pt>
                <c:pt idx="505">
                  <c:v>625.80620579895617</c:v>
                </c:pt>
                <c:pt idx="506">
                  <c:v>811.64736025875709</c:v>
                </c:pt>
                <c:pt idx="507">
                  <c:v>640.67036302370536</c:v>
                </c:pt>
                <c:pt idx="508">
                  <c:v>647.24839390503303</c:v>
                </c:pt>
                <c:pt idx="509">
                  <c:v>624.9969083359299</c:v>
                </c:pt>
                <c:pt idx="510">
                  <c:v>621.5031425990137</c:v>
                </c:pt>
                <c:pt idx="511">
                  <c:v>631.93551449459119</c:v>
                </c:pt>
                <c:pt idx="512">
                  <c:v>642.30140410802426</c:v>
                </c:pt>
                <c:pt idx="513">
                  <c:v>633.11978984538598</c:v>
                </c:pt>
                <c:pt idx="514">
                  <c:v>634.36246053600473</c:v>
                </c:pt>
                <c:pt idx="515">
                  <c:v>636.16453656020462</c:v>
                </c:pt>
                <c:pt idx="516">
                  <c:v>629.66534517558728</c:v>
                </c:pt>
                <c:pt idx="517">
                  <c:v>629.67438631324183</c:v>
                </c:pt>
                <c:pt idx="518">
                  <c:v>636.40028169372545</c:v>
                </c:pt>
                <c:pt idx="519">
                  <c:v>628.84501609077108</c:v>
                </c:pt>
                <c:pt idx="520">
                  <c:v>631.46973421976816</c:v>
                </c:pt>
                <c:pt idx="521">
                  <c:v>621.95528386126739</c:v>
                </c:pt>
                <c:pt idx="522">
                  <c:v>630.55023538486125</c:v>
                </c:pt>
                <c:pt idx="523">
                  <c:v>631.72597603892461</c:v>
                </c:pt>
                <c:pt idx="524">
                  <c:v>638.59697565680881</c:v>
                </c:pt>
                <c:pt idx="525">
                  <c:v>640.64738441383736</c:v>
                </c:pt>
                <c:pt idx="526">
                  <c:v>642.13488956652247</c:v>
                </c:pt>
                <c:pt idx="527">
                  <c:v>666.55614432146911</c:v>
                </c:pt>
                <c:pt idx="528">
                  <c:v>648.20942333807079</c:v>
                </c:pt>
                <c:pt idx="529">
                  <c:v>654.57038138379005</c:v>
                </c:pt>
                <c:pt idx="530">
                  <c:v>651.11854680355725</c:v>
                </c:pt>
                <c:pt idx="531">
                  <c:v>653.65269461077844</c:v>
                </c:pt>
                <c:pt idx="532">
                  <c:v>652.00627861736143</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715.19738206676607</c:v>
                </c:pt>
                <c:pt idx="543">
                  <c:v>684.94197442265147</c:v>
                </c:pt>
                <c:pt idx="544">
                  <c:v>711.83071298596531</c:v>
                </c:pt>
                <c:pt idx="545">
                  <c:v>657.30067741039602</c:v>
                </c:pt>
                <c:pt idx="546">
                  <c:v>653.48691283906373</c:v>
                </c:pt>
                <c:pt idx="547">
                  <c:v>652.39814030438038</c:v>
                </c:pt>
                <c:pt idx="548">
                  <c:v>634.53641684726324</c:v>
                </c:pt>
                <c:pt idx="549">
                  <c:v>648.73937517374884</c:v>
                </c:pt>
                <c:pt idx="550">
                  <c:v>639.62956482822676</c:v>
                </c:pt>
                <c:pt idx="551">
                  <c:v>625.05971230816817</c:v>
                </c:pt>
                <c:pt idx="552">
                  <c:v>634.77795136327927</c:v>
                </c:pt>
                <c:pt idx="553">
                  <c:v>637.90655233063126</c:v>
                </c:pt>
                <c:pt idx="554">
                  <c:v>631.66149188505153</c:v>
                </c:pt>
                <c:pt idx="555">
                  <c:v>647.1636677566737</c:v>
                </c:pt>
                <c:pt idx="556">
                  <c:v>642.7266379350948</c:v>
                </c:pt>
                <c:pt idx="557">
                  <c:v>638.70523348421113</c:v>
                </c:pt>
                <c:pt idx="558">
                  <c:v>632.37210997868124</c:v>
                </c:pt>
                <c:pt idx="559">
                  <c:v>629.0121989569268</c:v>
                </c:pt>
                <c:pt idx="560">
                  <c:v>638.43878377892122</c:v>
                </c:pt>
                <c:pt idx="561">
                  <c:v>638.9857825073932</c:v>
                </c:pt>
                <c:pt idx="562">
                  <c:v>655.27959087979309</c:v>
                </c:pt>
                <c:pt idx="563">
                  <c:v>630.56425913940893</c:v>
                </c:pt>
                <c:pt idx="564">
                  <c:v>664.62545748874152</c:v>
                </c:pt>
                <c:pt idx="565">
                  <c:v>648.94571962144391</c:v>
                </c:pt>
                <c:pt idx="566">
                  <c:v>629.61200173568579</c:v>
                </c:pt>
                <c:pt idx="567">
                  <c:v>640.55148170921723</c:v>
                </c:pt>
                <c:pt idx="568">
                  <c:v>691.27126521618561</c:v>
                </c:pt>
                <c:pt idx="569">
                  <c:v>682.45562231920803</c:v>
                </c:pt>
                <c:pt idx="570">
                  <c:v>853.12366935921239</c:v>
                </c:pt>
                <c:pt idx="571">
                  <c:v>723.19199540603734</c:v>
                </c:pt>
                <c:pt idx="572">
                  <c:v>734.50637193673799</c:v>
                </c:pt>
                <c:pt idx="573">
                  <c:v>673.64153684308042</c:v>
                </c:pt>
                <c:pt idx="574">
                  <c:v>657.02606251614566</c:v>
                </c:pt>
                <c:pt idx="575">
                  <c:v>629.03948343204104</c:v>
                </c:pt>
                <c:pt idx="576">
                  <c:v>643.20019842889906</c:v>
                </c:pt>
                <c:pt idx="577">
                  <c:v>645.43385463452387</c:v>
                </c:pt>
                <c:pt idx="578">
                  <c:v>626.79242968996266</c:v>
                </c:pt>
                <c:pt idx="579">
                  <c:v>644.38502376147562</c:v>
                </c:pt>
                <c:pt idx="580">
                  <c:v>665.47573030739704</c:v>
                </c:pt>
                <c:pt idx="581">
                  <c:v>682.89127914114738</c:v>
                </c:pt>
                <c:pt idx="582">
                  <c:v>635.90134324196458</c:v>
                </c:pt>
                <c:pt idx="583">
                  <c:v>627.05780071593495</c:v>
                </c:pt>
                <c:pt idx="584">
                  <c:v>650.44489738411289</c:v>
                </c:pt>
                <c:pt idx="585">
                  <c:v>664.70646335381844</c:v>
                </c:pt>
                <c:pt idx="586">
                  <c:v>692.23329803394154</c:v>
                </c:pt>
                <c:pt idx="587">
                  <c:v>655.5326863874551</c:v>
                </c:pt>
                <c:pt idx="588">
                  <c:v>647.26622980838329</c:v>
                </c:pt>
                <c:pt idx="589">
                  <c:v>651.73587746264025</c:v>
                </c:pt>
                <c:pt idx="590">
                  <c:v>653.49968021509369</c:v>
                </c:pt>
                <c:pt idx="591">
                  <c:v>652.01387799941165</c:v>
                </c:pt>
                <c:pt idx="592">
                  <c:v>651.88078916170946</c:v>
                </c:pt>
                <c:pt idx="593">
                  <c:v>648.32267610962333</c:v>
                </c:pt>
                <c:pt idx="594">
                  <c:v>628.45633789635724</c:v>
                </c:pt>
                <c:pt idx="595">
                  <c:v>636.9054104068739</c:v>
                </c:pt>
                <c:pt idx="596">
                  <c:v>637.56867056480598</c:v>
                </c:pt>
                <c:pt idx="597">
                  <c:v>640.49374131020716</c:v>
                </c:pt>
                <c:pt idx="598">
                  <c:v>643.8745642295612</c:v>
                </c:pt>
                <c:pt idx="599">
                  <c:v>654.40600826896809</c:v>
                </c:pt>
                <c:pt idx="600">
                  <c:v>664.48761283362262</c:v>
                </c:pt>
                <c:pt idx="601">
                  <c:v>680.59277192306638</c:v>
                </c:pt>
                <c:pt idx="602">
                  <c:v>644.59449497063508</c:v>
                </c:pt>
                <c:pt idx="603">
                  <c:v>662.70028527149373</c:v>
                </c:pt>
                <c:pt idx="604">
                  <c:v>655.96421653234472</c:v>
                </c:pt>
                <c:pt idx="605">
                  <c:v>630.66381435215226</c:v>
                </c:pt>
                <c:pt idx="606">
                  <c:v>633.68355672693235</c:v>
                </c:pt>
                <c:pt idx="607">
                  <c:v>716.70270660108872</c:v>
                </c:pt>
                <c:pt idx="608">
                  <c:v>639.78039349163134</c:v>
                </c:pt>
                <c:pt idx="609">
                  <c:v>640.24386883970681</c:v>
                </c:pt>
                <c:pt idx="610">
                  <c:v>667.69981806174212</c:v>
                </c:pt>
                <c:pt idx="611">
                  <c:v>644.04057027964495</c:v>
                </c:pt>
                <c:pt idx="612">
                  <c:v>644.65626328836743</c:v>
                </c:pt>
                <c:pt idx="613">
                  <c:v>637.87536833300942</c:v>
                </c:pt>
                <c:pt idx="614">
                  <c:v>629.96558164830901</c:v>
                </c:pt>
                <c:pt idx="615">
                  <c:v>645.95479927898043</c:v>
                </c:pt>
                <c:pt idx="616">
                  <c:v>653.77036805692035</c:v>
                </c:pt>
                <c:pt idx="617">
                  <c:v>666.91584782465225</c:v>
                </c:pt>
                <c:pt idx="618">
                  <c:v>635.53980104452455</c:v>
                </c:pt>
                <c:pt idx="619">
                  <c:v>639.88500851262472</c:v>
                </c:pt>
                <c:pt idx="620">
                  <c:v>634.42276950581311</c:v>
                </c:pt>
                <c:pt idx="621">
                  <c:v>683.0887265384157</c:v>
                </c:pt>
                <c:pt idx="622">
                  <c:v>652.32652083968685</c:v>
                </c:pt>
                <c:pt idx="623">
                  <c:v>690.39637797786497</c:v>
                </c:pt>
                <c:pt idx="624">
                  <c:v>685.98244520258595</c:v>
                </c:pt>
                <c:pt idx="625">
                  <c:v>754.4142716719499</c:v>
                </c:pt>
                <c:pt idx="626">
                  <c:v>786.71512737342323</c:v>
                </c:pt>
                <c:pt idx="627">
                  <c:v>798.77778844915792</c:v>
                </c:pt>
                <c:pt idx="628">
                  <c:v>810.32217828775697</c:v>
                </c:pt>
                <c:pt idx="629">
                  <c:v>704.67901363892008</c:v>
                </c:pt>
                <c:pt idx="630">
                  <c:v>661.89458027743319</c:v>
                </c:pt>
                <c:pt idx="631">
                  <c:v>654.86592375433668</c:v>
                </c:pt>
                <c:pt idx="632">
                  <c:v>637.46438210177723</c:v>
                </c:pt>
                <c:pt idx="633">
                  <c:v>640.42760693668049</c:v>
                </c:pt>
                <c:pt idx="634">
                  <c:v>627.52732744551281</c:v>
                </c:pt>
                <c:pt idx="635">
                  <c:v>643.63120700815102</c:v>
                </c:pt>
                <c:pt idx="636">
                  <c:v>652.69655705155549</c:v>
                </c:pt>
                <c:pt idx="637">
                  <c:v>646.16171593250226</c:v>
                </c:pt>
                <c:pt idx="638">
                  <c:v>665.18550997315447</c:v>
                </c:pt>
                <c:pt idx="639">
                  <c:v>758.74730170434611</c:v>
                </c:pt>
                <c:pt idx="640">
                  <c:v>822.44831436652532</c:v>
                </c:pt>
                <c:pt idx="641">
                  <c:v>1261.0911769349004</c:v>
                </c:pt>
                <c:pt idx="642">
                  <c:v>0</c:v>
                </c:pt>
                <c:pt idx="643">
                  <c:v>828.08171567042245</c:v>
                </c:pt>
                <c:pt idx="644">
                  <c:v>707.58788258168443</c:v>
                </c:pt>
                <c:pt idx="645">
                  <c:v>687.61878066923077</c:v>
                </c:pt>
                <c:pt idx="646">
                  <c:v>687.91637222826239</c:v>
                </c:pt>
                <c:pt idx="647">
                  <c:v>683.43988500072032</c:v>
                </c:pt>
                <c:pt idx="648">
                  <c:v>689.03529414439129</c:v>
                </c:pt>
                <c:pt idx="649">
                  <c:v>657.71217533382037</c:v>
                </c:pt>
                <c:pt idx="650">
                  <c:v>676.2278958381354</c:v>
                </c:pt>
                <c:pt idx="651">
                  <c:v>652.95804292859066</c:v>
                </c:pt>
                <c:pt idx="652">
                  <c:v>652.61129464931571</c:v>
                </c:pt>
                <c:pt idx="653">
                  <c:v>642.46657746610867</c:v>
                </c:pt>
                <c:pt idx="654">
                  <c:v>639.5261080886047</c:v>
                </c:pt>
                <c:pt idx="655">
                  <c:v>746.27092881457975</c:v>
                </c:pt>
                <c:pt idx="656">
                  <c:v>652.74883608855976</c:v>
                </c:pt>
                <c:pt idx="657">
                  <c:v>653.93188881424862</c:v>
                </c:pt>
                <c:pt idx="658">
                  <c:v>641.57764335932359</c:v>
                </c:pt>
                <c:pt idx="659">
                  <c:v>667.07103711908883</c:v>
                </c:pt>
                <c:pt idx="660">
                  <c:v>635.74087443314033</c:v>
                </c:pt>
                <c:pt idx="661">
                  <c:v>659.33677284052976</c:v>
                </c:pt>
                <c:pt idx="662">
                  <c:v>628.71288680353143</c:v>
                </c:pt>
                <c:pt idx="663">
                  <c:v>632.1854901677325</c:v>
                </c:pt>
                <c:pt idx="664">
                  <c:v>632.85537156823489</c:v>
                </c:pt>
                <c:pt idx="665">
                  <c:v>626.83406989959269</c:v>
                </c:pt>
                <c:pt idx="666">
                  <c:v>650.83463480543901</c:v>
                </c:pt>
                <c:pt idx="667">
                  <c:v>646.53783166891128</c:v>
                </c:pt>
                <c:pt idx="668">
                  <c:v>646.06434369842884</c:v>
                </c:pt>
                <c:pt idx="669">
                  <c:v>674.86017720906659</c:v>
                </c:pt>
                <c:pt idx="670">
                  <c:v>615.378454243904</c:v>
                </c:pt>
                <c:pt idx="671">
                  <c:v>645.24024064891</c:v>
                </c:pt>
                <c:pt idx="672">
                  <c:v>637.00165996054886</c:v>
                </c:pt>
                <c:pt idx="673">
                  <c:v>632.13083239462105</c:v>
                </c:pt>
                <c:pt idx="674">
                  <c:v>643.15535693603499</c:v>
                </c:pt>
                <c:pt idx="675">
                  <c:v>635.17226950327392</c:v>
                </c:pt>
                <c:pt idx="676">
                  <c:v>639.38234749970252</c:v>
                </c:pt>
                <c:pt idx="677">
                  <c:v>643.62360948252751</c:v>
                </c:pt>
                <c:pt idx="678">
                  <c:v>631.25056168909407</c:v>
                </c:pt>
                <c:pt idx="679">
                  <c:v>660.32153586101674</c:v>
                </c:pt>
                <c:pt idx="680">
                  <c:v>642.87386193673615</c:v>
                </c:pt>
                <c:pt idx="681">
                  <c:v>659.46217633788228</c:v>
                </c:pt>
                <c:pt idx="682">
                  <c:v>664.78260188824743</c:v>
                </c:pt>
                <c:pt idx="683">
                  <c:v>636.79362423364853</c:v>
                </c:pt>
                <c:pt idx="684">
                  <c:v>697.83425344730927</c:v>
                </c:pt>
                <c:pt idx="685">
                  <c:v>633.9185207340031</c:v>
                </c:pt>
                <c:pt idx="686">
                  <c:v>649.56197137716708</c:v>
                </c:pt>
                <c:pt idx="687">
                  <c:v>646.17537546842823</c:v>
                </c:pt>
                <c:pt idx="688">
                  <c:v>639.80171917145992</c:v>
                </c:pt>
                <c:pt idx="689">
                  <c:v>644.76660597211662</c:v>
                </c:pt>
                <c:pt idx="690">
                  <c:v>642.74171767962059</c:v>
                </c:pt>
                <c:pt idx="691">
                  <c:v>630.40804200047296</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678.92415934889027</c:v>
                </c:pt>
                <c:pt idx="702">
                  <c:v>685.44461053521695</c:v>
                </c:pt>
                <c:pt idx="703">
                  <c:v>632.87204071018755</c:v>
                </c:pt>
                <c:pt idx="704">
                  <c:v>630.36064908934804</c:v>
                </c:pt>
                <c:pt idx="705">
                  <c:v>632.53681181989737</c:v>
                </c:pt>
                <c:pt idx="706">
                  <c:v>656.9535815132291</c:v>
                </c:pt>
                <c:pt idx="707">
                  <c:v>632.75963376253651</c:v>
                </c:pt>
                <c:pt idx="708">
                  <c:v>674.33414222274143</c:v>
                </c:pt>
                <c:pt idx="709">
                  <c:v>658.54245025634214</c:v>
                </c:pt>
                <c:pt idx="710">
                  <c:v>633.52211723669348</c:v>
                </c:pt>
                <c:pt idx="711">
                  <c:v>629.41094012343524</c:v>
                </c:pt>
                <c:pt idx="712">
                  <c:v>674.70396199879735</c:v>
                </c:pt>
                <c:pt idx="713">
                  <c:v>637.83806397165404</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714.99700373816177</c:v>
                </c:pt>
                <c:pt idx="725">
                  <c:v>1407.1171469188741</c:v>
                </c:pt>
                <c:pt idx="726">
                  <c:v>789.81962907060586</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637.11554618622438</c:v>
                </c:pt>
                <c:pt idx="741">
                  <c:v>644.09618135351695</c:v>
                </c:pt>
                <c:pt idx="742">
                  <c:v>664.55859232434705</c:v>
                </c:pt>
                <c:pt idx="743">
                  <c:v>638.78623097214984</c:v>
                </c:pt>
                <c:pt idx="744">
                  <c:v>637.91635051527282</c:v>
                </c:pt>
                <c:pt idx="745">
                  <c:v>629.07726686565707</c:v>
                </c:pt>
                <c:pt idx="746">
                  <c:v>627.60017331832705</c:v>
                </c:pt>
                <c:pt idx="747">
                  <c:v>633.52661390066532</c:v>
                </c:pt>
                <c:pt idx="748">
                  <c:v>637.30498583286135</c:v>
                </c:pt>
                <c:pt idx="749">
                  <c:v>640.8326027475299</c:v>
                </c:pt>
                <c:pt idx="750">
                  <c:v>634.75507736959719</c:v>
                </c:pt>
                <c:pt idx="751">
                  <c:v>644.90692215740944</c:v>
                </c:pt>
                <c:pt idx="752">
                  <c:v>626.56294852875567</c:v>
                </c:pt>
                <c:pt idx="753">
                  <c:v>649.59976845573681</c:v>
                </c:pt>
                <c:pt idx="754">
                  <c:v>641.92660180983216</c:v>
                </c:pt>
                <c:pt idx="755">
                  <c:v>632.40378758685881</c:v>
                </c:pt>
                <c:pt idx="756">
                  <c:v>633.15806171959935</c:v>
                </c:pt>
                <c:pt idx="757">
                  <c:v>633.23916301913505</c:v>
                </c:pt>
                <c:pt idx="758">
                  <c:v>642.76752739835626</c:v>
                </c:pt>
                <c:pt idx="759">
                  <c:v>641.35203080732265</c:v>
                </c:pt>
                <c:pt idx="760">
                  <c:v>637.0670833037542</c:v>
                </c:pt>
                <c:pt idx="761">
                  <c:v>649.20079124058782</c:v>
                </c:pt>
                <c:pt idx="762">
                  <c:v>650.89478215273903</c:v>
                </c:pt>
                <c:pt idx="763">
                  <c:v>637.55085108761727</c:v>
                </c:pt>
                <c:pt idx="764">
                  <c:v>636.0472283113811</c:v>
                </c:pt>
                <c:pt idx="765">
                  <c:v>661.91899521242351</c:v>
                </c:pt>
                <c:pt idx="766">
                  <c:v>640.05334315086589</c:v>
                </c:pt>
                <c:pt idx="767">
                  <c:v>648.57836981689127</c:v>
                </c:pt>
                <c:pt idx="768">
                  <c:v>633.46189341775266</c:v>
                </c:pt>
                <c:pt idx="769">
                  <c:v>639.9572665444249</c:v>
                </c:pt>
                <c:pt idx="770">
                  <c:v>652.32243761158145</c:v>
                </c:pt>
                <c:pt idx="771">
                  <c:v>640.71228158006807</c:v>
                </c:pt>
                <c:pt idx="772">
                  <c:v>633.96653945446849</c:v>
                </c:pt>
                <c:pt idx="773">
                  <c:v>631.51910317311638</c:v>
                </c:pt>
                <c:pt idx="774">
                  <c:v>630.22492326091901</c:v>
                </c:pt>
                <c:pt idx="775">
                  <c:v>631.64135588637896</c:v>
                </c:pt>
                <c:pt idx="776">
                  <c:v>626.24771362622153</c:v>
                </c:pt>
                <c:pt idx="777">
                  <c:v>629.94602275710508</c:v>
                </c:pt>
                <c:pt idx="778">
                  <c:v>626.6170917158621</c:v>
                </c:pt>
                <c:pt idx="779">
                  <c:v>619.93647953954508</c:v>
                </c:pt>
                <c:pt idx="780">
                  <c:v>623.91210442550664</c:v>
                </c:pt>
                <c:pt idx="781">
                  <c:v>629.22599380603822</c:v>
                </c:pt>
                <c:pt idx="782">
                  <c:v>628.58207907890255</c:v>
                </c:pt>
                <c:pt idx="783">
                  <c:v>627.52909012794726</c:v>
                </c:pt>
                <c:pt idx="784">
                  <c:v>641.83396379368219</c:v>
                </c:pt>
                <c:pt idx="785">
                  <c:v>647.50361843161897</c:v>
                </c:pt>
                <c:pt idx="786">
                  <c:v>639.28406887679864</c:v>
                </c:pt>
                <c:pt idx="787">
                  <c:v>640.04710414509532</c:v>
                </c:pt>
                <c:pt idx="788">
                  <c:v>706.82497069657563</c:v>
                </c:pt>
                <c:pt idx="789">
                  <c:v>798.30276925732244</c:v>
                </c:pt>
                <c:pt idx="790">
                  <c:v>640.50894701974141</c:v>
                </c:pt>
                <c:pt idx="791">
                  <c:v>632.76387503777153</c:v>
                </c:pt>
                <c:pt idx="792">
                  <c:v>637.87225450862275</c:v>
                </c:pt>
                <c:pt idx="793">
                  <c:v>640.93878889844882</c:v>
                </c:pt>
                <c:pt idx="794">
                  <c:v>634.46495761747678</c:v>
                </c:pt>
                <c:pt idx="795">
                  <c:v>634.33201904400096</c:v>
                </c:pt>
                <c:pt idx="796">
                  <c:v>640.42715706307672</c:v>
                </c:pt>
                <c:pt idx="797">
                  <c:v>641.2392574711414</c:v>
                </c:pt>
                <c:pt idx="798">
                  <c:v>638.17704961752395</c:v>
                </c:pt>
                <c:pt idx="799">
                  <c:v>639.19858405013201</c:v>
                </c:pt>
                <c:pt idx="800">
                  <c:v>650.61243704255287</c:v>
                </c:pt>
                <c:pt idx="801">
                  <c:v>634.35072150399651</c:v>
                </c:pt>
                <c:pt idx="802">
                  <c:v>655.1571853611614</c:v>
                </c:pt>
                <c:pt idx="803">
                  <c:v>663.34935973990048</c:v>
                </c:pt>
                <c:pt idx="804">
                  <c:v>647.38288500374404</c:v>
                </c:pt>
                <c:pt idx="805">
                  <c:v>668.11962963015776</c:v>
                </c:pt>
                <c:pt idx="806">
                  <c:v>662.26512743975945</c:v>
                </c:pt>
                <c:pt idx="807">
                  <c:v>638.9766776243066</c:v>
                </c:pt>
                <c:pt idx="808">
                  <c:v>647.68675407770081</c:v>
                </c:pt>
                <c:pt idx="809">
                  <c:v>653.82020576024161</c:v>
                </c:pt>
                <c:pt idx="810">
                  <c:v>663.94747595966953</c:v>
                </c:pt>
                <c:pt idx="811">
                  <c:v>651.85924305144761</c:v>
                </c:pt>
                <c:pt idx="812">
                  <c:v>660.68811362821975</c:v>
                </c:pt>
                <c:pt idx="813">
                  <c:v>667.47444106969897</c:v>
                </c:pt>
                <c:pt idx="814">
                  <c:v>662.21799281269364</c:v>
                </c:pt>
                <c:pt idx="815">
                  <c:v>660.91035336689538</c:v>
                </c:pt>
                <c:pt idx="816">
                  <c:v>657.03389587002323</c:v>
                </c:pt>
                <c:pt idx="817">
                  <c:v>640.22966553447156</c:v>
                </c:pt>
                <c:pt idx="818">
                  <c:v>641.15820834645228</c:v>
                </c:pt>
                <c:pt idx="819">
                  <c:v>644.70313790466639</c:v>
                </c:pt>
                <c:pt idx="820">
                  <c:v>649.7899913481009</c:v>
                </c:pt>
                <c:pt idx="821">
                  <c:v>652.32347530221546</c:v>
                </c:pt>
                <c:pt idx="822">
                  <c:v>648.14359057076035</c:v>
                </c:pt>
                <c:pt idx="823">
                  <c:v>661.65742065662505</c:v>
                </c:pt>
                <c:pt idx="824">
                  <c:v>663.36219812708487</c:v>
                </c:pt>
                <c:pt idx="825">
                  <c:v>687.43641453236569</c:v>
                </c:pt>
                <c:pt idx="826">
                  <c:v>676.14639830032525</c:v>
                </c:pt>
                <c:pt idx="827">
                  <c:v>677.24067651511461</c:v>
                </c:pt>
                <c:pt idx="828">
                  <c:v>684.23107132562984</c:v>
                </c:pt>
                <c:pt idx="829">
                  <c:v>695.9036411082875</c:v>
                </c:pt>
                <c:pt idx="830">
                  <c:v>712.41839348711392</c:v>
                </c:pt>
                <c:pt idx="831">
                  <c:v>722.80544153716573</c:v>
                </c:pt>
                <c:pt idx="832">
                  <c:v>675.79624293306347</c:v>
                </c:pt>
                <c:pt idx="833">
                  <c:v>704.19406563304312</c:v>
                </c:pt>
                <c:pt idx="834">
                  <c:v>692.88494269571356</c:v>
                </c:pt>
                <c:pt idx="835">
                  <c:v>652.47017190657925</c:v>
                </c:pt>
                <c:pt idx="836">
                  <c:v>653.24066994164696</c:v>
                </c:pt>
                <c:pt idx="837">
                  <c:v>638.35951454757117</c:v>
                </c:pt>
                <c:pt idx="838">
                  <c:v>636.52970060829841</c:v>
                </c:pt>
                <c:pt idx="839">
                  <c:v>642.35186499816723</c:v>
                </c:pt>
                <c:pt idx="840">
                  <c:v>640.80903568210488</c:v>
                </c:pt>
                <c:pt idx="841">
                  <c:v>640.74202272080936</c:v>
                </c:pt>
                <c:pt idx="842">
                  <c:v>638.28861540083949</c:v>
                </c:pt>
                <c:pt idx="843">
                  <c:v>640.07843042212721</c:v>
                </c:pt>
                <c:pt idx="844">
                  <c:v>648.41900268586051</c:v>
                </c:pt>
                <c:pt idx="845">
                  <c:v>642.40758041924812</c:v>
                </c:pt>
                <c:pt idx="846">
                  <c:v>683.49594052483565</c:v>
                </c:pt>
                <c:pt idx="847">
                  <c:v>646.41601050813244</c:v>
                </c:pt>
                <c:pt idx="848">
                  <c:v>632.60267153116251</c:v>
                </c:pt>
                <c:pt idx="849">
                  <c:v>662.5597716938604</c:v>
                </c:pt>
                <c:pt idx="850">
                  <c:v>651.49905138007557</c:v>
                </c:pt>
                <c:pt idx="851">
                  <c:v>639.03388934515363</c:v>
                </c:pt>
                <c:pt idx="852">
                  <c:v>679.80039446293188</c:v>
                </c:pt>
                <c:pt idx="853">
                  <c:v>651.15126658836596</c:v>
                </c:pt>
                <c:pt idx="854">
                  <c:v>659.26962894880717</c:v>
                </c:pt>
                <c:pt idx="855">
                  <c:v>652.87264254806792</c:v>
                </c:pt>
                <c:pt idx="856">
                  <c:v>668.82570345983095</c:v>
                </c:pt>
                <c:pt idx="857">
                  <c:v>663.48324506057736</c:v>
                </c:pt>
                <c:pt idx="858">
                  <c:v>676.91870961852646</c:v>
                </c:pt>
                <c:pt idx="859">
                  <c:v>697.14815620719105</c:v>
                </c:pt>
                <c:pt idx="860">
                  <c:v>795.49700755971332</c:v>
                </c:pt>
                <c:pt idx="861">
                  <c:v>951.64677820772454</c:v>
                </c:pt>
                <c:pt idx="862">
                  <c:v>708.08826153880545</c:v>
                </c:pt>
                <c:pt idx="863">
                  <c:v>643.36972153481713</c:v>
                </c:pt>
                <c:pt idx="864">
                  <c:v>788.35302082532996</c:v>
                </c:pt>
                <c:pt idx="865">
                  <c:v>851.58014342334798</c:v>
                </c:pt>
                <c:pt idx="866">
                  <c:v>640.97322491908483</c:v>
                </c:pt>
                <c:pt idx="867">
                  <c:v>665.5867391355464</c:v>
                </c:pt>
                <c:pt idx="868">
                  <c:v>678.70892626918055</c:v>
                </c:pt>
                <c:pt idx="869">
                  <c:v>681.9943299704837</c:v>
                </c:pt>
                <c:pt idx="870">
                  <c:v>639.88680341011536</c:v>
                </c:pt>
                <c:pt idx="871">
                  <c:v>652.63492640939296</c:v>
                </c:pt>
                <c:pt idx="872">
                  <c:v>636.93163104145992</c:v>
                </c:pt>
                <c:pt idx="873">
                  <c:v>639.67264394910853</c:v>
                </c:pt>
                <c:pt idx="874">
                  <c:v>642.82365219148312</c:v>
                </c:pt>
                <c:pt idx="875">
                  <c:v>640.6522742048935</c:v>
                </c:pt>
                <c:pt idx="876">
                  <c:v>634.83117880253064</c:v>
                </c:pt>
                <c:pt idx="877">
                  <c:v>634.89808629845152</c:v>
                </c:pt>
                <c:pt idx="878">
                  <c:v>638.03421356656736</c:v>
                </c:pt>
                <c:pt idx="879">
                  <c:v>644.36455388421291</c:v>
                </c:pt>
                <c:pt idx="880">
                  <c:v>640.35742867554461</c:v>
                </c:pt>
                <c:pt idx="881">
                  <c:v>647.94318184973167</c:v>
                </c:pt>
                <c:pt idx="882">
                  <c:v>654.62650857940969</c:v>
                </c:pt>
                <c:pt idx="883">
                  <c:v>642.37465353393475</c:v>
                </c:pt>
                <c:pt idx="884">
                  <c:v>657.0305237188029</c:v>
                </c:pt>
                <c:pt idx="885">
                  <c:v>658.15562353221071</c:v>
                </c:pt>
                <c:pt idx="886">
                  <c:v>680.59943883835444</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637.22519873190174</c:v>
                </c:pt>
                <c:pt idx="896">
                  <c:v>637.12534468456147</c:v>
                </c:pt>
                <c:pt idx="897">
                  <c:v>638.60042120820833</c:v>
                </c:pt>
                <c:pt idx="898">
                  <c:v>641.04513380119181</c:v>
                </c:pt>
                <c:pt idx="899">
                  <c:v>642.24709945326902</c:v>
                </c:pt>
                <c:pt idx="900">
                  <c:v>655.32163037108512</c:v>
                </c:pt>
                <c:pt idx="901">
                  <c:v>665.94152868946026</c:v>
                </c:pt>
                <c:pt idx="902">
                  <c:v>660.98226762149625</c:v>
                </c:pt>
                <c:pt idx="903">
                  <c:v>647.35909855173145</c:v>
                </c:pt>
                <c:pt idx="904">
                  <c:v>646.70127137956831</c:v>
                </c:pt>
                <c:pt idx="905">
                  <c:v>656.28081566491073</c:v>
                </c:pt>
                <c:pt idx="906">
                  <c:v>651.0110639060706</c:v>
                </c:pt>
                <c:pt idx="907">
                  <c:v>653.66965168848128</c:v>
                </c:pt>
                <c:pt idx="908">
                  <c:v>650.37917418411359</c:v>
                </c:pt>
                <c:pt idx="909">
                  <c:v>719.16232284233308</c:v>
                </c:pt>
                <c:pt idx="910">
                  <c:v>639.75639250783922</c:v>
                </c:pt>
                <c:pt idx="911">
                  <c:v>642.43208487476124</c:v>
                </c:pt>
                <c:pt idx="912">
                  <c:v>640.04971043356852</c:v>
                </c:pt>
                <c:pt idx="913">
                  <c:v>637.31246919792954</c:v>
                </c:pt>
                <c:pt idx="914">
                  <c:v>645.26175639572477</c:v>
                </c:pt>
                <c:pt idx="915">
                  <c:v>640.45529753422477</c:v>
                </c:pt>
                <c:pt idx="916">
                  <c:v>644.73429660558827</c:v>
                </c:pt>
                <c:pt idx="917">
                  <c:v>642.25514651862477</c:v>
                </c:pt>
                <c:pt idx="918">
                  <c:v>651.79032553374736</c:v>
                </c:pt>
                <c:pt idx="919">
                  <c:v>678.78008320479785</c:v>
                </c:pt>
                <c:pt idx="920">
                  <c:v>663.90585030285922</c:v>
                </c:pt>
                <c:pt idx="921">
                  <c:v>643.36456665758476</c:v>
                </c:pt>
                <c:pt idx="922">
                  <c:v>695.35907229696579</c:v>
                </c:pt>
                <c:pt idx="923">
                  <c:v>698.3625570274437</c:v>
                </c:pt>
                <c:pt idx="924">
                  <c:v>678.56382582421872</c:v>
                </c:pt>
                <c:pt idx="925">
                  <c:v>702.66924966047941</c:v>
                </c:pt>
                <c:pt idx="926">
                  <c:v>652.36731584020026</c:v>
                </c:pt>
                <c:pt idx="927">
                  <c:v>641.68018739643071</c:v>
                </c:pt>
                <c:pt idx="928">
                  <c:v>638.84589243161076</c:v>
                </c:pt>
                <c:pt idx="929">
                  <c:v>632.11398207066156</c:v>
                </c:pt>
                <c:pt idx="930">
                  <c:v>640.45310047236148</c:v>
                </c:pt>
                <c:pt idx="931">
                  <c:v>661.48350007779288</c:v>
                </c:pt>
                <c:pt idx="932">
                  <c:v>648.11560679095157</c:v>
                </c:pt>
                <c:pt idx="933">
                  <c:v>641.78315821148578</c:v>
                </c:pt>
                <c:pt idx="934">
                  <c:v>646.53153241290784</c:v>
                </c:pt>
                <c:pt idx="935">
                  <c:v>652.02139280217591</c:v>
                </c:pt>
                <c:pt idx="936">
                  <c:v>650.89500908779848</c:v>
                </c:pt>
                <c:pt idx="937">
                  <c:v>664.86723480366152</c:v>
                </c:pt>
                <c:pt idx="938">
                  <c:v>670.05543733343393</c:v>
                </c:pt>
                <c:pt idx="939">
                  <c:v>636.07115418132184</c:v>
                </c:pt>
                <c:pt idx="940">
                  <c:v>632.77951948850568</c:v>
                </c:pt>
                <c:pt idx="941">
                  <c:v>635.50167139003804</c:v>
                </c:pt>
                <c:pt idx="942">
                  <c:v>631.26145519695979</c:v>
                </c:pt>
                <c:pt idx="943">
                  <c:v>631.7791670315936</c:v>
                </c:pt>
                <c:pt idx="944">
                  <c:v>627.16437559162887</c:v>
                </c:pt>
                <c:pt idx="945">
                  <c:v>639.28300112124475</c:v>
                </c:pt>
                <c:pt idx="946">
                  <c:v>639.411390419329</c:v>
                </c:pt>
                <c:pt idx="947">
                  <c:v>643.76065134299847</c:v>
                </c:pt>
                <c:pt idx="948">
                  <c:v>642.82228169633538</c:v>
                </c:pt>
                <c:pt idx="949">
                  <c:v>645.21790228992063</c:v>
                </c:pt>
                <c:pt idx="950">
                  <c:v>644.43110811830388</c:v>
                </c:pt>
                <c:pt idx="951">
                  <c:v>644.27767703067127</c:v>
                </c:pt>
                <c:pt idx="952">
                  <c:v>632.7277084323199</c:v>
                </c:pt>
                <c:pt idx="953">
                  <c:v>635.91419616584528</c:v>
                </c:pt>
                <c:pt idx="954">
                  <c:v>672.13178841234196</c:v>
                </c:pt>
                <c:pt idx="955">
                  <c:v>758.22658197364501</c:v>
                </c:pt>
                <c:pt idx="956">
                  <c:v>1454.0736226250167</c:v>
                </c:pt>
                <c:pt idx="957">
                  <c:v>889.72837817315337</c:v>
                </c:pt>
                <c:pt idx="958">
                  <c:v>674.70191527997417</c:v>
                </c:pt>
                <c:pt idx="959">
                  <c:v>636.27910896417097</c:v>
                </c:pt>
                <c:pt idx="960">
                  <c:v>636.41341779492257</c:v>
                </c:pt>
                <c:pt idx="961">
                  <c:v>633.36289921993659</c:v>
                </c:pt>
                <c:pt idx="962">
                  <c:v>625.89107596732276</c:v>
                </c:pt>
                <c:pt idx="963">
                  <c:v>641.25692373919139</c:v>
                </c:pt>
                <c:pt idx="964">
                  <c:v>639.95024167141185</c:v>
                </c:pt>
                <c:pt idx="965">
                  <c:v>636.32953078459877</c:v>
                </c:pt>
                <c:pt idx="966">
                  <c:v>631.01460016363933</c:v>
                </c:pt>
                <c:pt idx="967">
                  <c:v>629.49461577876741</c:v>
                </c:pt>
                <c:pt idx="968">
                  <c:v>635.26935196296779</c:v>
                </c:pt>
                <c:pt idx="969">
                  <c:v>637.21655145030127</c:v>
                </c:pt>
                <c:pt idx="970">
                  <c:v>633.14296142197509</c:v>
                </c:pt>
                <c:pt idx="971">
                  <c:v>638.76648427285159</c:v>
                </c:pt>
                <c:pt idx="972">
                  <c:v>629.05407344253706</c:v>
                </c:pt>
                <c:pt idx="973">
                  <c:v>630.97626094021996</c:v>
                </c:pt>
                <c:pt idx="974">
                  <c:v>647.3271188194351</c:v>
                </c:pt>
                <c:pt idx="975">
                  <c:v>634.83612288991628</c:v>
                </c:pt>
                <c:pt idx="976">
                  <c:v>637.79944897057953</c:v>
                </c:pt>
                <c:pt idx="977">
                  <c:v>631.93409598238964</c:v>
                </c:pt>
                <c:pt idx="978">
                  <c:v>642.41295388497815</c:v>
                </c:pt>
                <c:pt idx="979">
                  <c:v>636.02075840615817</c:v>
                </c:pt>
                <c:pt idx="980">
                  <c:v>644.01305721411279</c:v>
                </c:pt>
                <c:pt idx="981">
                  <c:v>641.880615008375</c:v>
                </c:pt>
                <c:pt idx="982">
                  <c:v>639.47130252865986</c:v>
                </c:pt>
                <c:pt idx="983">
                  <c:v>641.00852045470936</c:v>
                </c:pt>
                <c:pt idx="984">
                  <c:v>655.20047133130151</c:v>
                </c:pt>
                <c:pt idx="985">
                  <c:v>663.15614797102353</c:v>
                </c:pt>
                <c:pt idx="986">
                  <c:v>667.87746875407322</c:v>
                </c:pt>
                <c:pt idx="987">
                  <c:v>655.99081177603477</c:v>
                </c:pt>
                <c:pt idx="988">
                  <c:v>637.75733797921896</c:v>
                </c:pt>
                <c:pt idx="989">
                  <c:v>643.96184864006671</c:v>
                </c:pt>
                <c:pt idx="990">
                  <c:v>647.03479652250678</c:v>
                </c:pt>
                <c:pt idx="991">
                  <c:v>644.00645411028609</c:v>
                </c:pt>
                <c:pt idx="992">
                  <c:v>636.77079172609467</c:v>
                </c:pt>
                <c:pt idx="993">
                  <c:v>634.80247051030881</c:v>
                </c:pt>
                <c:pt idx="994">
                  <c:v>647.88655946211429</c:v>
                </c:pt>
                <c:pt idx="995">
                  <c:v>640.31348198522369</c:v>
                </c:pt>
                <c:pt idx="996">
                  <c:v>644.10424030310116</c:v>
                </c:pt>
                <c:pt idx="997">
                  <c:v>694.84254632249326</c:v>
                </c:pt>
                <c:pt idx="998">
                  <c:v>691.58015925529764</c:v>
                </c:pt>
                <c:pt idx="999">
                  <c:v>682.86194987715339</c:v>
                </c:pt>
                <c:pt idx="1000">
                  <c:v>667.59707476195376</c:v>
                </c:pt>
                <c:pt idx="1001">
                  <c:v>678.54273645119838</c:v>
                </c:pt>
                <c:pt idx="1002">
                  <c:v>638.71213441398299</c:v>
                </c:pt>
                <c:pt idx="1003">
                  <c:v>636.0138841104332</c:v>
                </c:pt>
                <c:pt idx="1004">
                  <c:v>647.91794428049116</c:v>
                </c:pt>
                <c:pt idx="1005">
                  <c:v>642.39027165145546</c:v>
                </c:pt>
                <c:pt idx="1006">
                  <c:v>651.84437649713209</c:v>
                </c:pt>
                <c:pt idx="1007">
                  <c:v>640.44743314812376</c:v>
                </c:pt>
                <c:pt idx="1008">
                  <c:v>668.04865728307834</c:v>
                </c:pt>
                <c:pt idx="1009">
                  <c:v>636.8652788042881</c:v>
                </c:pt>
                <c:pt idx="1010">
                  <c:v>644.40655743699654</c:v>
                </c:pt>
                <c:pt idx="1011">
                  <c:v>657.47475021613968</c:v>
                </c:pt>
                <c:pt idx="1012">
                  <c:v>656.44763220849688</c:v>
                </c:pt>
                <c:pt idx="1013">
                  <c:v>645.10352152397081</c:v>
                </c:pt>
                <c:pt idx="1014">
                  <c:v>626.82865861378059</c:v>
                </c:pt>
                <c:pt idx="1015">
                  <c:v>647.84182696477797</c:v>
                </c:pt>
                <c:pt idx="1016">
                  <c:v>648.52020800986986</c:v>
                </c:pt>
                <c:pt idx="1017">
                  <c:v>648.70420875745151</c:v>
                </c:pt>
                <c:pt idx="1018">
                  <c:v>643.38361262689125</c:v>
                </c:pt>
                <c:pt idx="1019">
                  <c:v>633.30150752285351</c:v>
                </c:pt>
                <c:pt idx="1020">
                  <c:v>642.58293685266949</c:v>
                </c:pt>
                <c:pt idx="1021">
                  <c:v>644.09739288430615</c:v>
                </c:pt>
                <c:pt idx="1022">
                  <c:v>644.59674429008714</c:v>
                </c:pt>
                <c:pt idx="1023">
                  <c:v>643.04183869424617</c:v>
                </c:pt>
                <c:pt idx="1024">
                  <c:v>645.04303581604449</c:v>
                </c:pt>
                <c:pt idx="1025">
                  <c:v>641.85380388750855</c:v>
                </c:pt>
                <c:pt idx="1026">
                  <c:v>674.44798352870021</c:v>
                </c:pt>
                <c:pt idx="1027">
                  <c:v>677.47558414284788</c:v>
                </c:pt>
                <c:pt idx="1028">
                  <c:v>698.17011905039385</c:v>
                </c:pt>
                <c:pt idx="1029">
                  <c:v>693.31215009968219</c:v>
                </c:pt>
                <c:pt idx="1030">
                  <c:v>1018.9601150752204</c:v>
                </c:pt>
                <c:pt idx="1031">
                  <c:v>1011.5602850940481</c:v>
                </c:pt>
                <c:pt idx="1032">
                  <c:v>669.58507009079528</c:v>
                </c:pt>
                <c:pt idx="1033">
                  <c:v>646.43086110109061</c:v>
                </c:pt>
                <c:pt idx="1034">
                  <c:v>649.87043605425868</c:v>
                </c:pt>
                <c:pt idx="1035">
                  <c:v>649.03088160069274</c:v>
                </c:pt>
                <c:pt idx="1036">
                  <c:v>694.3941651575085</c:v>
                </c:pt>
                <c:pt idx="1037">
                  <c:v>633.81059907151052</c:v>
                </c:pt>
                <c:pt idx="1038">
                  <c:v>636.81954527714345</c:v>
                </c:pt>
                <c:pt idx="1039">
                  <c:v>641.41769308920266</c:v>
                </c:pt>
                <c:pt idx="1040">
                  <c:v>668.66938349640452</c:v>
                </c:pt>
                <c:pt idx="1041">
                  <c:v>685.91160666995381</c:v>
                </c:pt>
                <c:pt idx="1042">
                  <c:v>691.03908301118247</c:v>
                </c:pt>
                <c:pt idx="1043">
                  <c:v>779.64314854968404</c:v>
                </c:pt>
                <c:pt idx="1044">
                  <c:v>662.92896948876103</c:v>
                </c:pt>
                <c:pt idx="1045">
                  <c:v>644.14624654018542</c:v>
                </c:pt>
                <c:pt idx="1046">
                  <c:v>642.64831787042635</c:v>
                </c:pt>
                <c:pt idx="1047">
                  <c:v>634.41456342543233</c:v>
                </c:pt>
                <c:pt idx="1048">
                  <c:v>646.80287825605842</c:v>
                </c:pt>
                <c:pt idx="1049">
                  <c:v>642.22410036033716</c:v>
                </c:pt>
                <c:pt idx="1050">
                  <c:v>648.92196835710445</c:v>
                </c:pt>
                <c:pt idx="1051">
                  <c:v>637.38012267330691</c:v>
                </c:pt>
                <c:pt idx="1052">
                  <c:v>641.2621533983729</c:v>
                </c:pt>
                <c:pt idx="1053">
                  <c:v>648.67907423890017</c:v>
                </c:pt>
                <c:pt idx="1054">
                  <c:v>673.20329974267099</c:v>
                </c:pt>
                <c:pt idx="1055">
                  <c:v>660.44990695948809</c:v>
                </c:pt>
                <c:pt idx="1056">
                  <c:v>656.78988482867419</c:v>
                </c:pt>
                <c:pt idx="1057">
                  <c:v>632.66882177530306</c:v>
                </c:pt>
                <c:pt idx="1058">
                  <c:v>649.7409572585326</c:v>
                </c:pt>
                <c:pt idx="1059">
                  <c:v>642.37287202616653</c:v>
                </c:pt>
                <c:pt idx="1060">
                  <c:v>636.10663139576786</c:v>
                </c:pt>
                <c:pt idx="1061">
                  <c:v>647.48438486533598</c:v>
                </c:pt>
                <c:pt idx="1062">
                  <c:v>641.34466695522076</c:v>
                </c:pt>
                <c:pt idx="1063">
                  <c:v>653.62825378103764</c:v>
                </c:pt>
                <c:pt idx="1064">
                  <c:v>655.33575145362568</c:v>
                </c:pt>
                <c:pt idx="1065">
                  <c:v>663.15085379948675</c:v>
                </c:pt>
                <c:pt idx="1066">
                  <c:v>664.98455091003166</c:v>
                </c:pt>
                <c:pt idx="1067">
                  <c:v>652.57403234571666</c:v>
                </c:pt>
                <c:pt idx="1068">
                  <c:v>656.42320501857125</c:v>
                </c:pt>
                <c:pt idx="1069">
                  <c:v>663.57392291080146</c:v>
                </c:pt>
                <c:pt idx="1070">
                  <c:v>656.922563499837</c:v>
                </c:pt>
                <c:pt idx="1071">
                  <c:v>689.27591607449995</c:v>
                </c:pt>
                <c:pt idx="1072">
                  <c:v>663.50631762317096</c:v>
                </c:pt>
                <c:pt idx="1073">
                  <c:v>658.84536586365653</c:v>
                </c:pt>
                <c:pt idx="1074">
                  <c:v>667.61806180267445</c:v>
                </c:pt>
                <c:pt idx="1075">
                  <c:v>694.02427098175644</c:v>
                </c:pt>
                <c:pt idx="1076">
                  <c:v>719.35876036781292</c:v>
                </c:pt>
                <c:pt idx="1077">
                  <c:v>657.19471070050895</c:v>
                </c:pt>
                <c:pt idx="1078">
                  <c:v>670.09342816919661</c:v>
                </c:pt>
                <c:pt idx="1079">
                  <c:v>656.84540765193776</c:v>
                </c:pt>
                <c:pt idx="1080">
                  <c:v>659.48940410653961</c:v>
                </c:pt>
                <c:pt idx="1081">
                  <c:v>677.94166162782096</c:v>
                </c:pt>
                <c:pt idx="1082">
                  <c:v>666.45634056298911</c:v>
                </c:pt>
                <c:pt idx="1083">
                  <c:v>679.08337488340624</c:v>
                </c:pt>
                <c:pt idx="1084">
                  <c:v>827.98925515957944</c:v>
                </c:pt>
                <c:pt idx="1085">
                  <c:v>848.64551039944899</c:v>
                </c:pt>
                <c:pt idx="1086">
                  <c:v>698.68086161677968</c:v>
                </c:pt>
                <c:pt idx="1087">
                  <c:v>689.05619526824512</c:v>
                </c:pt>
                <c:pt idx="1088">
                  <c:v>649.45827062112278</c:v>
                </c:pt>
                <c:pt idx="1089">
                  <c:v>642.15123513211654</c:v>
                </c:pt>
                <c:pt idx="1090">
                  <c:v>636.09389954307244</c:v>
                </c:pt>
                <c:pt idx="1091">
                  <c:v>639.2928477348471</c:v>
                </c:pt>
                <c:pt idx="1092">
                  <c:v>648.7811806387723</c:v>
                </c:pt>
                <c:pt idx="1093">
                  <c:v>643.44016812212578</c:v>
                </c:pt>
                <c:pt idx="1094">
                  <c:v>644.74772973755262</c:v>
                </c:pt>
                <c:pt idx="1095">
                  <c:v>647.97020945054248</c:v>
                </c:pt>
              </c:numCache>
            </c:numRef>
          </c:yVal>
          <c:smooth val="0"/>
          <c:extLst>
            <c:ext xmlns:c16="http://schemas.microsoft.com/office/drawing/2014/chart" uri="{C3380CC4-5D6E-409C-BE32-E72D297353CC}">
              <c16:uniqueId val="{00000000-EE59-44B4-979A-84DAA2D9280E}"/>
            </c:ext>
          </c:extLst>
        </c:ser>
        <c:dLbls>
          <c:showLegendKey val="0"/>
          <c:showVal val="0"/>
          <c:showCatName val="0"/>
          <c:showSerName val="0"/>
          <c:showPercent val="0"/>
          <c:showBubbleSize val="0"/>
        </c:dLbls>
        <c:axId val="1326892255"/>
        <c:axId val="1326886431"/>
      </c:scatterChart>
      <c:valAx>
        <c:axId val="1326892255"/>
        <c:scaling>
          <c:orientation val="minMax"/>
          <c:max val="1530"/>
          <c:min val="148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86431"/>
        <c:crosses val="autoZero"/>
        <c:crossBetween val="midCat"/>
        <c:majorUnit val="10"/>
      </c:valAx>
      <c:valAx>
        <c:axId val="1326886431"/>
        <c:scaling>
          <c:orientation val="minMax"/>
          <c:max val="700"/>
          <c:min val="61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92255"/>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dirty="0" smtClean="0">
                <a:effectLst/>
              </a:rPr>
              <a:t> </a:t>
            </a:r>
            <a:r>
              <a:rPr lang="en-US" sz="1400" b="0" i="0" u="none" strike="noStrike" kern="1200" spc="0" baseline="0" dirty="0" smtClean="0">
                <a:solidFill>
                  <a:prstClr val="black">
                    <a:lumMod val="65000"/>
                    <a:lumOff val="35000"/>
                  </a:prstClr>
                </a:solidFill>
                <a:effectLst/>
                <a:latin typeface="+mn-lt"/>
                <a:ea typeface="+mn-ea"/>
                <a:cs typeface="+mn-cs"/>
              </a:rPr>
              <a:t>N</a:t>
            </a:r>
            <a:r>
              <a:rPr lang="en-US" sz="1400" b="0" i="0" u="none" strike="noStrike" kern="1200" spc="0" baseline="-25000" dirty="0" smtClean="0">
                <a:solidFill>
                  <a:prstClr val="black">
                    <a:lumMod val="65000"/>
                    <a:lumOff val="35000"/>
                  </a:prstClr>
                </a:solidFill>
                <a:latin typeface="+mn-lt"/>
                <a:ea typeface="+mn-ea"/>
                <a:cs typeface="+mn-cs"/>
              </a:rPr>
              <a:t>2</a:t>
            </a:r>
            <a:r>
              <a:rPr lang="en-US" sz="1400" b="0" i="0" u="none" strike="noStrike" kern="1200" spc="0" baseline="0" dirty="0" smtClean="0">
                <a:solidFill>
                  <a:prstClr val="black">
                    <a:lumMod val="65000"/>
                    <a:lumOff val="35000"/>
                  </a:prstClr>
                </a:solidFill>
                <a:latin typeface="+mn-lt"/>
                <a:ea typeface="+mn-ea"/>
                <a:cs typeface="+mn-cs"/>
              </a:rPr>
              <a:t> (Nm3) vs Hot Metal Production (tons/day) </a:t>
            </a:r>
            <a:endParaRPr lang="en-US" sz="1400" b="0" i="0" u="none" strike="noStrike" kern="1200" spc="0" baseline="0" dirty="0">
              <a:solidFill>
                <a:prstClr val="black">
                  <a:lumMod val="65000"/>
                  <a:lumOff val="35000"/>
                </a:prstClr>
              </a:solidFill>
              <a:latin typeface="+mn-lt"/>
              <a:ea typeface="+mn-ea"/>
              <a:cs typeface="+mn-cs"/>
            </a:endParaRPr>
          </a:p>
        </c:rich>
      </c:tx>
      <c:layout>
        <c:manualLayout>
          <c:xMode val="edge"/>
          <c:yMode val="edge"/>
          <c:x val="0.21079372599424184"/>
          <c:y val="4.914777468454239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W$1:$AW$2</c:f>
              <c:strCache>
                <c:ptCount val="2"/>
                <c:pt idx="0">
                  <c:v>N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B$3:$B$1131</c:f>
              <c:numCache>
                <c:formatCode>0</c:formatCode>
                <c:ptCount val="1129"/>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Final Graph 2.xlsx]Parameters ranges for ANN step1'!$AW$3:$AW$1131</c:f>
              <c:numCache>
                <c:formatCode>0.0000</c:formatCode>
                <c:ptCount val="1129"/>
                <c:pt idx="0">
                  <c:v>651.13081002894523</c:v>
                </c:pt>
                <c:pt idx="1">
                  <c:v>650.94665425079825</c:v>
                </c:pt>
                <c:pt idx="2">
                  <c:v>619.00755324179613</c:v>
                </c:pt>
                <c:pt idx="3">
                  <c:v>623.45703516178628</c:v>
                </c:pt>
                <c:pt idx="4">
                  <c:v>634.95266671420575</c:v>
                </c:pt>
                <c:pt idx="5">
                  <c:v>642.51898371690368</c:v>
                </c:pt>
                <c:pt idx="6">
                  <c:v>667.75034092122257</c:v>
                </c:pt>
                <c:pt idx="7">
                  <c:v>639.41716543601149</c:v>
                </c:pt>
                <c:pt idx="8">
                  <c:v>667.71774707511884</c:v>
                </c:pt>
                <c:pt idx="9">
                  <c:v>641.40040562474655</c:v>
                </c:pt>
                <c:pt idx="10">
                  <c:v>632.92741920641402</c:v>
                </c:pt>
                <c:pt idx="11">
                  <c:v>631.17583705295317</c:v>
                </c:pt>
                <c:pt idx="12">
                  <c:v>636.58654242827765</c:v>
                </c:pt>
                <c:pt idx="13">
                  <c:v>675.86721121503172</c:v>
                </c:pt>
                <c:pt idx="14">
                  <c:v>642.5420726836353</c:v>
                </c:pt>
                <c:pt idx="15">
                  <c:v>626.54936169236771</c:v>
                </c:pt>
                <c:pt idx="16">
                  <c:v>628.23656864340194</c:v>
                </c:pt>
                <c:pt idx="17">
                  <c:v>663.00701006051338</c:v>
                </c:pt>
                <c:pt idx="18">
                  <c:v>684.5596839355054</c:v>
                </c:pt>
                <c:pt idx="19">
                  <c:v>628.12145240323537</c:v>
                </c:pt>
                <c:pt idx="20">
                  <c:v>633.16058553924825</c:v>
                </c:pt>
                <c:pt idx="21">
                  <c:v>637.43355707088165</c:v>
                </c:pt>
                <c:pt idx="22">
                  <c:v>639.67492114477136</c:v>
                </c:pt>
                <c:pt idx="23">
                  <c:v>641.34102846382268</c:v>
                </c:pt>
                <c:pt idx="24">
                  <c:v>634.17171904416193</c:v>
                </c:pt>
                <c:pt idx="25">
                  <c:v>649.56195895128701</c:v>
                </c:pt>
                <c:pt idx="26">
                  <c:v>677.70531549797556</c:v>
                </c:pt>
                <c:pt idx="27">
                  <c:v>644.34209185706936</c:v>
                </c:pt>
                <c:pt idx="28">
                  <c:v>643.81239555251227</c:v>
                </c:pt>
                <c:pt idx="29">
                  <c:v>644.70658195110718</c:v>
                </c:pt>
                <c:pt idx="30">
                  <c:v>650.60028131688364</c:v>
                </c:pt>
                <c:pt idx="31">
                  <c:v>636.48730295791245</c:v>
                </c:pt>
                <c:pt idx="32">
                  <c:v>667.9569700443908</c:v>
                </c:pt>
                <c:pt idx="33">
                  <c:v>662.96969748815525</c:v>
                </c:pt>
                <c:pt idx="34">
                  <c:v>662.80271686483638</c:v>
                </c:pt>
                <c:pt idx="35">
                  <c:v>703.76653209409403</c:v>
                </c:pt>
                <c:pt idx="36">
                  <c:v>658.10427022905264</c:v>
                </c:pt>
                <c:pt idx="37">
                  <c:v>675.71098600685866</c:v>
                </c:pt>
                <c:pt idx="38">
                  <c:v>652.92507640237648</c:v>
                </c:pt>
                <c:pt idx="39">
                  <c:v>651.60438730308817</c:v>
                </c:pt>
                <c:pt idx="40">
                  <c:v>648.31445665551939</c:v>
                </c:pt>
                <c:pt idx="41">
                  <c:v>666.70332799780863</c:v>
                </c:pt>
                <c:pt idx="42">
                  <c:v>705.8502328139773</c:v>
                </c:pt>
                <c:pt idx="43">
                  <c:v>736.94228141389158</c:v>
                </c:pt>
                <c:pt idx="44">
                  <c:v>740.7476782508154</c:v>
                </c:pt>
                <c:pt idx="45">
                  <c:v>1116.1156829024385</c:v>
                </c:pt>
                <c:pt idx="46">
                  <c:v>831.99123434184389</c:v>
                </c:pt>
                <c:pt idx="47">
                  <c:v>748.42276704902656</c:v>
                </c:pt>
                <c:pt idx="48">
                  <c:v>701.37358937764861</c:v>
                </c:pt>
                <c:pt idx="49">
                  <c:v>650.13080227823923</c:v>
                </c:pt>
                <c:pt idx="50">
                  <c:v>716.3549903350247</c:v>
                </c:pt>
                <c:pt idx="51">
                  <c:v>658.40591341486311</c:v>
                </c:pt>
                <c:pt idx="52">
                  <c:v>648.85518754511236</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620.46536679776989</c:v>
                </c:pt>
                <c:pt idx="65">
                  <c:v>637.95605646373485</c:v>
                </c:pt>
                <c:pt idx="66">
                  <c:v>637.66071668053814</c:v>
                </c:pt>
                <c:pt idx="67">
                  <c:v>649.35064779921106</c:v>
                </c:pt>
                <c:pt idx="68">
                  <c:v>692.63946147009949</c:v>
                </c:pt>
                <c:pt idx="69">
                  <c:v>677.14711168578037</c:v>
                </c:pt>
                <c:pt idx="70">
                  <c:v>650.10461703244482</c:v>
                </c:pt>
                <c:pt idx="71">
                  <c:v>656.66457759248544</c:v>
                </c:pt>
                <c:pt idx="72">
                  <c:v>648.66295753038651</c:v>
                </c:pt>
                <c:pt idx="73">
                  <c:v>627.05675033785133</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629.93059061979716</c:v>
                </c:pt>
                <c:pt idx="88">
                  <c:v>627.3075280395384</c:v>
                </c:pt>
                <c:pt idx="89">
                  <c:v>635.82704622214044</c:v>
                </c:pt>
                <c:pt idx="90">
                  <c:v>629.92758465377642</c:v>
                </c:pt>
                <c:pt idx="91">
                  <c:v>637.49203076118818</c:v>
                </c:pt>
                <c:pt idx="92">
                  <c:v>636.34648418759139</c:v>
                </c:pt>
                <c:pt idx="93">
                  <c:v>629.07633582760309</c:v>
                </c:pt>
                <c:pt idx="94">
                  <c:v>644.70107130548524</c:v>
                </c:pt>
                <c:pt idx="95">
                  <c:v>641.75267803002316</c:v>
                </c:pt>
                <c:pt idx="96">
                  <c:v>633.42795933485024</c:v>
                </c:pt>
                <c:pt idx="97">
                  <c:v>636.66631036630122</c:v>
                </c:pt>
                <c:pt idx="98">
                  <c:v>624.68444112921736</c:v>
                </c:pt>
                <c:pt idx="99">
                  <c:v>652.87513228630928</c:v>
                </c:pt>
                <c:pt idx="100">
                  <c:v>675.78717228660855</c:v>
                </c:pt>
                <c:pt idx="101">
                  <c:v>643.16130040117207</c:v>
                </c:pt>
                <c:pt idx="102">
                  <c:v>640.52921795157772</c:v>
                </c:pt>
                <c:pt idx="103">
                  <c:v>638.39213832309463</c:v>
                </c:pt>
                <c:pt idx="104">
                  <c:v>658.7003367630208</c:v>
                </c:pt>
                <c:pt idx="105">
                  <c:v>668.30277528808642</c:v>
                </c:pt>
                <c:pt idx="106">
                  <c:v>660.28791552081827</c:v>
                </c:pt>
                <c:pt idx="107">
                  <c:v>646.30886074291379</c:v>
                </c:pt>
                <c:pt idx="108">
                  <c:v>646.2788998304427</c:v>
                </c:pt>
                <c:pt idx="109">
                  <c:v>662.90827024602549</c:v>
                </c:pt>
                <c:pt idx="110">
                  <c:v>642.85534871225502</c:v>
                </c:pt>
                <c:pt idx="111">
                  <c:v>643.20820078990801</c:v>
                </c:pt>
                <c:pt idx="112">
                  <c:v>666.30648367488959</c:v>
                </c:pt>
                <c:pt idx="113">
                  <c:v>708.3866724545926</c:v>
                </c:pt>
                <c:pt idx="114">
                  <c:v>672.29183854321457</c:v>
                </c:pt>
                <c:pt idx="115">
                  <c:v>647.29094192330751</c:v>
                </c:pt>
                <c:pt idx="116">
                  <c:v>652.94792159515259</c:v>
                </c:pt>
                <c:pt idx="117">
                  <c:v>693.14347601606937</c:v>
                </c:pt>
                <c:pt idx="118">
                  <c:v>654.84034167087282</c:v>
                </c:pt>
                <c:pt idx="119">
                  <c:v>670.57474724265387</c:v>
                </c:pt>
                <c:pt idx="120">
                  <c:v>639.94411039056479</c:v>
                </c:pt>
                <c:pt idx="121">
                  <c:v>668.84934202688135</c:v>
                </c:pt>
                <c:pt idx="122">
                  <c:v>683.50337488138064</c:v>
                </c:pt>
                <c:pt idx="123">
                  <c:v>700.45089977347573</c:v>
                </c:pt>
                <c:pt idx="124">
                  <c:v>691.96276571151634</c:v>
                </c:pt>
                <c:pt idx="125">
                  <c:v>666.90494792100401</c:v>
                </c:pt>
                <c:pt idx="126">
                  <c:v>656.86417471732477</c:v>
                </c:pt>
                <c:pt idx="127">
                  <c:v>641.37646961964447</c:v>
                </c:pt>
                <c:pt idx="128">
                  <c:v>639.24550278583104</c:v>
                </c:pt>
                <c:pt idx="129">
                  <c:v>644.41969145752273</c:v>
                </c:pt>
                <c:pt idx="130">
                  <c:v>647.10561551275146</c:v>
                </c:pt>
                <c:pt idx="131">
                  <c:v>658.86334385986254</c:v>
                </c:pt>
                <c:pt idx="132">
                  <c:v>665.32539921347961</c:v>
                </c:pt>
                <c:pt idx="133">
                  <c:v>665.24540993277083</c:v>
                </c:pt>
                <c:pt idx="134">
                  <c:v>690.25381490129962</c:v>
                </c:pt>
                <c:pt idx="135">
                  <c:v>687.36377857127013</c:v>
                </c:pt>
                <c:pt idx="136">
                  <c:v>659.513004423182</c:v>
                </c:pt>
                <c:pt idx="137">
                  <c:v>657.44721786946297</c:v>
                </c:pt>
                <c:pt idx="138">
                  <c:v>652.73968588320633</c:v>
                </c:pt>
                <c:pt idx="139">
                  <c:v>638.44938442567548</c:v>
                </c:pt>
                <c:pt idx="140">
                  <c:v>663.34223926869572</c:v>
                </c:pt>
                <c:pt idx="141">
                  <c:v>714.55735773282527</c:v>
                </c:pt>
                <c:pt idx="142">
                  <c:v>839.95188314072084</c:v>
                </c:pt>
                <c:pt idx="143">
                  <c:v>914.22038469286224</c:v>
                </c:pt>
                <c:pt idx="144">
                  <c:v>1492.1952981574664</c:v>
                </c:pt>
                <c:pt idx="145">
                  <c:v>7417.4918551058327</c:v>
                </c:pt>
                <c:pt idx="146">
                  <c:v>0</c:v>
                </c:pt>
                <c:pt idx="147">
                  <c:v>0</c:v>
                </c:pt>
                <c:pt idx="148">
                  <c:v>0</c:v>
                </c:pt>
                <c:pt idx="149">
                  <c:v>1201.5855366373034</c:v>
                </c:pt>
                <c:pt idx="150">
                  <c:v>761.15549762124806</c:v>
                </c:pt>
                <c:pt idx="151">
                  <c:v>658.09677072497129</c:v>
                </c:pt>
                <c:pt idx="152">
                  <c:v>625.8507361357066</c:v>
                </c:pt>
                <c:pt idx="153">
                  <c:v>620.91348022745103</c:v>
                </c:pt>
                <c:pt idx="154">
                  <c:v>621.98094252129295</c:v>
                </c:pt>
                <c:pt idx="155">
                  <c:v>629.4022711565334</c:v>
                </c:pt>
                <c:pt idx="156">
                  <c:v>631.49284042079364</c:v>
                </c:pt>
                <c:pt idx="157">
                  <c:v>628.49265299838987</c:v>
                </c:pt>
                <c:pt idx="158">
                  <c:v>642.77729609791527</c:v>
                </c:pt>
                <c:pt idx="159">
                  <c:v>639.9059560974955</c:v>
                </c:pt>
                <c:pt idx="160">
                  <c:v>644.35599011780562</c:v>
                </c:pt>
                <c:pt idx="161">
                  <c:v>658.94515287543913</c:v>
                </c:pt>
                <c:pt idx="162">
                  <c:v>672.07135681636339</c:v>
                </c:pt>
                <c:pt idx="163">
                  <c:v>633.24097076886426</c:v>
                </c:pt>
                <c:pt idx="164">
                  <c:v>625.56330938819804</c:v>
                </c:pt>
                <c:pt idx="165">
                  <c:v>627.92954147107798</c:v>
                </c:pt>
                <c:pt idx="166">
                  <c:v>643.06399690782121</c:v>
                </c:pt>
                <c:pt idx="167">
                  <c:v>640.8321753601407</c:v>
                </c:pt>
                <c:pt idx="168">
                  <c:v>644.25309043116056</c:v>
                </c:pt>
                <c:pt idx="169">
                  <c:v>633.92832474883471</c:v>
                </c:pt>
                <c:pt idx="170">
                  <c:v>650.00242322002714</c:v>
                </c:pt>
                <c:pt idx="171">
                  <c:v>667.65886520028812</c:v>
                </c:pt>
                <c:pt idx="172">
                  <c:v>653.53721119848581</c:v>
                </c:pt>
                <c:pt idx="173">
                  <c:v>661.23989835287239</c:v>
                </c:pt>
                <c:pt idx="174">
                  <c:v>661.61219635426369</c:v>
                </c:pt>
                <c:pt idx="175">
                  <c:v>654.57531708376007</c:v>
                </c:pt>
                <c:pt idx="176">
                  <c:v>689.45928083178103</c:v>
                </c:pt>
                <c:pt idx="177">
                  <c:v>699.0846576339452</c:v>
                </c:pt>
                <c:pt idx="178">
                  <c:v>659.69024944766431</c:v>
                </c:pt>
                <c:pt idx="179">
                  <c:v>677.29838090057251</c:v>
                </c:pt>
                <c:pt idx="180">
                  <c:v>649.59490598985644</c:v>
                </c:pt>
                <c:pt idx="181">
                  <c:v>631.73192746151005</c:v>
                </c:pt>
                <c:pt idx="182">
                  <c:v>649.62900111500642</c:v>
                </c:pt>
                <c:pt idx="183">
                  <c:v>640.03267202294808</c:v>
                </c:pt>
                <c:pt idx="184">
                  <c:v>647.3114016238892</c:v>
                </c:pt>
                <c:pt idx="185">
                  <c:v>646.23387094578425</c:v>
                </c:pt>
                <c:pt idx="186">
                  <c:v>651.98133014390078</c:v>
                </c:pt>
                <c:pt idx="187">
                  <c:v>650.01329950993306</c:v>
                </c:pt>
                <c:pt idx="188">
                  <c:v>648.15149420223804</c:v>
                </c:pt>
                <c:pt idx="189">
                  <c:v>646.32329267922501</c:v>
                </c:pt>
                <c:pt idx="190">
                  <c:v>646.41369334717183</c:v>
                </c:pt>
                <c:pt idx="191">
                  <c:v>649.912065659326</c:v>
                </c:pt>
                <c:pt idx="192">
                  <c:v>649.34051784989833</c:v>
                </c:pt>
                <c:pt idx="193">
                  <c:v>647.04547834760217</c:v>
                </c:pt>
                <c:pt idx="194">
                  <c:v>652.68980268213738</c:v>
                </c:pt>
                <c:pt idx="195">
                  <c:v>654.82799479460937</c:v>
                </c:pt>
                <c:pt idx="196">
                  <c:v>648.30804555933719</c:v>
                </c:pt>
                <c:pt idx="197">
                  <c:v>643.54144645452629</c:v>
                </c:pt>
                <c:pt idx="198">
                  <c:v>641.1678004767117</c:v>
                </c:pt>
                <c:pt idx="199">
                  <c:v>642.12035667315888</c:v>
                </c:pt>
                <c:pt idx="200">
                  <c:v>651.69839345557091</c:v>
                </c:pt>
                <c:pt idx="201">
                  <c:v>644.71559996365704</c:v>
                </c:pt>
                <c:pt idx="202">
                  <c:v>647.0831798200237</c:v>
                </c:pt>
                <c:pt idx="203">
                  <c:v>647.68392742089782</c:v>
                </c:pt>
                <c:pt idx="204">
                  <c:v>642.79352954013916</c:v>
                </c:pt>
                <c:pt idx="205">
                  <c:v>641.43268395580208</c:v>
                </c:pt>
                <c:pt idx="206">
                  <c:v>665.75128668257162</c:v>
                </c:pt>
                <c:pt idx="207">
                  <c:v>654.67408236940116</c:v>
                </c:pt>
                <c:pt idx="208">
                  <c:v>635.28484727909927</c:v>
                </c:pt>
                <c:pt idx="209">
                  <c:v>650.70071935349154</c:v>
                </c:pt>
                <c:pt idx="210">
                  <c:v>629.9100782307155</c:v>
                </c:pt>
                <c:pt idx="211">
                  <c:v>638.79581031304269</c:v>
                </c:pt>
                <c:pt idx="212">
                  <c:v>638.67435999506301</c:v>
                </c:pt>
                <c:pt idx="213">
                  <c:v>649.666823136895</c:v>
                </c:pt>
                <c:pt idx="214">
                  <c:v>673.14758875958773</c:v>
                </c:pt>
                <c:pt idx="215">
                  <c:v>648.28063368841629</c:v>
                </c:pt>
                <c:pt idx="216">
                  <c:v>634.12647014694437</c:v>
                </c:pt>
                <c:pt idx="217">
                  <c:v>644.26213216077667</c:v>
                </c:pt>
                <c:pt idx="218">
                  <c:v>639.3600872107138</c:v>
                </c:pt>
                <c:pt idx="219">
                  <c:v>721.05147392806282</c:v>
                </c:pt>
                <c:pt idx="220">
                  <c:v>633.72598175712051</c:v>
                </c:pt>
                <c:pt idx="221">
                  <c:v>637.58730964095184</c:v>
                </c:pt>
                <c:pt idx="222">
                  <c:v>632.55658276321071</c:v>
                </c:pt>
                <c:pt idx="223">
                  <c:v>638.26227262443217</c:v>
                </c:pt>
                <c:pt idx="224">
                  <c:v>624.06656731298597</c:v>
                </c:pt>
                <c:pt idx="225">
                  <c:v>614.13102617787297</c:v>
                </c:pt>
                <c:pt idx="226">
                  <c:v>649.63899390320887</c:v>
                </c:pt>
                <c:pt idx="227">
                  <c:v>627.16200197296189</c:v>
                </c:pt>
                <c:pt idx="228">
                  <c:v>635.20122503257801</c:v>
                </c:pt>
                <c:pt idx="229">
                  <c:v>632.57638442355221</c:v>
                </c:pt>
                <c:pt idx="230">
                  <c:v>660.44888295370913</c:v>
                </c:pt>
                <c:pt idx="231">
                  <c:v>637.11391931878643</c:v>
                </c:pt>
                <c:pt idx="232">
                  <c:v>645.48315775417598</c:v>
                </c:pt>
                <c:pt idx="233">
                  <c:v>651.45099997201635</c:v>
                </c:pt>
                <c:pt idx="234">
                  <c:v>637.98007100427583</c:v>
                </c:pt>
                <c:pt idx="235">
                  <c:v>651.63839647592886</c:v>
                </c:pt>
                <c:pt idx="236">
                  <c:v>646.99751717664446</c:v>
                </c:pt>
                <c:pt idx="237">
                  <c:v>645.00870901838493</c:v>
                </c:pt>
                <c:pt idx="238">
                  <c:v>648.48052782974082</c:v>
                </c:pt>
                <c:pt idx="239">
                  <c:v>646.35868550678606</c:v>
                </c:pt>
                <c:pt idx="240">
                  <c:v>692.93407250423627</c:v>
                </c:pt>
                <c:pt idx="241">
                  <c:v>696.46690251425287</c:v>
                </c:pt>
                <c:pt idx="242">
                  <c:v>701.53389344072957</c:v>
                </c:pt>
                <c:pt idx="243">
                  <c:v>690.43754669280611</c:v>
                </c:pt>
                <c:pt idx="244">
                  <c:v>689.72297826119518</c:v>
                </c:pt>
                <c:pt idx="245">
                  <c:v>790.49840665131762</c:v>
                </c:pt>
                <c:pt idx="246">
                  <c:v>920.71158132060611</c:v>
                </c:pt>
                <c:pt idx="247">
                  <c:v>909.5537449972137</c:v>
                </c:pt>
                <c:pt idx="248">
                  <c:v>884.20459584286709</c:v>
                </c:pt>
                <c:pt idx="249">
                  <c:v>828.74746167748685</c:v>
                </c:pt>
                <c:pt idx="250">
                  <c:v>844.37993073785958</c:v>
                </c:pt>
                <c:pt idx="251">
                  <c:v>739.36482951126709</c:v>
                </c:pt>
                <c:pt idx="252">
                  <c:v>693.57160466543928</c:v>
                </c:pt>
                <c:pt idx="253">
                  <c:v>732.11705116895553</c:v>
                </c:pt>
                <c:pt idx="254">
                  <c:v>730.72952411971369</c:v>
                </c:pt>
                <c:pt idx="255">
                  <c:v>780.39448621332917</c:v>
                </c:pt>
                <c:pt idx="256">
                  <c:v>665.8519571989043</c:v>
                </c:pt>
                <c:pt idx="257">
                  <c:v>642.12522197079863</c:v>
                </c:pt>
                <c:pt idx="258">
                  <c:v>678.86300858730192</c:v>
                </c:pt>
                <c:pt idx="259">
                  <c:v>894.88218592873875</c:v>
                </c:pt>
                <c:pt idx="260">
                  <c:v>856.42360465956926</c:v>
                </c:pt>
                <c:pt idx="261">
                  <c:v>710.32958248323314</c:v>
                </c:pt>
                <c:pt idx="262">
                  <c:v>707.59229574222491</c:v>
                </c:pt>
                <c:pt idx="263">
                  <c:v>739.63351675175613</c:v>
                </c:pt>
                <c:pt idx="264">
                  <c:v>697.85169806780482</c:v>
                </c:pt>
                <c:pt idx="265">
                  <c:v>654.64563310752862</c:v>
                </c:pt>
                <c:pt idx="266">
                  <c:v>672.86130055012677</c:v>
                </c:pt>
                <c:pt idx="267">
                  <c:v>709.75949176362849</c:v>
                </c:pt>
                <c:pt idx="268">
                  <c:v>634.90396163894798</c:v>
                </c:pt>
                <c:pt idx="269">
                  <c:v>653.52921877547874</c:v>
                </c:pt>
                <c:pt idx="270">
                  <c:v>660.92107774066199</c:v>
                </c:pt>
                <c:pt idx="271">
                  <c:v>675.44722315050694</c:v>
                </c:pt>
                <c:pt idx="272">
                  <c:v>649.2542952634567</c:v>
                </c:pt>
                <c:pt idx="273">
                  <c:v>637.37805795348049</c:v>
                </c:pt>
                <c:pt idx="274">
                  <c:v>650.49958806320308</c:v>
                </c:pt>
                <c:pt idx="275">
                  <c:v>663.48346621210658</c:v>
                </c:pt>
                <c:pt idx="276">
                  <c:v>651.23209109427535</c:v>
                </c:pt>
                <c:pt idx="277">
                  <c:v>659.66671311373625</c:v>
                </c:pt>
                <c:pt idx="278">
                  <c:v>686.97736317562533</c:v>
                </c:pt>
                <c:pt idx="279">
                  <c:v>650.13753060812439</c:v>
                </c:pt>
                <c:pt idx="280">
                  <c:v>630.05500784369497</c:v>
                </c:pt>
                <c:pt idx="281">
                  <c:v>640.1823016411098</c:v>
                </c:pt>
                <c:pt idx="282">
                  <c:v>633.44658651945213</c:v>
                </c:pt>
                <c:pt idx="283">
                  <c:v>631.93600543589571</c:v>
                </c:pt>
                <c:pt idx="284">
                  <c:v>630.54867615316925</c:v>
                </c:pt>
                <c:pt idx="285">
                  <c:v>637.66387559303519</c:v>
                </c:pt>
                <c:pt idx="286">
                  <c:v>634.68354931299461</c:v>
                </c:pt>
                <c:pt idx="287">
                  <c:v>642.05518742555648</c:v>
                </c:pt>
                <c:pt idx="288">
                  <c:v>651.94390601452233</c:v>
                </c:pt>
                <c:pt idx="289">
                  <c:v>651.25928601394389</c:v>
                </c:pt>
                <c:pt idx="290">
                  <c:v>650.91610376053757</c:v>
                </c:pt>
                <c:pt idx="291">
                  <c:v>697.72303476133857</c:v>
                </c:pt>
                <c:pt idx="292">
                  <c:v>668.77103159935609</c:v>
                </c:pt>
                <c:pt idx="293">
                  <c:v>660.83855405537327</c:v>
                </c:pt>
                <c:pt idx="294">
                  <c:v>654.06881596209178</c:v>
                </c:pt>
                <c:pt idx="295">
                  <c:v>662.87162720261063</c:v>
                </c:pt>
                <c:pt idx="296">
                  <c:v>661.58360805851703</c:v>
                </c:pt>
                <c:pt idx="297">
                  <c:v>674.08173457444968</c:v>
                </c:pt>
                <c:pt idx="298">
                  <c:v>646.21537255496685</c:v>
                </c:pt>
                <c:pt idx="299">
                  <c:v>679.46005238493603</c:v>
                </c:pt>
                <c:pt idx="300">
                  <c:v>686.68625635698299</c:v>
                </c:pt>
                <c:pt idx="301">
                  <c:v>671.90600282687103</c:v>
                </c:pt>
                <c:pt idx="302">
                  <c:v>651.09255572886593</c:v>
                </c:pt>
                <c:pt idx="303">
                  <c:v>638.94559044865628</c:v>
                </c:pt>
                <c:pt idx="304">
                  <c:v>653.43749693382244</c:v>
                </c:pt>
                <c:pt idx="305">
                  <c:v>637.9118555061234</c:v>
                </c:pt>
                <c:pt idx="306">
                  <c:v>643.4777086872391</c:v>
                </c:pt>
                <c:pt idx="307">
                  <c:v>645.76304378820157</c:v>
                </c:pt>
                <c:pt idx="308">
                  <c:v>654.40119748705774</c:v>
                </c:pt>
                <c:pt idx="309">
                  <c:v>654.77676309733454</c:v>
                </c:pt>
                <c:pt idx="310">
                  <c:v>642.8578604705076</c:v>
                </c:pt>
                <c:pt idx="311">
                  <c:v>642.3971267990986</c:v>
                </c:pt>
                <c:pt idx="312">
                  <c:v>653.62723110420688</c:v>
                </c:pt>
                <c:pt idx="313">
                  <c:v>657.42888173333972</c:v>
                </c:pt>
                <c:pt idx="314">
                  <c:v>662.62434489856082</c:v>
                </c:pt>
                <c:pt idx="315">
                  <c:v>647.86094946601554</c:v>
                </c:pt>
                <c:pt idx="316">
                  <c:v>660.67891018098726</c:v>
                </c:pt>
                <c:pt idx="317">
                  <c:v>663.62202378115069</c:v>
                </c:pt>
                <c:pt idx="318">
                  <c:v>648.94076166140792</c:v>
                </c:pt>
                <c:pt idx="319">
                  <c:v>641.09228554261074</c:v>
                </c:pt>
                <c:pt idx="320">
                  <c:v>649.35116115196911</c:v>
                </c:pt>
                <c:pt idx="321">
                  <c:v>647.83433090734013</c:v>
                </c:pt>
                <c:pt idx="322">
                  <c:v>648.16040409691993</c:v>
                </c:pt>
                <c:pt idx="323">
                  <c:v>652.04562267486119</c:v>
                </c:pt>
                <c:pt idx="324">
                  <c:v>642.23907522674801</c:v>
                </c:pt>
                <c:pt idx="325">
                  <c:v>639.79995763166949</c:v>
                </c:pt>
                <c:pt idx="326">
                  <c:v>631.68646672105285</c:v>
                </c:pt>
                <c:pt idx="327">
                  <c:v>634.88958530944876</c:v>
                </c:pt>
                <c:pt idx="328">
                  <c:v>631.23088829103472</c:v>
                </c:pt>
                <c:pt idx="329">
                  <c:v>639.73738142978937</c:v>
                </c:pt>
                <c:pt idx="330">
                  <c:v>640.52566472499814</c:v>
                </c:pt>
                <c:pt idx="331">
                  <c:v>648.04876896061944</c:v>
                </c:pt>
                <c:pt idx="332">
                  <c:v>647.84593781998171</c:v>
                </c:pt>
                <c:pt idx="333">
                  <c:v>642.23773343597225</c:v>
                </c:pt>
                <c:pt idx="334">
                  <c:v>758.60433332250057</c:v>
                </c:pt>
                <c:pt idx="335">
                  <c:v>737.99426839161424</c:v>
                </c:pt>
                <c:pt idx="336">
                  <c:v>652.21612085092931</c:v>
                </c:pt>
                <c:pt idx="337">
                  <c:v>638.41484854960163</c:v>
                </c:pt>
                <c:pt idx="338">
                  <c:v>637.1935148217184</c:v>
                </c:pt>
                <c:pt idx="339">
                  <c:v>630.80148743363998</c:v>
                </c:pt>
                <c:pt idx="340">
                  <c:v>628.93795840116934</c:v>
                </c:pt>
                <c:pt idx="341">
                  <c:v>622.96613787876993</c:v>
                </c:pt>
                <c:pt idx="342">
                  <c:v>627.8534464427363</c:v>
                </c:pt>
                <c:pt idx="343">
                  <c:v>632.87787083109356</c:v>
                </c:pt>
                <c:pt idx="344">
                  <c:v>635.45316328963463</c:v>
                </c:pt>
                <c:pt idx="345">
                  <c:v>640.09069639160259</c:v>
                </c:pt>
                <c:pt idx="346">
                  <c:v>635.29097467074905</c:v>
                </c:pt>
                <c:pt idx="347">
                  <c:v>629.35782472002927</c:v>
                </c:pt>
                <c:pt idx="348">
                  <c:v>636.36251211400042</c:v>
                </c:pt>
                <c:pt idx="349">
                  <c:v>633.76743870825987</c:v>
                </c:pt>
                <c:pt idx="350">
                  <c:v>636.2192778361773</c:v>
                </c:pt>
                <c:pt idx="351">
                  <c:v>624.10549869746603</c:v>
                </c:pt>
                <c:pt idx="352">
                  <c:v>635.48321089705041</c:v>
                </c:pt>
                <c:pt idx="353">
                  <c:v>638.97656144089524</c:v>
                </c:pt>
                <c:pt idx="354">
                  <c:v>638.28598536885238</c:v>
                </c:pt>
                <c:pt idx="355">
                  <c:v>636.51997506898556</c:v>
                </c:pt>
                <c:pt idx="356">
                  <c:v>684.91108754387938</c:v>
                </c:pt>
                <c:pt idx="357">
                  <c:v>654.98633490139321</c:v>
                </c:pt>
                <c:pt idx="358">
                  <c:v>631.27703745600638</c:v>
                </c:pt>
                <c:pt idx="359">
                  <c:v>636.3794482059152</c:v>
                </c:pt>
                <c:pt idx="360">
                  <c:v>630.67098085061366</c:v>
                </c:pt>
                <c:pt idx="361">
                  <c:v>632.0262541061312</c:v>
                </c:pt>
                <c:pt idx="362">
                  <c:v>634.11540602889374</c:v>
                </c:pt>
                <c:pt idx="363">
                  <c:v>724.87365059427179</c:v>
                </c:pt>
                <c:pt idx="364">
                  <c:v>913.71948615034228</c:v>
                </c:pt>
                <c:pt idx="365">
                  <c:v>864.71845565776198</c:v>
                </c:pt>
                <c:pt idx="366">
                  <c:v>629.66804582324562</c:v>
                </c:pt>
                <c:pt idx="367">
                  <c:v>634.95603487613687</c:v>
                </c:pt>
                <c:pt idx="368">
                  <c:v>623.46981229834751</c:v>
                </c:pt>
                <c:pt idx="369">
                  <c:v>621.33664391589241</c:v>
                </c:pt>
                <c:pt idx="370">
                  <c:v>615.71458413329594</c:v>
                </c:pt>
                <c:pt idx="371">
                  <c:v>619.43048479649326</c:v>
                </c:pt>
                <c:pt idx="372">
                  <c:v>615.44704542249042</c:v>
                </c:pt>
                <c:pt idx="373">
                  <c:v>623.88792738248037</c:v>
                </c:pt>
                <c:pt idx="374">
                  <c:v>625.22645971420252</c:v>
                </c:pt>
                <c:pt idx="375">
                  <c:v>644.75992140093285</c:v>
                </c:pt>
                <c:pt idx="376">
                  <c:v>633.51967836344761</c:v>
                </c:pt>
                <c:pt idx="377">
                  <c:v>629.66715142273097</c:v>
                </c:pt>
                <c:pt idx="378">
                  <c:v>627.22374046018467</c:v>
                </c:pt>
                <c:pt idx="379">
                  <c:v>628.87946698833719</c:v>
                </c:pt>
                <c:pt idx="380">
                  <c:v>620.56528983339467</c:v>
                </c:pt>
                <c:pt idx="381">
                  <c:v>613.30341178206311</c:v>
                </c:pt>
                <c:pt idx="382">
                  <c:v>622.44936034198122</c:v>
                </c:pt>
                <c:pt idx="383">
                  <c:v>631.28637547682399</c:v>
                </c:pt>
                <c:pt idx="384">
                  <c:v>630.98815182576629</c:v>
                </c:pt>
                <c:pt idx="385">
                  <c:v>625.25343946860903</c:v>
                </c:pt>
                <c:pt idx="386">
                  <c:v>626.12283369193017</c:v>
                </c:pt>
                <c:pt idx="387">
                  <c:v>629.41914564058879</c:v>
                </c:pt>
                <c:pt idx="388">
                  <c:v>629.76154134682884</c:v>
                </c:pt>
                <c:pt idx="389">
                  <c:v>629.62344284960909</c:v>
                </c:pt>
                <c:pt idx="390">
                  <c:v>625.56086499627042</c:v>
                </c:pt>
                <c:pt idx="391">
                  <c:v>618.97012634947521</c:v>
                </c:pt>
                <c:pt idx="392">
                  <c:v>624.39864918374155</c:v>
                </c:pt>
                <c:pt idx="393">
                  <c:v>620.96702390766382</c:v>
                </c:pt>
                <c:pt idx="394">
                  <c:v>622.25713973862105</c:v>
                </c:pt>
                <c:pt idx="395">
                  <c:v>625.65220365520543</c:v>
                </c:pt>
                <c:pt idx="396">
                  <c:v>633.81876553241318</c:v>
                </c:pt>
                <c:pt idx="397">
                  <c:v>623.91967569890301</c:v>
                </c:pt>
                <c:pt idx="398">
                  <c:v>632.89539565713312</c:v>
                </c:pt>
                <c:pt idx="399">
                  <c:v>626.85254372412044</c:v>
                </c:pt>
                <c:pt idx="400">
                  <c:v>637.31725434998111</c:v>
                </c:pt>
                <c:pt idx="401">
                  <c:v>631.42855829197072</c:v>
                </c:pt>
                <c:pt idx="402">
                  <c:v>640.01782818390438</c:v>
                </c:pt>
                <c:pt idx="403">
                  <c:v>639.72186494881589</c:v>
                </c:pt>
                <c:pt idx="404">
                  <c:v>640.35035192703356</c:v>
                </c:pt>
                <c:pt idx="405">
                  <c:v>644.26299509916464</c:v>
                </c:pt>
                <c:pt idx="406">
                  <c:v>629.7130779596647</c:v>
                </c:pt>
                <c:pt idx="407">
                  <c:v>630.68386707896343</c:v>
                </c:pt>
                <c:pt idx="408">
                  <c:v>644.71324015192999</c:v>
                </c:pt>
                <c:pt idx="409">
                  <c:v>630.13869025875545</c:v>
                </c:pt>
                <c:pt idx="410">
                  <c:v>634.32598491970941</c:v>
                </c:pt>
                <c:pt idx="411">
                  <c:v>625.79326343549053</c:v>
                </c:pt>
                <c:pt idx="412">
                  <c:v>635.52166971464624</c:v>
                </c:pt>
                <c:pt idx="413">
                  <c:v>629.8666552551033</c:v>
                </c:pt>
                <c:pt idx="414">
                  <c:v>630.10523901702209</c:v>
                </c:pt>
                <c:pt idx="415">
                  <c:v>641.11908514445508</c:v>
                </c:pt>
                <c:pt idx="416">
                  <c:v>647.08528468696716</c:v>
                </c:pt>
                <c:pt idx="417">
                  <c:v>635.30229618832038</c:v>
                </c:pt>
                <c:pt idx="418">
                  <c:v>623.74226691483523</c:v>
                </c:pt>
                <c:pt idx="419">
                  <c:v>639.07449011698611</c:v>
                </c:pt>
                <c:pt idx="420">
                  <c:v>639.13774764667789</c:v>
                </c:pt>
                <c:pt idx="421">
                  <c:v>639.30643784022129</c:v>
                </c:pt>
                <c:pt idx="422">
                  <c:v>648.93419387121128</c:v>
                </c:pt>
                <c:pt idx="423">
                  <c:v>644.14886673118485</c:v>
                </c:pt>
                <c:pt idx="424">
                  <c:v>637.57735125851252</c:v>
                </c:pt>
                <c:pt idx="425">
                  <c:v>648.2421424759026</c:v>
                </c:pt>
                <c:pt idx="426">
                  <c:v>634.85750762244356</c:v>
                </c:pt>
                <c:pt idx="427">
                  <c:v>626.99112111756074</c:v>
                </c:pt>
                <c:pt idx="428">
                  <c:v>627.20425403413731</c:v>
                </c:pt>
                <c:pt idx="429">
                  <c:v>639.2509079190271</c:v>
                </c:pt>
                <c:pt idx="430">
                  <c:v>636.1118570065903</c:v>
                </c:pt>
                <c:pt idx="431">
                  <c:v>636.05922984179222</c:v>
                </c:pt>
                <c:pt idx="432">
                  <c:v>625.0791642671154</c:v>
                </c:pt>
                <c:pt idx="433">
                  <c:v>636.43918097927656</c:v>
                </c:pt>
                <c:pt idx="434">
                  <c:v>636.78134088189984</c:v>
                </c:pt>
                <c:pt idx="435">
                  <c:v>632.29542974655374</c:v>
                </c:pt>
                <c:pt idx="436">
                  <c:v>637.42184141481289</c:v>
                </c:pt>
                <c:pt idx="437">
                  <c:v>641.98076796774137</c:v>
                </c:pt>
                <c:pt idx="438">
                  <c:v>644.10266201930426</c:v>
                </c:pt>
                <c:pt idx="439">
                  <c:v>649.67080824742357</c:v>
                </c:pt>
                <c:pt idx="440">
                  <c:v>635.36684747289303</c:v>
                </c:pt>
                <c:pt idx="441">
                  <c:v>656.52542998010654</c:v>
                </c:pt>
                <c:pt idx="442">
                  <c:v>633.99731513093218</c:v>
                </c:pt>
                <c:pt idx="443">
                  <c:v>637.96877342886319</c:v>
                </c:pt>
                <c:pt idx="444">
                  <c:v>633.78148842810822</c:v>
                </c:pt>
                <c:pt idx="445">
                  <c:v>627.03228712613009</c:v>
                </c:pt>
                <c:pt idx="446">
                  <c:v>630.60152536028465</c:v>
                </c:pt>
                <c:pt idx="447">
                  <c:v>637.93431492649802</c:v>
                </c:pt>
                <c:pt idx="448">
                  <c:v>644.09634538249611</c:v>
                </c:pt>
                <c:pt idx="449">
                  <c:v>650.05982399999345</c:v>
                </c:pt>
                <c:pt idx="450">
                  <c:v>636.00092932297343</c:v>
                </c:pt>
                <c:pt idx="451">
                  <c:v>633.18405623098852</c:v>
                </c:pt>
                <c:pt idx="452">
                  <c:v>624.38028232392571</c:v>
                </c:pt>
                <c:pt idx="453">
                  <c:v>638.96672281974918</c:v>
                </c:pt>
                <c:pt idx="454">
                  <c:v>634.54371453939882</c:v>
                </c:pt>
                <c:pt idx="455">
                  <c:v>621.95676500198908</c:v>
                </c:pt>
                <c:pt idx="456">
                  <c:v>633.3190515031597</c:v>
                </c:pt>
                <c:pt idx="457">
                  <c:v>654.02845751153063</c:v>
                </c:pt>
                <c:pt idx="458">
                  <c:v>632.86187791438726</c:v>
                </c:pt>
                <c:pt idx="459">
                  <c:v>640.36998554495835</c:v>
                </c:pt>
                <c:pt idx="460">
                  <c:v>629.36472018872087</c:v>
                </c:pt>
                <c:pt idx="461">
                  <c:v>634.80695922346604</c:v>
                </c:pt>
                <c:pt idx="462">
                  <c:v>625.93219091766309</c:v>
                </c:pt>
                <c:pt idx="463">
                  <c:v>618.66181885323647</c:v>
                </c:pt>
                <c:pt idx="464">
                  <c:v>625.82901119111796</c:v>
                </c:pt>
                <c:pt idx="465">
                  <c:v>624.25302378489368</c:v>
                </c:pt>
                <c:pt idx="466">
                  <c:v>639.55706581944537</c:v>
                </c:pt>
                <c:pt idx="467">
                  <c:v>811.06651274502428</c:v>
                </c:pt>
                <c:pt idx="468">
                  <c:v>1056.4586067330986</c:v>
                </c:pt>
                <c:pt idx="469">
                  <c:v>639.8031674767866</c:v>
                </c:pt>
                <c:pt idx="470">
                  <c:v>636.72102210454091</c:v>
                </c:pt>
                <c:pt idx="471">
                  <c:v>629.62149056647843</c:v>
                </c:pt>
                <c:pt idx="472">
                  <c:v>637.30905859707207</c:v>
                </c:pt>
                <c:pt idx="473">
                  <c:v>636.01776953777437</c:v>
                </c:pt>
                <c:pt idx="474">
                  <c:v>634.5252496001109</c:v>
                </c:pt>
                <c:pt idx="475">
                  <c:v>642.66510897280716</c:v>
                </c:pt>
                <c:pt idx="476">
                  <c:v>641.41598858932298</c:v>
                </c:pt>
                <c:pt idx="477">
                  <c:v>645.5409021594171</c:v>
                </c:pt>
                <c:pt idx="478">
                  <c:v>632.60065102204021</c:v>
                </c:pt>
                <c:pt idx="479">
                  <c:v>637.14836092507937</c:v>
                </c:pt>
                <c:pt idx="480">
                  <c:v>650.45653008403974</c:v>
                </c:pt>
                <c:pt idx="481">
                  <c:v>659.20219267320499</c:v>
                </c:pt>
                <c:pt idx="482">
                  <c:v>660.40421137183637</c:v>
                </c:pt>
                <c:pt idx="483">
                  <c:v>663.43157585821768</c:v>
                </c:pt>
                <c:pt idx="484">
                  <c:v>649.78070173977744</c:v>
                </c:pt>
                <c:pt idx="485">
                  <c:v>653.34828512685453</c:v>
                </c:pt>
                <c:pt idx="486">
                  <c:v>633.23395185151571</c:v>
                </c:pt>
                <c:pt idx="487">
                  <c:v>648.5117247049393</c:v>
                </c:pt>
                <c:pt idx="488">
                  <c:v>642.20504802840026</c:v>
                </c:pt>
                <c:pt idx="489">
                  <c:v>643.87883949443949</c:v>
                </c:pt>
                <c:pt idx="490">
                  <c:v>640.99439206672605</c:v>
                </c:pt>
                <c:pt idx="491">
                  <c:v>634.75320108826577</c:v>
                </c:pt>
                <c:pt idx="492">
                  <c:v>679.2506902197498</c:v>
                </c:pt>
                <c:pt idx="493">
                  <c:v>886.31798964149368</c:v>
                </c:pt>
                <c:pt idx="494">
                  <c:v>976.71009101406605</c:v>
                </c:pt>
                <c:pt idx="495">
                  <c:v>1172.2222409006183</c:v>
                </c:pt>
                <c:pt idx="496">
                  <c:v>1207.0167680667305</c:v>
                </c:pt>
                <c:pt idx="497">
                  <c:v>0</c:v>
                </c:pt>
                <c:pt idx="498">
                  <c:v>0</c:v>
                </c:pt>
                <c:pt idx="499">
                  <c:v>636.67173709633448</c:v>
                </c:pt>
                <c:pt idx="500">
                  <c:v>630.16637942907334</c:v>
                </c:pt>
                <c:pt idx="501">
                  <c:v>634.8194973051518</c:v>
                </c:pt>
                <c:pt idx="502">
                  <c:v>638.46316060639754</c:v>
                </c:pt>
                <c:pt idx="503">
                  <c:v>628.58210875461305</c:v>
                </c:pt>
                <c:pt idx="504">
                  <c:v>646.68964272716141</c:v>
                </c:pt>
                <c:pt idx="505">
                  <c:v>625.80620579895617</c:v>
                </c:pt>
                <c:pt idx="506">
                  <c:v>811.64736025875709</c:v>
                </c:pt>
                <c:pt idx="507">
                  <c:v>640.67036302370536</c:v>
                </c:pt>
                <c:pt idx="508">
                  <c:v>647.24839390503303</c:v>
                </c:pt>
                <c:pt idx="509">
                  <c:v>624.9969083359299</c:v>
                </c:pt>
                <c:pt idx="510">
                  <c:v>621.5031425990137</c:v>
                </c:pt>
                <c:pt idx="511">
                  <c:v>631.93551449459119</c:v>
                </c:pt>
                <c:pt idx="512">
                  <c:v>642.30140410802426</c:v>
                </c:pt>
                <c:pt idx="513">
                  <c:v>633.11978984538598</c:v>
                </c:pt>
                <c:pt idx="514">
                  <c:v>634.36246053600473</c:v>
                </c:pt>
                <c:pt idx="515">
                  <c:v>636.16453656020462</c:v>
                </c:pt>
                <c:pt idx="516">
                  <c:v>629.66534517558728</c:v>
                </c:pt>
                <c:pt idx="517">
                  <c:v>629.67438631324183</c:v>
                </c:pt>
                <c:pt idx="518">
                  <c:v>636.40028169372545</c:v>
                </c:pt>
                <c:pt idx="519">
                  <c:v>628.84501609077108</c:v>
                </c:pt>
                <c:pt idx="520">
                  <c:v>631.46973421976816</c:v>
                </c:pt>
                <c:pt idx="521">
                  <c:v>621.95528386126739</c:v>
                </c:pt>
                <c:pt idx="522">
                  <c:v>630.55023538486125</c:v>
                </c:pt>
                <c:pt idx="523">
                  <c:v>631.72597603892461</c:v>
                </c:pt>
                <c:pt idx="524">
                  <c:v>638.59697565680881</c:v>
                </c:pt>
                <c:pt idx="525">
                  <c:v>640.64738441383736</c:v>
                </c:pt>
                <c:pt idx="526">
                  <c:v>642.13488956652247</c:v>
                </c:pt>
                <c:pt idx="527">
                  <c:v>666.55614432146911</c:v>
                </c:pt>
                <c:pt idx="528">
                  <c:v>648.20942333807079</c:v>
                </c:pt>
                <c:pt idx="529">
                  <c:v>654.57038138379005</c:v>
                </c:pt>
                <c:pt idx="530">
                  <c:v>651.11854680355725</c:v>
                </c:pt>
                <c:pt idx="531">
                  <c:v>653.65269461077844</c:v>
                </c:pt>
                <c:pt idx="532">
                  <c:v>652.00627861736143</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715.19738206676607</c:v>
                </c:pt>
                <c:pt idx="543">
                  <c:v>684.94197442265147</c:v>
                </c:pt>
                <c:pt idx="544">
                  <c:v>711.83071298596531</c:v>
                </c:pt>
                <c:pt idx="545">
                  <c:v>657.30067741039602</c:v>
                </c:pt>
                <c:pt idx="546">
                  <c:v>653.48691283906373</c:v>
                </c:pt>
                <c:pt idx="547">
                  <c:v>652.39814030438038</c:v>
                </c:pt>
                <c:pt idx="548">
                  <c:v>634.53641684726324</c:v>
                </c:pt>
                <c:pt idx="549">
                  <c:v>648.73937517374884</c:v>
                </c:pt>
                <c:pt idx="550">
                  <c:v>639.62956482822676</c:v>
                </c:pt>
                <c:pt idx="551">
                  <c:v>625.05971230816817</c:v>
                </c:pt>
                <c:pt idx="552">
                  <c:v>634.77795136327927</c:v>
                </c:pt>
                <c:pt idx="553">
                  <c:v>637.90655233063126</c:v>
                </c:pt>
                <c:pt idx="554">
                  <c:v>631.66149188505153</c:v>
                </c:pt>
                <c:pt idx="555">
                  <c:v>647.1636677566737</c:v>
                </c:pt>
                <c:pt idx="556">
                  <c:v>642.7266379350948</c:v>
                </c:pt>
                <c:pt idx="557">
                  <c:v>638.70523348421113</c:v>
                </c:pt>
                <c:pt idx="558">
                  <c:v>632.37210997868124</c:v>
                </c:pt>
                <c:pt idx="559">
                  <c:v>629.0121989569268</c:v>
                </c:pt>
                <c:pt idx="560">
                  <c:v>638.43878377892122</c:v>
                </c:pt>
                <c:pt idx="561">
                  <c:v>638.9857825073932</c:v>
                </c:pt>
                <c:pt idx="562">
                  <c:v>655.27959087979309</c:v>
                </c:pt>
                <c:pt idx="563">
                  <c:v>630.56425913940893</c:v>
                </c:pt>
                <c:pt idx="564">
                  <c:v>664.62545748874152</c:v>
                </c:pt>
                <c:pt idx="565">
                  <c:v>648.94571962144391</c:v>
                </c:pt>
                <c:pt idx="566">
                  <c:v>629.61200173568579</c:v>
                </c:pt>
                <c:pt idx="567">
                  <c:v>640.55148170921723</c:v>
                </c:pt>
                <c:pt idx="568">
                  <c:v>691.27126521618561</c:v>
                </c:pt>
                <c:pt idx="569">
                  <c:v>682.45562231920803</c:v>
                </c:pt>
                <c:pt idx="570">
                  <c:v>853.12366935921239</c:v>
                </c:pt>
                <c:pt idx="571">
                  <c:v>723.19199540603734</c:v>
                </c:pt>
                <c:pt idx="572">
                  <c:v>734.50637193673799</c:v>
                </c:pt>
                <c:pt idx="573">
                  <c:v>673.64153684308042</c:v>
                </c:pt>
                <c:pt idx="574">
                  <c:v>657.02606251614566</c:v>
                </c:pt>
                <c:pt idx="575">
                  <c:v>629.03948343204104</c:v>
                </c:pt>
                <c:pt idx="576">
                  <c:v>643.20019842889906</c:v>
                </c:pt>
                <c:pt idx="577">
                  <c:v>645.43385463452387</c:v>
                </c:pt>
                <c:pt idx="578">
                  <c:v>626.79242968996266</c:v>
                </c:pt>
                <c:pt idx="579">
                  <c:v>644.38502376147562</c:v>
                </c:pt>
                <c:pt idx="580">
                  <c:v>665.47573030739704</c:v>
                </c:pt>
                <c:pt idx="581">
                  <c:v>682.89127914114738</c:v>
                </c:pt>
                <c:pt idx="582">
                  <c:v>635.90134324196458</c:v>
                </c:pt>
                <c:pt idx="583">
                  <c:v>627.05780071593495</c:v>
                </c:pt>
                <c:pt idx="584">
                  <c:v>650.44489738411289</c:v>
                </c:pt>
                <c:pt idx="585">
                  <c:v>664.70646335381844</c:v>
                </c:pt>
                <c:pt idx="586">
                  <c:v>692.23329803394154</c:v>
                </c:pt>
                <c:pt idx="587">
                  <c:v>655.5326863874551</c:v>
                </c:pt>
                <c:pt idx="588">
                  <c:v>647.26622980838329</c:v>
                </c:pt>
                <c:pt idx="589">
                  <c:v>651.73587746264025</c:v>
                </c:pt>
                <c:pt idx="590">
                  <c:v>653.49968021509369</c:v>
                </c:pt>
                <c:pt idx="591">
                  <c:v>652.01387799941165</c:v>
                </c:pt>
                <c:pt idx="592">
                  <c:v>651.88078916170946</c:v>
                </c:pt>
                <c:pt idx="593">
                  <c:v>648.32267610962333</c:v>
                </c:pt>
                <c:pt idx="594">
                  <c:v>628.45633789635724</c:v>
                </c:pt>
                <c:pt idx="595">
                  <c:v>636.9054104068739</c:v>
                </c:pt>
                <c:pt idx="596">
                  <c:v>637.56867056480598</c:v>
                </c:pt>
                <c:pt idx="597">
                  <c:v>640.49374131020716</c:v>
                </c:pt>
                <c:pt idx="598">
                  <c:v>643.8745642295612</c:v>
                </c:pt>
                <c:pt idx="599">
                  <c:v>654.40600826896809</c:v>
                </c:pt>
                <c:pt idx="600">
                  <c:v>664.48761283362262</c:v>
                </c:pt>
                <c:pt idx="601">
                  <c:v>680.59277192306638</c:v>
                </c:pt>
                <c:pt idx="602">
                  <c:v>644.59449497063508</c:v>
                </c:pt>
                <c:pt idx="603">
                  <c:v>662.70028527149373</c:v>
                </c:pt>
                <c:pt idx="604">
                  <c:v>655.96421653234472</c:v>
                </c:pt>
                <c:pt idx="605">
                  <c:v>630.66381435215226</c:v>
                </c:pt>
                <c:pt idx="606">
                  <c:v>633.68355672693235</c:v>
                </c:pt>
                <c:pt idx="607">
                  <c:v>716.70270660108872</c:v>
                </c:pt>
                <c:pt idx="608">
                  <c:v>639.78039349163134</c:v>
                </c:pt>
                <c:pt idx="609">
                  <c:v>640.24386883970681</c:v>
                </c:pt>
                <c:pt idx="610">
                  <c:v>667.69981806174212</c:v>
                </c:pt>
                <c:pt idx="611">
                  <c:v>644.04057027964495</c:v>
                </c:pt>
                <c:pt idx="612">
                  <c:v>644.65626328836743</c:v>
                </c:pt>
                <c:pt idx="613">
                  <c:v>637.87536833300942</c:v>
                </c:pt>
                <c:pt idx="614">
                  <c:v>629.96558164830901</c:v>
                </c:pt>
                <c:pt idx="615">
                  <c:v>645.95479927898043</c:v>
                </c:pt>
                <c:pt idx="616">
                  <c:v>653.77036805692035</c:v>
                </c:pt>
                <c:pt idx="617">
                  <c:v>666.91584782465225</c:v>
                </c:pt>
                <c:pt idx="618">
                  <c:v>635.53980104452455</c:v>
                </c:pt>
                <c:pt idx="619">
                  <c:v>639.88500851262472</c:v>
                </c:pt>
                <c:pt idx="620">
                  <c:v>634.42276950581311</c:v>
                </c:pt>
                <c:pt idx="621">
                  <c:v>683.0887265384157</c:v>
                </c:pt>
                <c:pt idx="622">
                  <c:v>652.32652083968685</c:v>
                </c:pt>
                <c:pt idx="623">
                  <c:v>690.39637797786497</c:v>
                </c:pt>
                <c:pt idx="624">
                  <c:v>685.98244520258595</c:v>
                </c:pt>
                <c:pt idx="625">
                  <c:v>754.4142716719499</c:v>
                </c:pt>
                <c:pt idx="626">
                  <c:v>786.71512737342323</c:v>
                </c:pt>
                <c:pt idx="627">
                  <c:v>798.77778844915792</c:v>
                </c:pt>
                <c:pt idx="628">
                  <c:v>810.32217828775697</c:v>
                </c:pt>
                <c:pt idx="629">
                  <c:v>704.67901363892008</c:v>
                </c:pt>
                <c:pt idx="630">
                  <c:v>661.89458027743319</c:v>
                </c:pt>
                <c:pt idx="631">
                  <c:v>654.86592375433668</c:v>
                </c:pt>
                <c:pt idx="632">
                  <c:v>637.46438210177723</c:v>
                </c:pt>
                <c:pt idx="633">
                  <c:v>640.42760693668049</c:v>
                </c:pt>
                <c:pt idx="634">
                  <c:v>627.52732744551281</c:v>
                </c:pt>
                <c:pt idx="635">
                  <c:v>643.63120700815102</c:v>
                </c:pt>
                <c:pt idx="636">
                  <c:v>652.69655705155549</c:v>
                </c:pt>
                <c:pt idx="637">
                  <c:v>646.16171593250226</c:v>
                </c:pt>
                <c:pt idx="638">
                  <c:v>665.18550997315447</c:v>
                </c:pt>
                <c:pt idx="639">
                  <c:v>758.74730170434611</c:v>
                </c:pt>
                <c:pt idx="640">
                  <c:v>822.44831436652532</c:v>
                </c:pt>
                <c:pt idx="641">
                  <c:v>1261.0911769349004</c:v>
                </c:pt>
                <c:pt idx="642">
                  <c:v>0</c:v>
                </c:pt>
                <c:pt idx="643">
                  <c:v>828.08171567042245</c:v>
                </c:pt>
                <c:pt idx="644">
                  <c:v>707.58788258168443</c:v>
                </c:pt>
                <c:pt idx="645">
                  <c:v>687.61878066923077</c:v>
                </c:pt>
                <c:pt idx="646">
                  <c:v>687.91637222826239</c:v>
                </c:pt>
                <c:pt idx="647">
                  <c:v>683.43988500072032</c:v>
                </c:pt>
                <c:pt idx="648">
                  <c:v>689.03529414439129</c:v>
                </c:pt>
                <c:pt idx="649">
                  <c:v>657.71217533382037</c:v>
                </c:pt>
                <c:pt idx="650">
                  <c:v>676.2278958381354</c:v>
                </c:pt>
                <c:pt idx="651">
                  <c:v>652.95804292859066</c:v>
                </c:pt>
                <c:pt idx="652">
                  <c:v>652.61129464931571</c:v>
                </c:pt>
                <c:pt idx="653">
                  <c:v>642.46657746610867</c:v>
                </c:pt>
                <c:pt idx="654">
                  <c:v>639.5261080886047</c:v>
                </c:pt>
                <c:pt idx="655">
                  <c:v>746.27092881457975</c:v>
                </c:pt>
                <c:pt idx="656">
                  <c:v>652.74883608855976</c:v>
                </c:pt>
                <c:pt idx="657">
                  <c:v>653.93188881424862</c:v>
                </c:pt>
                <c:pt idx="658">
                  <c:v>641.57764335932359</c:v>
                </c:pt>
                <c:pt idx="659">
                  <c:v>667.07103711908883</c:v>
                </c:pt>
                <c:pt idx="660">
                  <c:v>635.74087443314033</c:v>
                </c:pt>
                <c:pt idx="661">
                  <c:v>659.33677284052976</c:v>
                </c:pt>
                <c:pt idx="662">
                  <c:v>628.71288680353143</c:v>
                </c:pt>
                <c:pt idx="663">
                  <c:v>632.1854901677325</c:v>
                </c:pt>
                <c:pt idx="664">
                  <c:v>632.85537156823489</c:v>
                </c:pt>
                <c:pt idx="665">
                  <c:v>626.83406989959269</c:v>
                </c:pt>
                <c:pt idx="666">
                  <c:v>650.83463480543901</c:v>
                </c:pt>
                <c:pt idx="667">
                  <c:v>646.53783166891128</c:v>
                </c:pt>
                <c:pt idx="668">
                  <c:v>646.06434369842884</c:v>
                </c:pt>
                <c:pt idx="669">
                  <c:v>674.86017720906659</c:v>
                </c:pt>
                <c:pt idx="670">
                  <c:v>615.378454243904</c:v>
                </c:pt>
                <c:pt idx="671">
                  <c:v>645.24024064891</c:v>
                </c:pt>
                <c:pt idx="672">
                  <c:v>637.00165996054886</c:v>
                </c:pt>
                <c:pt idx="673">
                  <c:v>632.13083239462105</c:v>
                </c:pt>
                <c:pt idx="674">
                  <c:v>643.15535693603499</c:v>
                </c:pt>
                <c:pt idx="675">
                  <c:v>635.17226950327392</c:v>
                </c:pt>
                <c:pt idx="676">
                  <c:v>639.38234749970252</c:v>
                </c:pt>
                <c:pt idx="677">
                  <c:v>643.62360948252751</c:v>
                </c:pt>
                <c:pt idx="678">
                  <c:v>631.25056168909407</c:v>
                </c:pt>
                <c:pt idx="679">
                  <c:v>660.32153586101674</c:v>
                </c:pt>
                <c:pt idx="680">
                  <c:v>642.87386193673615</c:v>
                </c:pt>
                <c:pt idx="681">
                  <c:v>659.46217633788228</c:v>
                </c:pt>
                <c:pt idx="682">
                  <c:v>664.78260188824743</c:v>
                </c:pt>
                <c:pt idx="683">
                  <c:v>636.79362423364853</c:v>
                </c:pt>
                <c:pt idx="684">
                  <c:v>697.83425344730927</c:v>
                </c:pt>
                <c:pt idx="685">
                  <c:v>633.9185207340031</c:v>
                </c:pt>
                <c:pt idx="686">
                  <c:v>649.56197137716708</c:v>
                </c:pt>
                <c:pt idx="687">
                  <c:v>646.17537546842823</c:v>
                </c:pt>
                <c:pt idx="688">
                  <c:v>639.80171917145992</c:v>
                </c:pt>
                <c:pt idx="689">
                  <c:v>644.76660597211662</c:v>
                </c:pt>
                <c:pt idx="690">
                  <c:v>642.74171767962059</c:v>
                </c:pt>
                <c:pt idx="691">
                  <c:v>630.40804200047296</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678.92415934889027</c:v>
                </c:pt>
                <c:pt idx="702">
                  <c:v>685.44461053521695</c:v>
                </c:pt>
                <c:pt idx="703">
                  <c:v>632.87204071018755</c:v>
                </c:pt>
                <c:pt idx="704">
                  <c:v>630.36064908934804</c:v>
                </c:pt>
                <c:pt idx="705">
                  <c:v>632.53681181989737</c:v>
                </c:pt>
                <c:pt idx="706">
                  <c:v>656.9535815132291</c:v>
                </c:pt>
                <c:pt idx="707">
                  <c:v>632.75963376253651</c:v>
                </c:pt>
                <c:pt idx="708">
                  <c:v>674.33414222274143</c:v>
                </c:pt>
                <c:pt idx="709">
                  <c:v>658.54245025634214</c:v>
                </c:pt>
                <c:pt idx="710">
                  <c:v>633.52211723669348</c:v>
                </c:pt>
                <c:pt idx="711">
                  <c:v>629.41094012343524</c:v>
                </c:pt>
                <c:pt idx="712">
                  <c:v>674.70396199879735</c:v>
                </c:pt>
                <c:pt idx="713">
                  <c:v>637.83806397165404</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714.99700373816177</c:v>
                </c:pt>
                <c:pt idx="725">
                  <c:v>1407.1171469188741</c:v>
                </c:pt>
                <c:pt idx="726">
                  <c:v>789.81962907060586</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637.11554618622438</c:v>
                </c:pt>
                <c:pt idx="741">
                  <c:v>644.09618135351695</c:v>
                </c:pt>
                <c:pt idx="742">
                  <c:v>664.55859232434705</c:v>
                </c:pt>
                <c:pt idx="743">
                  <c:v>638.78623097214984</c:v>
                </c:pt>
                <c:pt idx="744">
                  <c:v>637.91635051527282</c:v>
                </c:pt>
                <c:pt idx="745">
                  <c:v>629.07726686565707</c:v>
                </c:pt>
                <c:pt idx="746">
                  <c:v>627.60017331832705</c:v>
                </c:pt>
                <c:pt idx="747">
                  <c:v>633.52661390066532</c:v>
                </c:pt>
                <c:pt idx="748">
                  <c:v>637.30498583286135</c:v>
                </c:pt>
                <c:pt idx="749">
                  <c:v>640.8326027475299</c:v>
                </c:pt>
                <c:pt idx="750">
                  <c:v>634.75507736959719</c:v>
                </c:pt>
                <c:pt idx="751">
                  <c:v>644.90692215740944</c:v>
                </c:pt>
                <c:pt idx="752">
                  <c:v>626.56294852875567</c:v>
                </c:pt>
                <c:pt idx="753">
                  <c:v>649.59976845573681</c:v>
                </c:pt>
                <c:pt idx="754">
                  <c:v>641.92660180983216</c:v>
                </c:pt>
                <c:pt idx="755">
                  <c:v>632.40378758685881</c:v>
                </c:pt>
                <c:pt idx="756">
                  <c:v>633.15806171959935</c:v>
                </c:pt>
                <c:pt idx="757">
                  <c:v>633.23916301913505</c:v>
                </c:pt>
                <c:pt idx="758">
                  <c:v>642.76752739835626</c:v>
                </c:pt>
                <c:pt idx="759">
                  <c:v>641.35203080732265</c:v>
                </c:pt>
                <c:pt idx="760">
                  <c:v>637.0670833037542</c:v>
                </c:pt>
                <c:pt idx="761">
                  <c:v>649.20079124058782</c:v>
                </c:pt>
                <c:pt idx="762">
                  <c:v>650.89478215273903</c:v>
                </c:pt>
                <c:pt idx="763">
                  <c:v>637.55085108761727</c:v>
                </c:pt>
                <c:pt idx="764">
                  <c:v>636.0472283113811</c:v>
                </c:pt>
                <c:pt idx="765">
                  <c:v>661.91899521242351</c:v>
                </c:pt>
                <c:pt idx="766">
                  <c:v>640.05334315086589</c:v>
                </c:pt>
                <c:pt idx="767">
                  <c:v>648.57836981689127</c:v>
                </c:pt>
                <c:pt idx="768">
                  <c:v>633.46189341775266</c:v>
                </c:pt>
                <c:pt idx="769">
                  <c:v>639.9572665444249</c:v>
                </c:pt>
                <c:pt idx="770">
                  <c:v>652.32243761158145</c:v>
                </c:pt>
                <c:pt idx="771">
                  <c:v>640.71228158006807</c:v>
                </c:pt>
                <c:pt idx="772">
                  <c:v>633.96653945446849</c:v>
                </c:pt>
                <c:pt idx="773">
                  <c:v>631.51910317311638</c:v>
                </c:pt>
                <c:pt idx="774">
                  <c:v>630.22492326091901</c:v>
                </c:pt>
                <c:pt idx="775">
                  <c:v>631.64135588637896</c:v>
                </c:pt>
                <c:pt idx="776">
                  <c:v>626.24771362622153</c:v>
                </c:pt>
                <c:pt idx="777">
                  <c:v>629.94602275710508</c:v>
                </c:pt>
                <c:pt idx="778">
                  <c:v>626.6170917158621</c:v>
                </c:pt>
                <c:pt idx="779">
                  <c:v>619.93647953954508</c:v>
                </c:pt>
                <c:pt idx="780">
                  <c:v>623.91210442550664</c:v>
                </c:pt>
                <c:pt idx="781">
                  <c:v>629.22599380603822</c:v>
                </c:pt>
                <c:pt idx="782">
                  <c:v>628.58207907890255</c:v>
                </c:pt>
                <c:pt idx="783">
                  <c:v>627.52909012794726</c:v>
                </c:pt>
                <c:pt idx="784">
                  <c:v>641.83396379368219</c:v>
                </c:pt>
                <c:pt idx="785">
                  <c:v>647.50361843161897</c:v>
                </c:pt>
                <c:pt idx="786">
                  <c:v>639.28406887679864</c:v>
                </c:pt>
                <c:pt idx="787">
                  <c:v>640.04710414509532</c:v>
                </c:pt>
                <c:pt idx="788">
                  <c:v>706.82497069657563</c:v>
                </c:pt>
                <c:pt idx="789">
                  <c:v>798.30276925732244</c:v>
                </c:pt>
                <c:pt idx="790">
                  <c:v>640.50894701974141</c:v>
                </c:pt>
                <c:pt idx="791">
                  <c:v>632.76387503777153</c:v>
                </c:pt>
                <c:pt idx="792">
                  <c:v>637.87225450862275</c:v>
                </c:pt>
                <c:pt idx="793">
                  <c:v>640.93878889844882</c:v>
                </c:pt>
                <c:pt idx="794">
                  <c:v>634.46495761747678</c:v>
                </c:pt>
                <c:pt idx="795">
                  <c:v>634.33201904400096</c:v>
                </c:pt>
                <c:pt idx="796">
                  <c:v>640.42715706307672</c:v>
                </c:pt>
                <c:pt idx="797">
                  <c:v>641.2392574711414</c:v>
                </c:pt>
                <c:pt idx="798">
                  <c:v>638.17704961752395</c:v>
                </c:pt>
                <c:pt idx="799">
                  <c:v>639.19858405013201</c:v>
                </c:pt>
                <c:pt idx="800">
                  <c:v>650.61243704255287</c:v>
                </c:pt>
                <c:pt idx="801">
                  <c:v>634.35072150399651</c:v>
                </c:pt>
                <c:pt idx="802">
                  <c:v>655.1571853611614</c:v>
                </c:pt>
                <c:pt idx="803">
                  <c:v>663.34935973990048</c:v>
                </c:pt>
                <c:pt idx="804">
                  <c:v>647.38288500374404</c:v>
                </c:pt>
                <c:pt idx="805">
                  <c:v>668.11962963015776</c:v>
                </c:pt>
                <c:pt idx="806">
                  <c:v>662.26512743975945</c:v>
                </c:pt>
                <c:pt idx="807">
                  <c:v>638.9766776243066</c:v>
                </c:pt>
                <c:pt idx="808">
                  <c:v>647.68675407770081</c:v>
                </c:pt>
                <c:pt idx="809">
                  <c:v>653.82020576024161</c:v>
                </c:pt>
                <c:pt idx="810">
                  <c:v>663.94747595966953</c:v>
                </c:pt>
                <c:pt idx="811">
                  <c:v>651.85924305144761</c:v>
                </c:pt>
                <c:pt idx="812">
                  <c:v>660.68811362821975</c:v>
                </c:pt>
                <c:pt idx="813">
                  <c:v>667.47444106969897</c:v>
                </c:pt>
                <c:pt idx="814">
                  <c:v>662.21799281269364</c:v>
                </c:pt>
                <c:pt idx="815">
                  <c:v>660.91035336689538</c:v>
                </c:pt>
                <c:pt idx="816">
                  <c:v>657.03389587002323</c:v>
                </c:pt>
                <c:pt idx="817">
                  <c:v>640.22966553447156</c:v>
                </c:pt>
                <c:pt idx="818">
                  <c:v>641.15820834645228</c:v>
                </c:pt>
                <c:pt idx="819">
                  <c:v>644.70313790466639</c:v>
                </c:pt>
                <c:pt idx="820">
                  <c:v>649.7899913481009</c:v>
                </c:pt>
                <c:pt idx="821">
                  <c:v>652.32347530221546</c:v>
                </c:pt>
                <c:pt idx="822">
                  <c:v>648.14359057076035</c:v>
                </c:pt>
                <c:pt idx="823">
                  <c:v>661.65742065662505</c:v>
                </c:pt>
                <c:pt idx="824">
                  <c:v>663.36219812708487</c:v>
                </c:pt>
                <c:pt idx="825">
                  <c:v>687.43641453236569</c:v>
                </c:pt>
                <c:pt idx="826">
                  <c:v>676.14639830032525</c:v>
                </c:pt>
                <c:pt idx="827">
                  <c:v>677.24067651511461</c:v>
                </c:pt>
                <c:pt idx="828">
                  <c:v>684.23107132562984</c:v>
                </c:pt>
                <c:pt idx="829">
                  <c:v>695.9036411082875</c:v>
                </c:pt>
                <c:pt idx="830">
                  <c:v>712.41839348711392</c:v>
                </c:pt>
                <c:pt idx="831">
                  <c:v>722.80544153716573</c:v>
                </c:pt>
                <c:pt idx="832">
                  <c:v>675.79624293306347</c:v>
                </c:pt>
                <c:pt idx="833">
                  <c:v>704.19406563304312</c:v>
                </c:pt>
                <c:pt idx="834">
                  <c:v>692.88494269571356</c:v>
                </c:pt>
                <c:pt idx="835">
                  <c:v>652.47017190657925</c:v>
                </c:pt>
                <c:pt idx="836">
                  <c:v>653.24066994164696</c:v>
                </c:pt>
                <c:pt idx="837">
                  <c:v>638.35951454757117</c:v>
                </c:pt>
                <c:pt idx="838">
                  <c:v>636.52970060829841</c:v>
                </c:pt>
                <c:pt idx="839">
                  <c:v>642.35186499816723</c:v>
                </c:pt>
                <c:pt idx="840">
                  <c:v>640.80903568210488</c:v>
                </c:pt>
                <c:pt idx="841">
                  <c:v>640.74202272080936</c:v>
                </c:pt>
                <c:pt idx="842">
                  <c:v>638.28861540083949</c:v>
                </c:pt>
                <c:pt idx="843">
                  <c:v>640.07843042212721</c:v>
                </c:pt>
                <c:pt idx="844">
                  <c:v>648.41900268586051</c:v>
                </c:pt>
                <c:pt idx="845">
                  <c:v>642.40758041924812</c:v>
                </c:pt>
                <c:pt idx="846">
                  <c:v>683.49594052483565</c:v>
                </c:pt>
                <c:pt idx="847">
                  <c:v>646.41601050813244</c:v>
                </c:pt>
                <c:pt idx="848">
                  <c:v>632.60267153116251</c:v>
                </c:pt>
                <c:pt idx="849">
                  <c:v>662.5597716938604</c:v>
                </c:pt>
                <c:pt idx="850">
                  <c:v>651.49905138007557</c:v>
                </c:pt>
                <c:pt idx="851">
                  <c:v>639.03388934515363</c:v>
                </c:pt>
                <c:pt idx="852">
                  <c:v>679.80039446293188</c:v>
                </c:pt>
                <c:pt idx="853">
                  <c:v>651.15126658836596</c:v>
                </c:pt>
                <c:pt idx="854">
                  <c:v>659.26962894880717</c:v>
                </c:pt>
                <c:pt idx="855">
                  <c:v>652.87264254806792</c:v>
                </c:pt>
                <c:pt idx="856">
                  <c:v>668.82570345983095</c:v>
                </c:pt>
                <c:pt idx="857">
                  <c:v>663.48324506057736</c:v>
                </c:pt>
                <c:pt idx="858">
                  <c:v>676.91870961852646</c:v>
                </c:pt>
                <c:pt idx="859">
                  <c:v>697.14815620719105</c:v>
                </c:pt>
                <c:pt idx="860">
                  <c:v>795.49700755971332</c:v>
                </c:pt>
                <c:pt idx="861">
                  <c:v>951.64677820772454</c:v>
                </c:pt>
                <c:pt idx="862">
                  <c:v>708.08826153880545</c:v>
                </c:pt>
                <c:pt idx="863">
                  <c:v>643.36972153481713</c:v>
                </c:pt>
                <c:pt idx="864">
                  <c:v>788.35302082532996</c:v>
                </c:pt>
                <c:pt idx="865">
                  <c:v>851.58014342334798</c:v>
                </c:pt>
                <c:pt idx="866">
                  <c:v>640.97322491908483</c:v>
                </c:pt>
                <c:pt idx="867">
                  <c:v>665.5867391355464</c:v>
                </c:pt>
                <c:pt idx="868">
                  <c:v>678.70892626918055</c:v>
                </c:pt>
                <c:pt idx="869">
                  <c:v>681.9943299704837</c:v>
                </c:pt>
                <c:pt idx="870">
                  <c:v>639.88680341011536</c:v>
                </c:pt>
                <c:pt idx="871">
                  <c:v>652.63492640939296</c:v>
                </c:pt>
                <c:pt idx="872">
                  <c:v>636.93163104145992</c:v>
                </c:pt>
                <c:pt idx="873">
                  <c:v>639.67264394910853</c:v>
                </c:pt>
                <c:pt idx="874">
                  <c:v>642.82365219148312</c:v>
                </c:pt>
                <c:pt idx="875">
                  <c:v>640.6522742048935</c:v>
                </c:pt>
                <c:pt idx="876">
                  <c:v>634.83117880253064</c:v>
                </c:pt>
                <c:pt idx="877">
                  <c:v>634.89808629845152</c:v>
                </c:pt>
                <c:pt idx="878">
                  <c:v>638.03421356656736</c:v>
                </c:pt>
                <c:pt idx="879">
                  <c:v>644.36455388421291</c:v>
                </c:pt>
                <c:pt idx="880">
                  <c:v>640.35742867554461</c:v>
                </c:pt>
                <c:pt idx="881">
                  <c:v>647.94318184973167</c:v>
                </c:pt>
                <c:pt idx="882">
                  <c:v>654.62650857940969</c:v>
                </c:pt>
                <c:pt idx="883">
                  <c:v>642.37465353393475</c:v>
                </c:pt>
                <c:pt idx="884">
                  <c:v>657.0305237188029</c:v>
                </c:pt>
                <c:pt idx="885">
                  <c:v>658.15562353221071</c:v>
                </c:pt>
                <c:pt idx="886">
                  <c:v>680.59943883835444</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637.22519873190174</c:v>
                </c:pt>
                <c:pt idx="896">
                  <c:v>637.12534468456147</c:v>
                </c:pt>
                <c:pt idx="897">
                  <c:v>638.60042120820833</c:v>
                </c:pt>
                <c:pt idx="898">
                  <c:v>641.04513380119181</c:v>
                </c:pt>
                <c:pt idx="899">
                  <c:v>642.24709945326902</c:v>
                </c:pt>
                <c:pt idx="900">
                  <c:v>655.32163037108512</c:v>
                </c:pt>
                <c:pt idx="901">
                  <c:v>665.94152868946026</c:v>
                </c:pt>
                <c:pt idx="902">
                  <c:v>660.98226762149625</c:v>
                </c:pt>
                <c:pt idx="903">
                  <c:v>647.35909855173145</c:v>
                </c:pt>
                <c:pt idx="904">
                  <c:v>646.70127137956831</c:v>
                </c:pt>
                <c:pt idx="905">
                  <c:v>656.28081566491073</c:v>
                </c:pt>
                <c:pt idx="906">
                  <c:v>651.0110639060706</c:v>
                </c:pt>
                <c:pt idx="907">
                  <c:v>653.66965168848128</c:v>
                </c:pt>
                <c:pt idx="908">
                  <c:v>650.37917418411359</c:v>
                </c:pt>
                <c:pt idx="909">
                  <c:v>719.16232284233308</c:v>
                </c:pt>
                <c:pt idx="910">
                  <c:v>639.75639250783922</c:v>
                </c:pt>
                <c:pt idx="911">
                  <c:v>642.43208487476124</c:v>
                </c:pt>
                <c:pt idx="912">
                  <c:v>640.04971043356852</c:v>
                </c:pt>
                <c:pt idx="913">
                  <c:v>637.31246919792954</c:v>
                </c:pt>
                <c:pt idx="914">
                  <c:v>645.26175639572477</c:v>
                </c:pt>
                <c:pt idx="915">
                  <c:v>640.45529753422477</c:v>
                </c:pt>
                <c:pt idx="916">
                  <c:v>644.73429660558827</c:v>
                </c:pt>
                <c:pt idx="917">
                  <c:v>642.25514651862477</c:v>
                </c:pt>
                <c:pt idx="918">
                  <c:v>651.79032553374736</c:v>
                </c:pt>
                <c:pt idx="919">
                  <c:v>678.78008320479785</c:v>
                </c:pt>
                <c:pt idx="920">
                  <c:v>663.90585030285922</c:v>
                </c:pt>
                <c:pt idx="921">
                  <c:v>643.36456665758476</c:v>
                </c:pt>
                <c:pt idx="922">
                  <c:v>695.35907229696579</c:v>
                </c:pt>
                <c:pt idx="923">
                  <c:v>698.3625570274437</c:v>
                </c:pt>
                <c:pt idx="924">
                  <c:v>678.56382582421872</c:v>
                </c:pt>
                <c:pt idx="925">
                  <c:v>702.66924966047941</c:v>
                </c:pt>
                <c:pt idx="926">
                  <c:v>652.36731584020026</c:v>
                </c:pt>
                <c:pt idx="927">
                  <c:v>641.68018739643071</c:v>
                </c:pt>
                <c:pt idx="928">
                  <c:v>638.84589243161076</c:v>
                </c:pt>
                <c:pt idx="929">
                  <c:v>632.11398207066156</c:v>
                </c:pt>
                <c:pt idx="930">
                  <c:v>640.45310047236148</c:v>
                </c:pt>
                <c:pt idx="931">
                  <c:v>661.48350007779288</c:v>
                </c:pt>
                <c:pt idx="932">
                  <c:v>648.11560679095157</c:v>
                </c:pt>
                <c:pt idx="933">
                  <c:v>641.78315821148578</c:v>
                </c:pt>
                <c:pt idx="934">
                  <c:v>646.53153241290784</c:v>
                </c:pt>
                <c:pt idx="935">
                  <c:v>652.02139280217591</c:v>
                </c:pt>
                <c:pt idx="936">
                  <c:v>650.89500908779848</c:v>
                </c:pt>
                <c:pt idx="937">
                  <c:v>664.86723480366152</c:v>
                </c:pt>
                <c:pt idx="938">
                  <c:v>670.05543733343393</c:v>
                </c:pt>
                <c:pt idx="939">
                  <c:v>636.07115418132184</c:v>
                </c:pt>
                <c:pt idx="940">
                  <c:v>632.77951948850568</c:v>
                </c:pt>
                <c:pt idx="941">
                  <c:v>635.50167139003804</c:v>
                </c:pt>
                <c:pt idx="942">
                  <c:v>631.26145519695979</c:v>
                </c:pt>
                <c:pt idx="943">
                  <c:v>631.7791670315936</c:v>
                </c:pt>
                <c:pt idx="944">
                  <c:v>627.16437559162887</c:v>
                </c:pt>
                <c:pt idx="945">
                  <c:v>639.28300112124475</c:v>
                </c:pt>
                <c:pt idx="946">
                  <c:v>639.411390419329</c:v>
                </c:pt>
                <c:pt idx="947">
                  <c:v>643.76065134299847</c:v>
                </c:pt>
                <c:pt idx="948">
                  <c:v>642.82228169633538</c:v>
                </c:pt>
                <c:pt idx="949">
                  <c:v>645.21790228992063</c:v>
                </c:pt>
                <c:pt idx="950">
                  <c:v>644.43110811830388</c:v>
                </c:pt>
                <c:pt idx="951">
                  <c:v>644.27767703067127</c:v>
                </c:pt>
                <c:pt idx="952">
                  <c:v>632.7277084323199</c:v>
                </c:pt>
                <c:pt idx="953">
                  <c:v>635.91419616584528</c:v>
                </c:pt>
                <c:pt idx="954">
                  <c:v>672.13178841234196</c:v>
                </c:pt>
                <c:pt idx="955">
                  <c:v>758.22658197364501</c:v>
                </c:pt>
                <c:pt idx="956">
                  <c:v>1454.0736226250167</c:v>
                </c:pt>
                <c:pt idx="957">
                  <c:v>889.72837817315337</c:v>
                </c:pt>
                <c:pt idx="958">
                  <c:v>674.70191527997417</c:v>
                </c:pt>
                <c:pt idx="959">
                  <c:v>636.27910896417097</c:v>
                </c:pt>
                <c:pt idx="960">
                  <c:v>636.41341779492257</c:v>
                </c:pt>
                <c:pt idx="961">
                  <c:v>633.36289921993659</c:v>
                </c:pt>
                <c:pt idx="962">
                  <c:v>625.89107596732276</c:v>
                </c:pt>
                <c:pt idx="963">
                  <c:v>641.25692373919139</c:v>
                </c:pt>
                <c:pt idx="964">
                  <c:v>639.95024167141185</c:v>
                </c:pt>
                <c:pt idx="965">
                  <c:v>636.32953078459877</c:v>
                </c:pt>
                <c:pt idx="966">
                  <c:v>631.01460016363933</c:v>
                </c:pt>
                <c:pt idx="967">
                  <c:v>629.49461577876741</c:v>
                </c:pt>
                <c:pt idx="968">
                  <c:v>635.26935196296779</c:v>
                </c:pt>
                <c:pt idx="969">
                  <c:v>637.21655145030127</c:v>
                </c:pt>
                <c:pt idx="970">
                  <c:v>633.14296142197509</c:v>
                </c:pt>
                <c:pt idx="971">
                  <c:v>638.76648427285159</c:v>
                </c:pt>
                <c:pt idx="972">
                  <c:v>629.05407344253706</c:v>
                </c:pt>
                <c:pt idx="973">
                  <c:v>630.97626094021996</c:v>
                </c:pt>
                <c:pt idx="974">
                  <c:v>647.3271188194351</c:v>
                </c:pt>
                <c:pt idx="975">
                  <c:v>634.83612288991628</c:v>
                </c:pt>
                <c:pt idx="976">
                  <c:v>637.79944897057953</c:v>
                </c:pt>
                <c:pt idx="977">
                  <c:v>631.93409598238964</c:v>
                </c:pt>
                <c:pt idx="978">
                  <c:v>642.41295388497815</c:v>
                </c:pt>
                <c:pt idx="979">
                  <c:v>636.02075840615817</c:v>
                </c:pt>
                <c:pt idx="980">
                  <c:v>644.01305721411279</c:v>
                </c:pt>
                <c:pt idx="981">
                  <c:v>641.880615008375</c:v>
                </c:pt>
                <c:pt idx="982">
                  <c:v>639.47130252865986</c:v>
                </c:pt>
                <c:pt idx="983">
                  <c:v>641.00852045470936</c:v>
                </c:pt>
                <c:pt idx="984">
                  <c:v>655.20047133130151</c:v>
                </c:pt>
                <c:pt idx="985">
                  <c:v>663.15614797102353</c:v>
                </c:pt>
                <c:pt idx="986">
                  <c:v>667.87746875407322</c:v>
                </c:pt>
                <c:pt idx="987">
                  <c:v>655.99081177603477</c:v>
                </c:pt>
                <c:pt idx="988">
                  <c:v>637.75733797921896</c:v>
                </c:pt>
                <c:pt idx="989">
                  <c:v>643.96184864006671</c:v>
                </c:pt>
                <c:pt idx="990">
                  <c:v>647.03479652250678</c:v>
                </c:pt>
                <c:pt idx="991">
                  <c:v>644.00645411028609</c:v>
                </c:pt>
                <c:pt idx="992">
                  <c:v>636.77079172609467</c:v>
                </c:pt>
                <c:pt idx="993">
                  <c:v>634.80247051030881</c:v>
                </c:pt>
                <c:pt idx="994">
                  <c:v>647.88655946211429</c:v>
                </c:pt>
                <c:pt idx="995">
                  <c:v>640.31348198522369</c:v>
                </c:pt>
                <c:pt idx="996">
                  <c:v>644.10424030310116</c:v>
                </c:pt>
                <c:pt idx="997">
                  <c:v>694.84254632249326</c:v>
                </c:pt>
                <c:pt idx="998">
                  <c:v>691.58015925529764</c:v>
                </c:pt>
                <c:pt idx="999">
                  <c:v>682.86194987715339</c:v>
                </c:pt>
                <c:pt idx="1000">
                  <c:v>667.59707476195376</c:v>
                </c:pt>
                <c:pt idx="1001">
                  <c:v>678.54273645119838</c:v>
                </c:pt>
                <c:pt idx="1002">
                  <c:v>638.71213441398299</c:v>
                </c:pt>
                <c:pt idx="1003">
                  <c:v>636.0138841104332</c:v>
                </c:pt>
                <c:pt idx="1004">
                  <c:v>647.91794428049116</c:v>
                </c:pt>
                <c:pt idx="1005">
                  <c:v>642.39027165145546</c:v>
                </c:pt>
                <c:pt idx="1006">
                  <c:v>651.84437649713209</c:v>
                </c:pt>
                <c:pt idx="1007">
                  <c:v>640.44743314812376</c:v>
                </c:pt>
                <c:pt idx="1008">
                  <c:v>668.04865728307834</c:v>
                </c:pt>
                <c:pt idx="1009">
                  <c:v>636.8652788042881</c:v>
                </c:pt>
                <c:pt idx="1010">
                  <c:v>644.40655743699654</c:v>
                </c:pt>
                <c:pt idx="1011">
                  <c:v>657.47475021613968</c:v>
                </c:pt>
                <c:pt idx="1012">
                  <c:v>656.44763220849688</c:v>
                </c:pt>
                <c:pt idx="1013">
                  <c:v>645.10352152397081</c:v>
                </c:pt>
                <c:pt idx="1014">
                  <c:v>626.82865861378059</c:v>
                </c:pt>
                <c:pt idx="1015">
                  <c:v>647.84182696477797</c:v>
                </c:pt>
                <c:pt idx="1016">
                  <c:v>648.52020800986986</c:v>
                </c:pt>
                <c:pt idx="1017">
                  <c:v>648.70420875745151</c:v>
                </c:pt>
                <c:pt idx="1018">
                  <c:v>643.38361262689125</c:v>
                </c:pt>
                <c:pt idx="1019">
                  <c:v>633.30150752285351</c:v>
                </c:pt>
                <c:pt idx="1020">
                  <c:v>642.58293685266949</c:v>
                </c:pt>
                <c:pt idx="1021">
                  <c:v>644.09739288430615</c:v>
                </c:pt>
                <c:pt idx="1022">
                  <c:v>644.59674429008714</c:v>
                </c:pt>
                <c:pt idx="1023">
                  <c:v>643.04183869424617</c:v>
                </c:pt>
                <c:pt idx="1024">
                  <c:v>645.04303581604449</c:v>
                </c:pt>
                <c:pt idx="1025">
                  <c:v>641.85380388750855</c:v>
                </c:pt>
                <c:pt idx="1026">
                  <c:v>674.44798352870021</c:v>
                </c:pt>
                <c:pt idx="1027">
                  <c:v>677.47558414284788</c:v>
                </c:pt>
                <c:pt idx="1028">
                  <c:v>698.17011905039385</c:v>
                </c:pt>
                <c:pt idx="1029">
                  <c:v>693.31215009968219</c:v>
                </c:pt>
                <c:pt idx="1030">
                  <c:v>1018.9601150752204</c:v>
                </c:pt>
                <c:pt idx="1031">
                  <c:v>1011.5602850940481</c:v>
                </c:pt>
                <c:pt idx="1032">
                  <c:v>669.58507009079528</c:v>
                </c:pt>
                <c:pt idx="1033">
                  <c:v>646.43086110109061</c:v>
                </c:pt>
                <c:pt idx="1034">
                  <c:v>649.87043605425868</c:v>
                </c:pt>
                <c:pt idx="1035">
                  <c:v>649.03088160069274</c:v>
                </c:pt>
                <c:pt idx="1036">
                  <c:v>694.3941651575085</c:v>
                </c:pt>
                <c:pt idx="1037">
                  <c:v>633.81059907151052</c:v>
                </c:pt>
                <c:pt idx="1038">
                  <c:v>636.81954527714345</c:v>
                </c:pt>
                <c:pt idx="1039">
                  <c:v>641.41769308920266</c:v>
                </c:pt>
                <c:pt idx="1040">
                  <c:v>668.66938349640452</c:v>
                </c:pt>
                <c:pt idx="1041">
                  <c:v>685.91160666995381</c:v>
                </c:pt>
                <c:pt idx="1042">
                  <c:v>691.03908301118247</c:v>
                </c:pt>
                <c:pt idx="1043">
                  <c:v>779.64314854968404</c:v>
                </c:pt>
                <c:pt idx="1044">
                  <c:v>662.92896948876103</c:v>
                </c:pt>
                <c:pt idx="1045">
                  <c:v>644.14624654018542</c:v>
                </c:pt>
                <c:pt idx="1046">
                  <c:v>642.64831787042635</c:v>
                </c:pt>
                <c:pt idx="1047">
                  <c:v>634.41456342543233</c:v>
                </c:pt>
                <c:pt idx="1048">
                  <c:v>646.80287825605842</c:v>
                </c:pt>
                <c:pt idx="1049">
                  <c:v>642.22410036033716</c:v>
                </c:pt>
                <c:pt idx="1050">
                  <c:v>648.92196835710445</c:v>
                </c:pt>
                <c:pt idx="1051">
                  <c:v>637.38012267330691</c:v>
                </c:pt>
                <c:pt idx="1052">
                  <c:v>641.2621533983729</c:v>
                </c:pt>
                <c:pt idx="1053">
                  <c:v>648.67907423890017</c:v>
                </c:pt>
                <c:pt idx="1054">
                  <c:v>673.20329974267099</c:v>
                </c:pt>
                <c:pt idx="1055">
                  <c:v>660.44990695948809</c:v>
                </c:pt>
                <c:pt idx="1056">
                  <c:v>656.78988482867419</c:v>
                </c:pt>
                <c:pt idx="1057">
                  <c:v>632.66882177530306</c:v>
                </c:pt>
                <c:pt idx="1058">
                  <c:v>649.7409572585326</c:v>
                </c:pt>
                <c:pt idx="1059">
                  <c:v>642.37287202616653</c:v>
                </c:pt>
                <c:pt idx="1060">
                  <c:v>636.10663139576786</c:v>
                </c:pt>
                <c:pt idx="1061">
                  <c:v>647.48438486533598</c:v>
                </c:pt>
                <c:pt idx="1062">
                  <c:v>641.34466695522076</c:v>
                </c:pt>
                <c:pt idx="1063">
                  <c:v>653.62825378103764</c:v>
                </c:pt>
                <c:pt idx="1064">
                  <c:v>655.33575145362568</c:v>
                </c:pt>
                <c:pt idx="1065">
                  <c:v>663.15085379948675</c:v>
                </c:pt>
                <c:pt idx="1066">
                  <c:v>664.98455091003166</c:v>
                </c:pt>
                <c:pt idx="1067">
                  <c:v>652.57403234571666</c:v>
                </c:pt>
                <c:pt idx="1068">
                  <c:v>656.42320501857125</c:v>
                </c:pt>
                <c:pt idx="1069">
                  <c:v>663.57392291080146</c:v>
                </c:pt>
                <c:pt idx="1070">
                  <c:v>656.922563499837</c:v>
                </c:pt>
                <c:pt idx="1071">
                  <c:v>689.27591607449995</c:v>
                </c:pt>
                <c:pt idx="1072">
                  <c:v>663.50631762317096</c:v>
                </c:pt>
                <c:pt idx="1073">
                  <c:v>658.84536586365653</c:v>
                </c:pt>
                <c:pt idx="1074">
                  <c:v>667.61806180267445</c:v>
                </c:pt>
                <c:pt idx="1075">
                  <c:v>694.02427098175644</c:v>
                </c:pt>
                <c:pt idx="1076">
                  <c:v>719.35876036781292</c:v>
                </c:pt>
                <c:pt idx="1077">
                  <c:v>657.19471070050895</c:v>
                </c:pt>
                <c:pt idx="1078">
                  <c:v>670.09342816919661</c:v>
                </c:pt>
                <c:pt idx="1079">
                  <c:v>656.84540765193776</c:v>
                </c:pt>
                <c:pt idx="1080">
                  <c:v>659.48940410653961</c:v>
                </c:pt>
                <c:pt idx="1081">
                  <c:v>677.94166162782096</c:v>
                </c:pt>
                <c:pt idx="1082">
                  <c:v>666.45634056298911</c:v>
                </c:pt>
                <c:pt idx="1083">
                  <c:v>679.08337488340624</c:v>
                </c:pt>
                <c:pt idx="1084">
                  <c:v>827.98925515957944</c:v>
                </c:pt>
                <c:pt idx="1085">
                  <c:v>848.64551039944899</c:v>
                </c:pt>
                <c:pt idx="1086">
                  <c:v>698.68086161677968</c:v>
                </c:pt>
                <c:pt idx="1087">
                  <c:v>689.05619526824512</c:v>
                </c:pt>
                <c:pt idx="1088">
                  <c:v>649.45827062112278</c:v>
                </c:pt>
                <c:pt idx="1089">
                  <c:v>642.15123513211654</c:v>
                </c:pt>
                <c:pt idx="1090">
                  <c:v>636.09389954307244</c:v>
                </c:pt>
                <c:pt idx="1091">
                  <c:v>639.2928477348471</c:v>
                </c:pt>
                <c:pt idx="1092">
                  <c:v>648.7811806387723</c:v>
                </c:pt>
                <c:pt idx="1093">
                  <c:v>643.44016812212578</c:v>
                </c:pt>
                <c:pt idx="1094">
                  <c:v>644.74772973755262</c:v>
                </c:pt>
                <c:pt idx="1095">
                  <c:v>647.97020945054248</c:v>
                </c:pt>
              </c:numCache>
            </c:numRef>
          </c:yVal>
          <c:smooth val="0"/>
          <c:extLst>
            <c:ext xmlns:c16="http://schemas.microsoft.com/office/drawing/2014/chart" uri="{C3380CC4-5D6E-409C-BE32-E72D297353CC}">
              <c16:uniqueId val="{00000000-99F0-4978-B986-BA6743D66CAD}"/>
            </c:ext>
          </c:extLst>
        </c:ser>
        <c:dLbls>
          <c:showLegendKey val="0"/>
          <c:showVal val="0"/>
          <c:showCatName val="0"/>
          <c:showSerName val="0"/>
          <c:showPercent val="0"/>
          <c:showBubbleSize val="0"/>
        </c:dLbls>
        <c:axId val="1326885599"/>
        <c:axId val="1326887679"/>
      </c:scatterChart>
      <c:valAx>
        <c:axId val="1326885599"/>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87679"/>
        <c:crosses val="autoZero"/>
        <c:crossBetween val="midCat"/>
      </c:valAx>
      <c:valAx>
        <c:axId val="1326887679"/>
        <c:scaling>
          <c:orientation val="minMax"/>
          <c:max val="660"/>
          <c:min val="62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85599"/>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06748466257669"/>
          <c:y val="8.4863523573200997E-2"/>
          <c:w val="0.79386503067484659"/>
          <c:h val="0.88933002481389578"/>
        </c:manualLayout>
      </c:layout>
      <c:barChart>
        <c:barDir val="col"/>
        <c:grouping val="stacked"/>
        <c:varyColors val="0"/>
        <c:ser>
          <c:idx val="0"/>
          <c:order val="0"/>
          <c:spPr>
            <a:solidFill>
              <a:schemeClr val="accent1"/>
            </a:solidFill>
            <a:ln>
              <a:noFill/>
            </a:ln>
          </c:spPr>
          <c:invertIfNegative val="0"/>
          <c:dLbls>
            <c:dLbl>
              <c:idx val="0"/>
              <c:layout>
                <c:manualLayout>
                  <c:x val="0"/>
                  <c:y val="-0.48684863523573202"/>
                </c:manualLayout>
              </c:layout>
              <c:tx>
                <c:rich>
                  <a:bodyPr wrap="none"/>
                  <a:lstStyle/>
                  <a:p>
                    <a:pPr>
                      <a:defRPr sz="1500" kern="1200">
                        <a:solidFill>
                          <a:schemeClr val="tx1"/>
                        </a:solidFill>
                        <a:latin typeface="Trebuchet MS"/>
                        <a:ea typeface="+mn-ea"/>
                        <a:cs typeface="+mn-cs"/>
                      </a:defRPr>
                    </a:pPr>
                    <a:r>
                      <a:rPr lang="en-US" dirty="0"/>
                      <a:t>2631</a:t>
                    </a:r>
                  </a:p>
                </c:rich>
              </c:tx>
              <c:numFmt formatCode="0.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2FD-4D34-AC8B-0FE1440F3A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4500000000000002</c:v>
                </c:pt>
              </c:numCache>
            </c:numRef>
          </c:val>
          <c:extLst>
            <c:ext xmlns:c16="http://schemas.microsoft.com/office/drawing/2014/chart" uri="{C3380CC4-5D6E-409C-BE32-E72D297353CC}">
              <c16:uniqueId val="{00000001-92FD-4D34-AC8B-0FE1440F3A24}"/>
            </c:ext>
          </c:extLst>
        </c:ser>
        <c:dLbls>
          <c:showLegendKey val="0"/>
          <c:showVal val="0"/>
          <c:showCatName val="0"/>
          <c:showSerName val="0"/>
          <c:showPercent val="0"/>
          <c:showBubbleSize val="0"/>
        </c:dLbls>
        <c:gapWidth val="80"/>
        <c:overlap val="100"/>
        <c:axId val="1988434576"/>
        <c:axId val="1988407376"/>
      </c:barChart>
      <c:catAx>
        <c:axId val="1988434576"/>
        <c:scaling>
          <c:orientation val="minMax"/>
        </c:scaling>
        <c:delete val="1"/>
        <c:axPos val="b"/>
        <c:majorTickMark val="out"/>
        <c:minorTickMark val="none"/>
        <c:tickLblPos val="nextTo"/>
        <c:crossAx val="1988407376"/>
        <c:crosses val="min"/>
        <c:auto val="0"/>
        <c:lblAlgn val="ctr"/>
        <c:lblOffset val="100"/>
        <c:noMultiLvlLbl val="0"/>
      </c:catAx>
      <c:valAx>
        <c:axId val="1988407376"/>
        <c:scaling>
          <c:orientation val="minMax"/>
          <c:max val="2.4500000000000002"/>
          <c:min val="0"/>
        </c:scaling>
        <c:delete val="1"/>
        <c:axPos val="l"/>
        <c:numFmt formatCode="General" sourceLinked="1"/>
        <c:majorTickMark val="out"/>
        <c:minorTickMark val="none"/>
        <c:tickLblPos val="nextTo"/>
        <c:crossAx val="1988434576"/>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N</a:t>
            </a:r>
            <a:r>
              <a:rPr lang="en-US" baseline="-25000" dirty="0" smtClean="0"/>
              <a:t>2</a:t>
            </a:r>
            <a:r>
              <a:rPr lang="en-US" dirty="0" smtClean="0"/>
              <a:t>(Nm3) v/s C in Input Energy(Kcal) </a:t>
            </a:r>
            <a:endParaRPr lang="en-US" dirty="0"/>
          </a:p>
        </c:rich>
      </c:tx>
      <c:layout>
        <c:manualLayout>
          <c:xMode val="edge"/>
          <c:yMode val="edge"/>
          <c:x val="0.18794088885613369"/>
          <c:y val="0.10092525150162038"/>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W$1:$AW$2</c:f>
              <c:strCache>
                <c:ptCount val="2"/>
                <c:pt idx="0">
                  <c:v>N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F$3:$AF$1131</c:f>
              <c:numCache>
                <c:formatCode>0.00</c:formatCode>
                <c:ptCount val="1129"/>
                <c:pt idx="0">
                  <c:v>3636725.2757284632</c:v>
                </c:pt>
                <c:pt idx="1">
                  <c:v>3599554.9799319329</c:v>
                </c:pt>
                <c:pt idx="2">
                  <c:v>3609808.3459291705</c:v>
                </c:pt>
                <c:pt idx="3">
                  <c:v>3572360.5549783679</c:v>
                </c:pt>
                <c:pt idx="4">
                  <c:v>3607894.8230633144</c:v>
                </c:pt>
                <c:pt idx="5">
                  <c:v>3631294.8665722902</c:v>
                </c:pt>
                <c:pt idx="6">
                  <c:v>3739678.0390270962</c:v>
                </c:pt>
                <c:pt idx="7">
                  <c:v>3632784.0637022671</c:v>
                </c:pt>
                <c:pt idx="8">
                  <c:v>3629483.9254891337</c:v>
                </c:pt>
                <c:pt idx="9">
                  <c:v>3642200.5912040924</c:v>
                </c:pt>
                <c:pt idx="10">
                  <c:v>3608023.7351989979</c:v>
                </c:pt>
                <c:pt idx="11">
                  <c:v>3628947.982823391</c:v>
                </c:pt>
                <c:pt idx="12">
                  <c:v>3651156.1117609339</c:v>
                </c:pt>
                <c:pt idx="13">
                  <c:v>3731198.7660904517</c:v>
                </c:pt>
                <c:pt idx="14">
                  <c:v>3668005.1057057073</c:v>
                </c:pt>
                <c:pt idx="15">
                  <c:v>3615147.7832901292</c:v>
                </c:pt>
                <c:pt idx="16">
                  <c:v>3614153.1898455266</c:v>
                </c:pt>
                <c:pt idx="17">
                  <c:v>3686126.3295556107</c:v>
                </c:pt>
                <c:pt idx="18">
                  <c:v>3700858.2046743003</c:v>
                </c:pt>
                <c:pt idx="19">
                  <c:v>3655977.3044621851</c:v>
                </c:pt>
                <c:pt idx="20">
                  <c:v>3640996.8800112549</c:v>
                </c:pt>
                <c:pt idx="21">
                  <c:v>3614227.2552205171</c:v>
                </c:pt>
                <c:pt idx="22">
                  <c:v>3618793.6185410097</c:v>
                </c:pt>
                <c:pt idx="23">
                  <c:v>3657911.5781089212</c:v>
                </c:pt>
                <c:pt idx="24">
                  <c:v>2067115.5445801036</c:v>
                </c:pt>
                <c:pt idx="25">
                  <c:v>2104954.2204692462</c:v>
                </c:pt>
                <c:pt idx="26">
                  <c:v>3730395.3996310416</c:v>
                </c:pt>
                <c:pt idx="27">
                  <c:v>3724426.4708718224</c:v>
                </c:pt>
                <c:pt idx="28">
                  <c:v>3664540.9017959628</c:v>
                </c:pt>
                <c:pt idx="29">
                  <c:v>3708425.514343671</c:v>
                </c:pt>
                <c:pt idx="30">
                  <c:v>3699632.0017941617</c:v>
                </c:pt>
                <c:pt idx="31">
                  <c:v>3634956.3075154615</c:v>
                </c:pt>
                <c:pt idx="32">
                  <c:v>3666547.7633475489</c:v>
                </c:pt>
                <c:pt idx="33">
                  <c:v>3667470.1227976852</c:v>
                </c:pt>
                <c:pt idx="34">
                  <c:v>3728347.5408095159</c:v>
                </c:pt>
                <c:pt idx="35">
                  <c:v>1971566.1121476039</c:v>
                </c:pt>
                <c:pt idx="36">
                  <c:v>2011153.4021329361</c:v>
                </c:pt>
                <c:pt idx="37">
                  <c:v>3696983.6360937878</c:v>
                </c:pt>
                <c:pt idx="38">
                  <c:v>3663536.3503362406</c:v>
                </c:pt>
                <c:pt idx="39">
                  <c:v>3676599.2978546266</c:v>
                </c:pt>
                <c:pt idx="40">
                  <c:v>3655525.3015373917</c:v>
                </c:pt>
                <c:pt idx="41">
                  <c:v>3709708.4756910126</c:v>
                </c:pt>
                <c:pt idx="42">
                  <c:v>3763070.5293486952</c:v>
                </c:pt>
                <c:pt idx="43">
                  <c:v>3817618.5428384836</c:v>
                </c:pt>
                <c:pt idx="44">
                  <c:v>3831417.5072102337</c:v>
                </c:pt>
                <c:pt idx="45">
                  <c:v>4766912.1219277252</c:v>
                </c:pt>
                <c:pt idx="46">
                  <c:v>4398069.9828176191</c:v>
                </c:pt>
                <c:pt idx="47">
                  <c:v>3782653.0755211646</c:v>
                </c:pt>
                <c:pt idx="48">
                  <c:v>3723489.0856501549</c:v>
                </c:pt>
                <c:pt idx="49">
                  <c:v>3711459.0600004941</c:v>
                </c:pt>
                <c:pt idx="50">
                  <c:v>3737754.4592644833</c:v>
                </c:pt>
                <c:pt idx="51">
                  <c:v>3732002.5293831024</c:v>
                </c:pt>
                <c:pt idx="52">
                  <c:v>3718384.8066014205</c:v>
                </c:pt>
                <c:pt idx="53">
                  <c:v>3661072.3587299935</c:v>
                </c:pt>
                <c:pt idx="54">
                  <c:v>3661628.4411358815</c:v>
                </c:pt>
                <c:pt idx="55">
                  <c:v>3659070.0137464642</c:v>
                </c:pt>
                <c:pt idx="56">
                  <c:v>3650612.1582813361</c:v>
                </c:pt>
                <c:pt idx="57">
                  <c:v>3734074.8030980215</c:v>
                </c:pt>
                <c:pt idx="58">
                  <c:v>3706243.1065658219</c:v>
                </c:pt>
                <c:pt idx="59">
                  <c:v>3716571.5204224302</c:v>
                </c:pt>
                <c:pt idx="60">
                  <c:v>3633669.5626494614</c:v>
                </c:pt>
                <c:pt idx="61">
                  <c:v>3653873.5911605889</c:v>
                </c:pt>
                <c:pt idx="62">
                  <c:v>3638118.9616075978</c:v>
                </c:pt>
                <c:pt idx="63">
                  <c:v>3637074.4066561386</c:v>
                </c:pt>
                <c:pt idx="64">
                  <c:v>3672912.8248326103</c:v>
                </c:pt>
                <c:pt idx="65">
                  <c:v>3650980.9015184711</c:v>
                </c:pt>
                <c:pt idx="66">
                  <c:v>3658136.1498483303</c:v>
                </c:pt>
                <c:pt idx="67">
                  <c:v>3689569.3040010771</c:v>
                </c:pt>
                <c:pt idx="68">
                  <c:v>3742871.3103459394</c:v>
                </c:pt>
                <c:pt idx="69">
                  <c:v>3779953.5952627645</c:v>
                </c:pt>
                <c:pt idx="70">
                  <c:v>3699046.8494161796</c:v>
                </c:pt>
                <c:pt idx="71">
                  <c:v>3724418.8214752376</c:v>
                </c:pt>
                <c:pt idx="72">
                  <c:v>3694732.1851235051</c:v>
                </c:pt>
                <c:pt idx="73">
                  <c:v>3642520.8305090512</c:v>
                </c:pt>
                <c:pt idx="74">
                  <c:v>3675551.442976844</c:v>
                </c:pt>
                <c:pt idx="75">
                  <c:v>3658364.8784052231</c:v>
                </c:pt>
                <c:pt idx="76">
                  <c:v>3633247.3003638159</c:v>
                </c:pt>
                <c:pt idx="77">
                  <c:v>3621774.389869872</c:v>
                </c:pt>
                <c:pt idx="78">
                  <c:v>3636894.9299929021</c:v>
                </c:pt>
                <c:pt idx="79">
                  <c:v>3638636.9833716066</c:v>
                </c:pt>
                <c:pt idx="80">
                  <c:v>3625281.9145060657</c:v>
                </c:pt>
                <c:pt idx="81">
                  <c:v>3671913.86306663</c:v>
                </c:pt>
                <c:pt idx="82">
                  <c:v>3652550.3242538101</c:v>
                </c:pt>
                <c:pt idx="83">
                  <c:v>3671228.9705203655</c:v>
                </c:pt>
                <c:pt idx="84">
                  <c:v>3741563.5259570447</c:v>
                </c:pt>
                <c:pt idx="85">
                  <c:v>3718969.0228939303</c:v>
                </c:pt>
                <c:pt idx="86">
                  <c:v>3695943.3136921288</c:v>
                </c:pt>
                <c:pt idx="87">
                  <c:v>3668945.8497910914</c:v>
                </c:pt>
                <c:pt idx="88">
                  <c:v>3659784.7781994231</c:v>
                </c:pt>
                <c:pt idx="89">
                  <c:v>3663501.822771227</c:v>
                </c:pt>
                <c:pt idx="90">
                  <c:v>3662326.1323074368</c:v>
                </c:pt>
                <c:pt idx="91">
                  <c:v>3671968.9706553263</c:v>
                </c:pt>
                <c:pt idx="92">
                  <c:v>3662841.4806098449</c:v>
                </c:pt>
                <c:pt idx="93">
                  <c:v>3602338.165188645</c:v>
                </c:pt>
                <c:pt idx="94">
                  <c:v>3658206.4339472251</c:v>
                </c:pt>
                <c:pt idx="95">
                  <c:v>3666016.5607227753</c:v>
                </c:pt>
                <c:pt idx="96">
                  <c:v>3652381.3162052343</c:v>
                </c:pt>
                <c:pt idx="97">
                  <c:v>3692220.8624967672</c:v>
                </c:pt>
                <c:pt idx="98">
                  <c:v>3659516.5391145428</c:v>
                </c:pt>
                <c:pt idx="99">
                  <c:v>3715317.5701302122</c:v>
                </c:pt>
                <c:pt idx="100">
                  <c:v>3688610.0193220093</c:v>
                </c:pt>
                <c:pt idx="101">
                  <c:v>3655394.5727618202</c:v>
                </c:pt>
                <c:pt idx="102">
                  <c:v>3658043.5272280029</c:v>
                </c:pt>
                <c:pt idx="103">
                  <c:v>3661054.2088660044</c:v>
                </c:pt>
                <c:pt idx="104">
                  <c:v>3710501.6164808851</c:v>
                </c:pt>
                <c:pt idx="105">
                  <c:v>3741788.6065936033</c:v>
                </c:pt>
                <c:pt idx="106">
                  <c:v>3696415.5349200452</c:v>
                </c:pt>
                <c:pt idx="107">
                  <c:v>3660611.5576120899</c:v>
                </c:pt>
                <c:pt idx="108">
                  <c:v>3672086.0232971478</c:v>
                </c:pt>
                <c:pt idx="109">
                  <c:v>3691158.9899610025</c:v>
                </c:pt>
                <c:pt idx="110">
                  <c:v>3641332.5140728797</c:v>
                </c:pt>
                <c:pt idx="111">
                  <c:v>3672675.3506024573</c:v>
                </c:pt>
                <c:pt idx="112">
                  <c:v>3697834.9903338463</c:v>
                </c:pt>
                <c:pt idx="113">
                  <c:v>3742394.8376688915</c:v>
                </c:pt>
                <c:pt idx="114">
                  <c:v>3688444.064316263</c:v>
                </c:pt>
                <c:pt idx="115">
                  <c:v>3708067.4196261321</c:v>
                </c:pt>
                <c:pt idx="116">
                  <c:v>3667288.5402063034</c:v>
                </c:pt>
                <c:pt idx="117">
                  <c:v>3697720.44036204</c:v>
                </c:pt>
                <c:pt idx="118">
                  <c:v>3671128.6331191212</c:v>
                </c:pt>
                <c:pt idx="119">
                  <c:v>3726047.9222088717</c:v>
                </c:pt>
                <c:pt idx="120">
                  <c:v>3677741.3213894633</c:v>
                </c:pt>
                <c:pt idx="121">
                  <c:v>3736855.9217521888</c:v>
                </c:pt>
                <c:pt idx="122">
                  <c:v>3730909.1368409409</c:v>
                </c:pt>
                <c:pt idx="123">
                  <c:v>3706576.1701108688</c:v>
                </c:pt>
                <c:pt idx="124">
                  <c:v>3702341.238797198</c:v>
                </c:pt>
                <c:pt idx="125">
                  <c:v>3699785.0516473888</c:v>
                </c:pt>
                <c:pt idx="126">
                  <c:v>3652185.3826875016</c:v>
                </c:pt>
                <c:pt idx="127">
                  <c:v>3628744.819542313</c:v>
                </c:pt>
                <c:pt idx="128">
                  <c:v>3692888.1130849286</c:v>
                </c:pt>
                <c:pt idx="129">
                  <c:v>3646966.392910263</c:v>
                </c:pt>
                <c:pt idx="130">
                  <c:v>3638788.3158924533</c:v>
                </c:pt>
                <c:pt idx="131">
                  <c:v>3721601.4956998886</c:v>
                </c:pt>
                <c:pt idx="132">
                  <c:v>3693408.3198319995</c:v>
                </c:pt>
                <c:pt idx="133">
                  <c:v>3696552.383513567</c:v>
                </c:pt>
                <c:pt idx="134">
                  <c:v>3733638.3820162015</c:v>
                </c:pt>
                <c:pt idx="135">
                  <c:v>3704615.3290334647</c:v>
                </c:pt>
                <c:pt idx="136">
                  <c:v>3634863.7577509475</c:v>
                </c:pt>
                <c:pt idx="137">
                  <c:v>3702807.8384281695</c:v>
                </c:pt>
                <c:pt idx="138">
                  <c:v>3709652.1775636706</c:v>
                </c:pt>
                <c:pt idx="139">
                  <c:v>3692684.2984749009</c:v>
                </c:pt>
                <c:pt idx="140">
                  <c:v>3770277.1727890298</c:v>
                </c:pt>
                <c:pt idx="141">
                  <c:v>3938967.0457082535</c:v>
                </c:pt>
                <c:pt idx="142">
                  <c:v>4102785.6661544088</c:v>
                </c:pt>
                <c:pt idx="143">
                  <c:v>4142154.7922206162</c:v>
                </c:pt>
                <c:pt idx="144">
                  <c:v>5747129.4791646376</c:v>
                </c:pt>
                <c:pt idx="145">
                  <c:v>0</c:v>
                </c:pt>
                <c:pt idx="146">
                  <c:v>0</c:v>
                </c:pt>
                <c:pt idx="147">
                  <c:v>0</c:v>
                </c:pt>
                <c:pt idx="148">
                  <c:v>0</c:v>
                </c:pt>
                <c:pt idx="149">
                  <c:v>0</c:v>
                </c:pt>
                <c:pt idx="150">
                  <c:v>4167294.3332040203</c:v>
                </c:pt>
                <c:pt idx="151">
                  <c:v>3716449.3523203256</c:v>
                </c:pt>
                <c:pt idx="152">
                  <c:v>3629393.7869651434</c:v>
                </c:pt>
                <c:pt idx="153">
                  <c:v>3640764.8191606831</c:v>
                </c:pt>
                <c:pt idx="154">
                  <c:v>2061144.5371636748</c:v>
                </c:pt>
                <c:pt idx="155">
                  <c:v>3678633.9659623951</c:v>
                </c:pt>
                <c:pt idx="156">
                  <c:v>3669018.546475023</c:v>
                </c:pt>
                <c:pt idx="157">
                  <c:v>3669555.5372643913</c:v>
                </c:pt>
                <c:pt idx="158">
                  <c:v>3702001.4951343806</c:v>
                </c:pt>
                <c:pt idx="159">
                  <c:v>3714913.8022081279</c:v>
                </c:pt>
                <c:pt idx="160">
                  <c:v>3723786.7010964141</c:v>
                </c:pt>
                <c:pt idx="161">
                  <c:v>3769431.4268661458</c:v>
                </c:pt>
                <c:pt idx="162">
                  <c:v>3766308.6494619241</c:v>
                </c:pt>
                <c:pt idx="163">
                  <c:v>3709442.4138614866</c:v>
                </c:pt>
                <c:pt idx="164">
                  <c:v>3644106.9598706351</c:v>
                </c:pt>
                <c:pt idx="165">
                  <c:v>3644509.2044297834</c:v>
                </c:pt>
                <c:pt idx="166">
                  <c:v>3693774.2881647763</c:v>
                </c:pt>
                <c:pt idx="167">
                  <c:v>3689438.4555126685</c:v>
                </c:pt>
                <c:pt idx="168">
                  <c:v>3703498.5298011703</c:v>
                </c:pt>
                <c:pt idx="169">
                  <c:v>3675112.0159442625</c:v>
                </c:pt>
                <c:pt idx="170">
                  <c:v>3758562.2158194091</c:v>
                </c:pt>
                <c:pt idx="171">
                  <c:v>3786971.2699658391</c:v>
                </c:pt>
                <c:pt idx="172">
                  <c:v>3758724.3091260022</c:v>
                </c:pt>
                <c:pt idx="173">
                  <c:v>3768268.2416939391</c:v>
                </c:pt>
                <c:pt idx="174">
                  <c:v>3762814.6993430876</c:v>
                </c:pt>
                <c:pt idx="175">
                  <c:v>3800361.6710024192</c:v>
                </c:pt>
                <c:pt idx="176">
                  <c:v>3859480.9931617328</c:v>
                </c:pt>
                <c:pt idx="177">
                  <c:v>3871045.5903360192</c:v>
                </c:pt>
                <c:pt idx="178">
                  <c:v>3754128.7550232434</c:v>
                </c:pt>
                <c:pt idx="179">
                  <c:v>3791698.1228064895</c:v>
                </c:pt>
                <c:pt idx="180">
                  <c:v>3721497.9210363138</c:v>
                </c:pt>
                <c:pt idx="181">
                  <c:v>3698189.2533857063</c:v>
                </c:pt>
                <c:pt idx="182">
                  <c:v>3691084.0470527764</c:v>
                </c:pt>
                <c:pt idx="183">
                  <c:v>3696726.0298118521</c:v>
                </c:pt>
                <c:pt idx="184">
                  <c:v>3729636.0766733508</c:v>
                </c:pt>
                <c:pt idx="185">
                  <c:v>3733006.8746337695</c:v>
                </c:pt>
                <c:pt idx="186">
                  <c:v>3735669.988498576</c:v>
                </c:pt>
                <c:pt idx="187">
                  <c:v>3740910.3762075203</c:v>
                </c:pt>
                <c:pt idx="188">
                  <c:v>3716130.5434619058</c:v>
                </c:pt>
                <c:pt idx="189">
                  <c:v>3707286.9232113524</c:v>
                </c:pt>
                <c:pt idx="190">
                  <c:v>3729966.0945485346</c:v>
                </c:pt>
                <c:pt idx="191">
                  <c:v>3736315.9036329403</c:v>
                </c:pt>
                <c:pt idx="192">
                  <c:v>3687333.9632061655</c:v>
                </c:pt>
                <c:pt idx="193">
                  <c:v>3703374.1284489939</c:v>
                </c:pt>
                <c:pt idx="194">
                  <c:v>3720946.494933316</c:v>
                </c:pt>
                <c:pt idx="195">
                  <c:v>3729422.0923228357</c:v>
                </c:pt>
                <c:pt idx="196">
                  <c:v>3719113.5650787279</c:v>
                </c:pt>
                <c:pt idx="197">
                  <c:v>3705789.587576746</c:v>
                </c:pt>
                <c:pt idx="198">
                  <c:v>3707743.6707377704</c:v>
                </c:pt>
                <c:pt idx="199">
                  <c:v>3685870.0503740995</c:v>
                </c:pt>
                <c:pt idx="200">
                  <c:v>3756800.6604999644</c:v>
                </c:pt>
                <c:pt idx="201">
                  <c:v>3768648.7891474529</c:v>
                </c:pt>
                <c:pt idx="202">
                  <c:v>3759583.6874081902</c:v>
                </c:pt>
                <c:pt idx="203">
                  <c:v>3741459.00726688</c:v>
                </c:pt>
                <c:pt idx="204">
                  <c:v>3694993.6504276358</c:v>
                </c:pt>
                <c:pt idx="205">
                  <c:v>3721759.3402429842</c:v>
                </c:pt>
                <c:pt idx="206">
                  <c:v>3773209.4865708719</c:v>
                </c:pt>
                <c:pt idx="207">
                  <c:v>3760246.1823556679</c:v>
                </c:pt>
                <c:pt idx="208">
                  <c:v>3691879.4947398058</c:v>
                </c:pt>
                <c:pt idx="209">
                  <c:v>3698722.3140867674</c:v>
                </c:pt>
                <c:pt idx="210">
                  <c:v>3685768.9078071811</c:v>
                </c:pt>
                <c:pt idx="211">
                  <c:v>3748923.1580553418</c:v>
                </c:pt>
                <c:pt idx="212">
                  <c:v>3755958.0733039551</c:v>
                </c:pt>
                <c:pt idx="213">
                  <c:v>3746103.6309745843</c:v>
                </c:pt>
                <c:pt idx="214">
                  <c:v>3817097.0892792898</c:v>
                </c:pt>
                <c:pt idx="215">
                  <c:v>3723295.5996033084</c:v>
                </c:pt>
                <c:pt idx="216">
                  <c:v>3682509.1627454371</c:v>
                </c:pt>
                <c:pt idx="217">
                  <c:v>3762143.6063095434</c:v>
                </c:pt>
                <c:pt idx="218">
                  <c:v>3707676.6149299266</c:v>
                </c:pt>
                <c:pt idx="219">
                  <c:v>3920264.177571109</c:v>
                </c:pt>
                <c:pt idx="220">
                  <c:v>3649315.3106658524</c:v>
                </c:pt>
                <c:pt idx="221">
                  <c:v>3704865.497024578</c:v>
                </c:pt>
                <c:pt idx="222">
                  <c:v>3686856.5203808215</c:v>
                </c:pt>
                <c:pt idx="223">
                  <c:v>3679534.1368863997</c:v>
                </c:pt>
                <c:pt idx="224">
                  <c:v>3649334.9687494626</c:v>
                </c:pt>
                <c:pt idx="225">
                  <c:v>3643437.2015950712</c:v>
                </c:pt>
                <c:pt idx="226">
                  <c:v>3690416.6935861153</c:v>
                </c:pt>
                <c:pt idx="227">
                  <c:v>3644749.8507941798</c:v>
                </c:pt>
                <c:pt idx="228">
                  <c:v>3687455.9099363135</c:v>
                </c:pt>
                <c:pt idx="229">
                  <c:v>3650770.0271825194</c:v>
                </c:pt>
                <c:pt idx="230">
                  <c:v>3721607.3025792367</c:v>
                </c:pt>
                <c:pt idx="231">
                  <c:v>3705676.4040733106</c:v>
                </c:pt>
                <c:pt idx="232">
                  <c:v>3757062.5169323245</c:v>
                </c:pt>
                <c:pt idx="233">
                  <c:v>3703509.2070043148</c:v>
                </c:pt>
                <c:pt idx="234">
                  <c:v>3705596.0566618401</c:v>
                </c:pt>
                <c:pt idx="235">
                  <c:v>3771943.2208844493</c:v>
                </c:pt>
                <c:pt idx="236">
                  <c:v>3744716.7240195214</c:v>
                </c:pt>
                <c:pt idx="237">
                  <c:v>3715696.3914244641</c:v>
                </c:pt>
                <c:pt idx="238">
                  <c:v>3753631.698519737</c:v>
                </c:pt>
                <c:pt idx="239">
                  <c:v>3727391.2507520607</c:v>
                </c:pt>
                <c:pt idx="240">
                  <c:v>3865590.3652158324</c:v>
                </c:pt>
                <c:pt idx="241">
                  <c:v>3903220.0098123299</c:v>
                </c:pt>
                <c:pt idx="242">
                  <c:v>3872417.4789317017</c:v>
                </c:pt>
                <c:pt idx="243">
                  <c:v>3861639.8248256748</c:v>
                </c:pt>
                <c:pt idx="244">
                  <c:v>3845251.0409187214</c:v>
                </c:pt>
                <c:pt idx="245">
                  <c:v>3948463.1037023501</c:v>
                </c:pt>
                <c:pt idx="246">
                  <c:v>4105791.7185303001</c:v>
                </c:pt>
                <c:pt idx="247">
                  <c:v>4143424.1988708377</c:v>
                </c:pt>
                <c:pt idx="248">
                  <c:v>3901973.7734034783</c:v>
                </c:pt>
                <c:pt idx="249">
                  <c:v>3898191.7790111681</c:v>
                </c:pt>
                <c:pt idx="250">
                  <c:v>3869709.2853047326</c:v>
                </c:pt>
                <c:pt idx="251">
                  <c:v>3962326.5466504879</c:v>
                </c:pt>
                <c:pt idx="252">
                  <c:v>3790035.2551633446</c:v>
                </c:pt>
                <c:pt idx="253">
                  <c:v>3814184.0971022774</c:v>
                </c:pt>
                <c:pt idx="254">
                  <c:v>3763950.401129507</c:v>
                </c:pt>
                <c:pt idx="255">
                  <c:v>3824299.606065982</c:v>
                </c:pt>
                <c:pt idx="256">
                  <c:v>3661608.2685144963</c:v>
                </c:pt>
                <c:pt idx="257">
                  <c:v>3667546.5077548227</c:v>
                </c:pt>
                <c:pt idx="258">
                  <c:v>3818706.9477761118</c:v>
                </c:pt>
                <c:pt idx="259">
                  <c:v>4204905.6071573971</c:v>
                </c:pt>
                <c:pt idx="260">
                  <c:v>4081387.9237215933</c:v>
                </c:pt>
                <c:pt idx="261">
                  <c:v>3867257.9562039562</c:v>
                </c:pt>
                <c:pt idx="262">
                  <c:v>3798485.1100451718</c:v>
                </c:pt>
                <c:pt idx="263">
                  <c:v>3815795.3870961405</c:v>
                </c:pt>
                <c:pt idx="264">
                  <c:v>3775326.3174497639</c:v>
                </c:pt>
                <c:pt idx="265">
                  <c:v>3764667.8261745851</c:v>
                </c:pt>
                <c:pt idx="266">
                  <c:v>3791165.2281378414</c:v>
                </c:pt>
                <c:pt idx="267">
                  <c:v>3924292.1689248369</c:v>
                </c:pt>
                <c:pt idx="268">
                  <c:v>3684841.3644898566</c:v>
                </c:pt>
                <c:pt idx="269">
                  <c:v>3684968.8197544408</c:v>
                </c:pt>
                <c:pt idx="270">
                  <c:v>3720522.530591168</c:v>
                </c:pt>
                <c:pt idx="271">
                  <c:v>3702392.6078846101</c:v>
                </c:pt>
                <c:pt idx="272">
                  <c:v>3675581.5493206545</c:v>
                </c:pt>
                <c:pt idx="273">
                  <c:v>3685831.592385924</c:v>
                </c:pt>
                <c:pt idx="274">
                  <c:v>3704622.4946993706</c:v>
                </c:pt>
                <c:pt idx="275">
                  <c:v>3731221.6866677571</c:v>
                </c:pt>
                <c:pt idx="276">
                  <c:v>3763709.8492120123</c:v>
                </c:pt>
                <c:pt idx="277">
                  <c:v>3772162.0011707107</c:v>
                </c:pt>
                <c:pt idx="278">
                  <c:v>3801849.8357984577</c:v>
                </c:pt>
                <c:pt idx="279">
                  <c:v>3711084.9501617914</c:v>
                </c:pt>
                <c:pt idx="280">
                  <c:v>3655901.0119506735</c:v>
                </c:pt>
                <c:pt idx="281">
                  <c:v>3656455.4581023459</c:v>
                </c:pt>
                <c:pt idx="282">
                  <c:v>3644035.2463784008</c:v>
                </c:pt>
                <c:pt idx="283">
                  <c:v>3667199.3912167046</c:v>
                </c:pt>
                <c:pt idx="284">
                  <c:v>3676724.4887682111</c:v>
                </c:pt>
                <c:pt idx="285">
                  <c:v>3718290.4355708444</c:v>
                </c:pt>
                <c:pt idx="286">
                  <c:v>3714443.8648923039</c:v>
                </c:pt>
                <c:pt idx="287">
                  <c:v>3732371.3691629856</c:v>
                </c:pt>
                <c:pt idx="288">
                  <c:v>3726182.4661783688</c:v>
                </c:pt>
                <c:pt idx="289">
                  <c:v>3789501.3246811186</c:v>
                </c:pt>
                <c:pt idx="290">
                  <c:v>3733885.4920488056</c:v>
                </c:pt>
                <c:pt idx="291">
                  <c:v>3822365.4319939176</c:v>
                </c:pt>
                <c:pt idx="292">
                  <c:v>3780428.1301562828</c:v>
                </c:pt>
                <c:pt idx="293">
                  <c:v>3809680.9757660627</c:v>
                </c:pt>
                <c:pt idx="294">
                  <c:v>3737369.9724313794</c:v>
                </c:pt>
                <c:pt idx="295">
                  <c:v>3704395.3039466352</c:v>
                </c:pt>
                <c:pt idx="296">
                  <c:v>3719525.4871688983</c:v>
                </c:pt>
                <c:pt idx="297">
                  <c:v>3723177.1232115421</c:v>
                </c:pt>
                <c:pt idx="298">
                  <c:v>3734501.7641911712</c:v>
                </c:pt>
                <c:pt idx="299">
                  <c:v>3777186.3165651788</c:v>
                </c:pt>
                <c:pt idx="300">
                  <c:v>3817047.0000808779</c:v>
                </c:pt>
                <c:pt idx="301">
                  <c:v>3750386.2894230718</c:v>
                </c:pt>
                <c:pt idx="302">
                  <c:v>3696375.8629378416</c:v>
                </c:pt>
                <c:pt idx="303">
                  <c:v>3707233.3383737267</c:v>
                </c:pt>
                <c:pt idx="304">
                  <c:v>3711823.1842924794</c:v>
                </c:pt>
                <c:pt idx="305">
                  <c:v>3651292.160003528</c:v>
                </c:pt>
                <c:pt idx="306">
                  <c:v>3693993.345481223</c:v>
                </c:pt>
                <c:pt idx="307">
                  <c:v>3720917.0257890676</c:v>
                </c:pt>
                <c:pt idx="308">
                  <c:v>3697268.9972696234</c:v>
                </c:pt>
                <c:pt idx="309">
                  <c:v>3704535.5667748856</c:v>
                </c:pt>
                <c:pt idx="310">
                  <c:v>3729044.5643403176</c:v>
                </c:pt>
                <c:pt idx="311">
                  <c:v>3693922.7696115319</c:v>
                </c:pt>
                <c:pt idx="312">
                  <c:v>3723437.9286002466</c:v>
                </c:pt>
                <c:pt idx="313">
                  <c:v>3727084.0648371959</c:v>
                </c:pt>
                <c:pt idx="314">
                  <c:v>3695351.8645677748</c:v>
                </c:pt>
                <c:pt idx="315">
                  <c:v>3702608.7918420411</c:v>
                </c:pt>
                <c:pt idx="316">
                  <c:v>3734377.5123805818</c:v>
                </c:pt>
                <c:pt idx="317">
                  <c:v>3744922.2107153302</c:v>
                </c:pt>
                <c:pt idx="318">
                  <c:v>3704791.8045828999</c:v>
                </c:pt>
                <c:pt idx="319">
                  <c:v>3685190.1744057187</c:v>
                </c:pt>
                <c:pt idx="320">
                  <c:v>3711161.0875091525</c:v>
                </c:pt>
                <c:pt idx="321">
                  <c:v>3678160.6665367484</c:v>
                </c:pt>
                <c:pt idx="322">
                  <c:v>3677061.8030221816</c:v>
                </c:pt>
                <c:pt idx="323">
                  <c:v>3686472.7405427988</c:v>
                </c:pt>
                <c:pt idx="324">
                  <c:v>3701081.8259653375</c:v>
                </c:pt>
                <c:pt idx="325">
                  <c:v>3657648.9326240332</c:v>
                </c:pt>
                <c:pt idx="326">
                  <c:v>3633947.6603104435</c:v>
                </c:pt>
                <c:pt idx="327">
                  <c:v>3615897.3878599135</c:v>
                </c:pt>
                <c:pt idx="328">
                  <c:v>3642460.1792038986</c:v>
                </c:pt>
                <c:pt idx="329">
                  <c:v>3655009.3633453092</c:v>
                </c:pt>
                <c:pt idx="330">
                  <c:v>3657588.18482946</c:v>
                </c:pt>
                <c:pt idx="331">
                  <c:v>3683913.8865420441</c:v>
                </c:pt>
                <c:pt idx="332">
                  <c:v>3678423.5963021531</c:v>
                </c:pt>
                <c:pt idx="333">
                  <c:v>3704605.0122211296</c:v>
                </c:pt>
                <c:pt idx="334">
                  <c:v>3948191.4938426269</c:v>
                </c:pt>
                <c:pt idx="335">
                  <c:v>3955327.9698025719</c:v>
                </c:pt>
                <c:pt idx="336">
                  <c:v>3698556.6276805112</c:v>
                </c:pt>
                <c:pt idx="337">
                  <c:v>3676058.4480851446</c:v>
                </c:pt>
                <c:pt idx="338">
                  <c:v>3643393.6039735656</c:v>
                </c:pt>
                <c:pt idx="339">
                  <c:v>3644250.1515839528</c:v>
                </c:pt>
                <c:pt idx="340">
                  <c:v>3642103.539085804</c:v>
                </c:pt>
                <c:pt idx="341">
                  <c:v>3608849.227214518</c:v>
                </c:pt>
                <c:pt idx="342">
                  <c:v>3672319.5272597992</c:v>
                </c:pt>
                <c:pt idx="343">
                  <c:v>3625928.5804126505</c:v>
                </c:pt>
                <c:pt idx="344">
                  <c:v>3632609.8503650771</c:v>
                </c:pt>
                <c:pt idx="345">
                  <c:v>3659201.4222905627</c:v>
                </c:pt>
                <c:pt idx="346">
                  <c:v>3652526.962174247</c:v>
                </c:pt>
                <c:pt idx="347">
                  <c:v>3628875.8466845029</c:v>
                </c:pt>
                <c:pt idx="348">
                  <c:v>3640695.0222209892</c:v>
                </c:pt>
                <c:pt idx="349">
                  <c:v>3633746.7557035936</c:v>
                </c:pt>
                <c:pt idx="350">
                  <c:v>3636899.9431807194</c:v>
                </c:pt>
                <c:pt idx="351">
                  <c:v>3594652.6336951652</c:v>
                </c:pt>
                <c:pt idx="352">
                  <c:v>3686041.3390832921</c:v>
                </c:pt>
                <c:pt idx="353">
                  <c:v>3686885.8182151685</c:v>
                </c:pt>
                <c:pt idx="354">
                  <c:v>3688878.7107534674</c:v>
                </c:pt>
                <c:pt idx="355">
                  <c:v>3709278.6678328933</c:v>
                </c:pt>
                <c:pt idx="356">
                  <c:v>3750650.9221443334</c:v>
                </c:pt>
                <c:pt idx="357">
                  <c:v>3699081.5642934102</c:v>
                </c:pt>
                <c:pt idx="358">
                  <c:v>3660487.4838165324</c:v>
                </c:pt>
                <c:pt idx="359">
                  <c:v>3664851.1088759312</c:v>
                </c:pt>
                <c:pt idx="360">
                  <c:v>3625748.2166036959</c:v>
                </c:pt>
                <c:pt idx="361">
                  <c:v>3621836.0278160996</c:v>
                </c:pt>
                <c:pt idx="362">
                  <c:v>3670232.9047827497</c:v>
                </c:pt>
                <c:pt idx="363">
                  <c:v>3753354.055068803</c:v>
                </c:pt>
                <c:pt idx="364">
                  <c:v>4134413.8008570843</c:v>
                </c:pt>
                <c:pt idx="365">
                  <c:v>3988123.189050925</c:v>
                </c:pt>
                <c:pt idx="366">
                  <c:v>3743431.9691233067</c:v>
                </c:pt>
                <c:pt idx="367">
                  <c:v>3633422.7316317395</c:v>
                </c:pt>
                <c:pt idx="368">
                  <c:v>3654284.4071141123</c:v>
                </c:pt>
                <c:pt idx="369">
                  <c:v>3607594.7946793297</c:v>
                </c:pt>
                <c:pt idx="370">
                  <c:v>3583042.8566776002</c:v>
                </c:pt>
                <c:pt idx="371">
                  <c:v>3581993.9759687386</c:v>
                </c:pt>
                <c:pt idx="372">
                  <c:v>3557823.5671005915</c:v>
                </c:pt>
                <c:pt idx="373">
                  <c:v>3595029.7896923572</c:v>
                </c:pt>
                <c:pt idx="374">
                  <c:v>3642799.9883324504</c:v>
                </c:pt>
                <c:pt idx="375">
                  <c:v>3650829.905768048</c:v>
                </c:pt>
                <c:pt idx="376">
                  <c:v>3666798.1982251615</c:v>
                </c:pt>
                <c:pt idx="377">
                  <c:v>3679868.576276599</c:v>
                </c:pt>
                <c:pt idx="378">
                  <c:v>3662094.727597273</c:v>
                </c:pt>
                <c:pt idx="379">
                  <c:v>3664554.1396126081</c:v>
                </c:pt>
                <c:pt idx="380">
                  <c:v>3585423.3394696452</c:v>
                </c:pt>
                <c:pt idx="381">
                  <c:v>3554495.3400537949</c:v>
                </c:pt>
                <c:pt idx="382">
                  <c:v>3601522.9988637357</c:v>
                </c:pt>
                <c:pt idx="383">
                  <c:v>3615864.0856795022</c:v>
                </c:pt>
                <c:pt idx="384">
                  <c:v>3586995.5852566515</c:v>
                </c:pt>
                <c:pt idx="385">
                  <c:v>3555291.029168406</c:v>
                </c:pt>
                <c:pt idx="386">
                  <c:v>3586014.848778402</c:v>
                </c:pt>
                <c:pt idx="387">
                  <c:v>3653887.9700747924</c:v>
                </c:pt>
                <c:pt idx="388">
                  <c:v>3600577.9923743638</c:v>
                </c:pt>
                <c:pt idx="389">
                  <c:v>3628883.3648341754</c:v>
                </c:pt>
                <c:pt idx="390">
                  <c:v>3628654.9477779646</c:v>
                </c:pt>
                <c:pt idx="391">
                  <c:v>3607247.6073492495</c:v>
                </c:pt>
                <c:pt idx="392">
                  <c:v>3612252.8374453555</c:v>
                </c:pt>
                <c:pt idx="393">
                  <c:v>3658321.3051502225</c:v>
                </c:pt>
                <c:pt idx="394">
                  <c:v>3608914.1191104641</c:v>
                </c:pt>
                <c:pt idx="395">
                  <c:v>3644441.8853893545</c:v>
                </c:pt>
                <c:pt idx="396">
                  <c:v>3634927.7563199606</c:v>
                </c:pt>
                <c:pt idx="397">
                  <c:v>3639972.7066302844</c:v>
                </c:pt>
                <c:pt idx="398">
                  <c:v>3660828.2592340694</c:v>
                </c:pt>
                <c:pt idx="399">
                  <c:v>3669979.7847752683</c:v>
                </c:pt>
                <c:pt idx="400">
                  <c:v>3659123.014905863</c:v>
                </c:pt>
                <c:pt idx="401">
                  <c:v>3633842.8887970494</c:v>
                </c:pt>
                <c:pt idx="402">
                  <c:v>3659028.8608642672</c:v>
                </c:pt>
                <c:pt idx="403">
                  <c:v>3690526.8057534806</c:v>
                </c:pt>
                <c:pt idx="404">
                  <c:v>3706697.9330843999</c:v>
                </c:pt>
                <c:pt idx="405">
                  <c:v>3719077.8544107671</c:v>
                </c:pt>
                <c:pt idx="406">
                  <c:v>3681375.404209069</c:v>
                </c:pt>
                <c:pt idx="407">
                  <c:v>3654667.8598599164</c:v>
                </c:pt>
                <c:pt idx="408">
                  <c:v>3698796.2474135263</c:v>
                </c:pt>
                <c:pt idx="409">
                  <c:v>3655150.8608984132</c:v>
                </c:pt>
                <c:pt idx="410">
                  <c:v>3671842.8781750104</c:v>
                </c:pt>
                <c:pt idx="411">
                  <c:v>3616759.4406998493</c:v>
                </c:pt>
                <c:pt idx="412">
                  <c:v>3688018.3810129059</c:v>
                </c:pt>
                <c:pt idx="413">
                  <c:v>3700136.8340838058</c:v>
                </c:pt>
                <c:pt idx="414">
                  <c:v>3664989.3738982552</c:v>
                </c:pt>
                <c:pt idx="415">
                  <c:v>3722642.3826119169</c:v>
                </c:pt>
                <c:pt idx="416">
                  <c:v>3790666.7622880135</c:v>
                </c:pt>
                <c:pt idx="417">
                  <c:v>3689051.2451085998</c:v>
                </c:pt>
                <c:pt idx="418">
                  <c:v>3669920.1164108329</c:v>
                </c:pt>
                <c:pt idx="419">
                  <c:v>3703064.3826568411</c:v>
                </c:pt>
                <c:pt idx="420">
                  <c:v>3698919.4570424738</c:v>
                </c:pt>
                <c:pt idx="421">
                  <c:v>3714816.3239380275</c:v>
                </c:pt>
                <c:pt idx="422">
                  <c:v>3716650.4363285024</c:v>
                </c:pt>
                <c:pt idx="423">
                  <c:v>3692659.9518451928</c:v>
                </c:pt>
                <c:pt idx="424">
                  <c:v>3708476.9252023986</c:v>
                </c:pt>
                <c:pt idx="425">
                  <c:v>3700607.3174472624</c:v>
                </c:pt>
                <c:pt idx="426">
                  <c:v>3650787.5358751444</c:v>
                </c:pt>
                <c:pt idx="427">
                  <c:v>3611731.9511851394</c:v>
                </c:pt>
                <c:pt idx="428">
                  <c:v>3635747.7853839495</c:v>
                </c:pt>
                <c:pt idx="429">
                  <c:v>3644553.0513900607</c:v>
                </c:pt>
                <c:pt idx="430">
                  <c:v>3686395.1874423157</c:v>
                </c:pt>
                <c:pt idx="431">
                  <c:v>3674301.6141573167</c:v>
                </c:pt>
                <c:pt idx="432">
                  <c:v>3669684.7293889667</c:v>
                </c:pt>
                <c:pt idx="433">
                  <c:v>3691793.7637911825</c:v>
                </c:pt>
                <c:pt idx="434">
                  <c:v>3712162.5497196256</c:v>
                </c:pt>
                <c:pt idx="435">
                  <c:v>3705142.6387856877</c:v>
                </c:pt>
                <c:pt idx="436">
                  <c:v>3686170.171614293</c:v>
                </c:pt>
                <c:pt idx="437">
                  <c:v>3676549.083186748</c:v>
                </c:pt>
                <c:pt idx="438">
                  <c:v>3669480.1729459474</c:v>
                </c:pt>
                <c:pt idx="439">
                  <c:v>3668559.1263510007</c:v>
                </c:pt>
                <c:pt idx="440">
                  <c:v>3718954.7337733763</c:v>
                </c:pt>
                <c:pt idx="441">
                  <c:v>3735514.663099735</c:v>
                </c:pt>
                <c:pt idx="442">
                  <c:v>3705071.1401171004</c:v>
                </c:pt>
                <c:pt idx="443">
                  <c:v>3656317.1425593831</c:v>
                </c:pt>
                <c:pt idx="444">
                  <c:v>3632969.3618134474</c:v>
                </c:pt>
                <c:pt idx="445">
                  <c:v>3597130.8608157686</c:v>
                </c:pt>
                <c:pt idx="446">
                  <c:v>3661508.9468650185</c:v>
                </c:pt>
                <c:pt idx="447">
                  <c:v>3682604.9325159988</c:v>
                </c:pt>
                <c:pt idx="448">
                  <c:v>3696444.2417502953</c:v>
                </c:pt>
                <c:pt idx="449">
                  <c:v>3701243.8306324212</c:v>
                </c:pt>
                <c:pt idx="450">
                  <c:v>3664440.5103301425</c:v>
                </c:pt>
                <c:pt idx="451">
                  <c:v>3654707.2161941691</c:v>
                </c:pt>
                <c:pt idx="452">
                  <c:v>3622596.0992038636</c:v>
                </c:pt>
                <c:pt idx="453">
                  <c:v>3689292.3271366674</c:v>
                </c:pt>
                <c:pt idx="454">
                  <c:v>3635444.1138908109</c:v>
                </c:pt>
                <c:pt idx="455">
                  <c:v>3595092.1144610494</c:v>
                </c:pt>
                <c:pt idx="456">
                  <c:v>3656060.5658649611</c:v>
                </c:pt>
                <c:pt idx="457">
                  <c:v>3693438.5213370067</c:v>
                </c:pt>
                <c:pt idx="458">
                  <c:v>3648973.3328490551</c:v>
                </c:pt>
                <c:pt idx="459">
                  <c:v>3653622.5612404635</c:v>
                </c:pt>
                <c:pt idx="460">
                  <c:v>3665961.4106624578</c:v>
                </c:pt>
                <c:pt idx="461">
                  <c:v>3659491.0607427857</c:v>
                </c:pt>
                <c:pt idx="462">
                  <c:v>3340668.1526251789</c:v>
                </c:pt>
                <c:pt idx="463">
                  <c:v>3351765.2636037883</c:v>
                </c:pt>
                <c:pt idx="464">
                  <c:v>3650121.4869452044</c:v>
                </c:pt>
                <c:pt idx="465">
                  <c:v>3684695.3083238164</c:v>
                </c:pt>
                <c:pt idx="466">
                  <c:v>3688119.1175969434</c:v>
                </c:pt>
                <c:pt idx="467">
                  <c:v>3936751.7128517688</c:v>
                </c:pt>
                <c:pt idx="468">
                  <c:v>5206522.2524066102</c:v>
                </c:pt>
                <c:pt idx="469">
                  <c:v>3838149.8800654882</c:v>
                </c:pt>
                <c:pt idx="470">
                  <c:v>3688691.9102313463</c:v>
                </c:pt>
                <c:pt idx="471">
                  <c:v>3654363.8626488564</c:v>
                </c:pt>
                <c:pt idx="472">
                  <c:v>3695193.5581568168</c:v>
                </c:pt>
                <c:pt idx="473">
                  <c:v>3690825.6777496589</c:v>
                </c:pt>
                <c:pt idx="474">
                  <c:v>3696027.4593807873</c:v>
                </c:pt>
                <c:pt idx="475">
                  <c:v>3702756.4350137832</c:v>
                </c:pt>
                <c:pt idx="476">
                  <c:v>3709784.9294887148</c:v>
                </c:pt>
                <c:pt idx="477">
                  <c:v>3682050.4938918343</c:v>
                </c:pt>
                <c:pt idx="478">
                  <c:v>3625813.4604493221</c:v>
                </c:pt>
                <c:pt idx="479">
                  <c:v>3680293.0521925976</c:v>
                </c:pt>
                <c:pt idx="480">
                  <c:v>3664707.4721694877</c:v>
                </c:pt>
                <c:pt idx="481">
                  <c:v>3684179.8035747712</c:v>
                </c:pt>
                <c:pt idx="482">
                  <c:v>3724492.4000904351</c:v>
                </c:pt>
                <c:pt idx="483">
                  <c:v>3743280.6519854683</c:v>
                </c:pt>
                <c:pt idx="484">
                  <c:v>3725447.0558664831</c:v>
                </c:pt>
                <c:pt idx="485">
                  <c:v>3689889.5792254671</c:v>
                </c:pt>
                <c:pt idx="486">
                  <c:v>3652206.7336364719</c:v>
                </c:pt>
                <c:pt idx="487">
                  <c:v>2086425.0997618143</c:v>
                </c:pt>
                <c:pt idx="488">
                  <c:v>3661950.8262995216</c:v>
                </c:pt>
                <c:pt idx="489">
                  <c:v>3692083.5533377118</c:v>
                </c:pt>
                <c:pt idx="490">
                  <c:v>3706940.3892593007</c:v>
                </c:pt>
                <c:pt idx="491">
                  <c:v>3729447.8960556188</c:v>
                </c:pt>
                <c:pt idx="492">
                  <c:v>3876630.669076493</c:v>
                </c:pt>
                <c:pt idx="493">
                  <c:v>4142158.1892598378</c:v>
                </c:pt>
                <c:pt idx="494">
                  <c:v>4094978.4704505433</c:v>
                </c:pt>
                <c:pt idx="495">
                  <c:v>0</c:v>
                </c:pt>
                <c:pt idx="496">
                  <c:v>0</c:v>
                </c:pt>
                <c:pt idx="497">
                  <c:v>0</c:v>
                </c:pt>
                <c:pt idx="498">
                  <c:v>0</c:v>
                </c:pt>
                <c:pt idx="499">
                  <c:v>3700446.1131983148</c:v>
                </c:pt>
                <c:pt idx="500">
                  <c:v>3659486.1478092554</c:v>
                </c:pt>
                <c:pt idx="501">
                  <c:v>3693223.3216828094</c:v>
                </c:pt>
                <c:pt idx="502">
                  <c:v>3688508.6664255382</c:v>
                </c:pt>
                <c:pt idx="503">
                  <c:v>3673614.0625678105</c:v>
                </c:pt>
                <c:pt idx="504">
                  <c:v>3693636.7564973184</c:v>
                </c:pt>
                <c:pt idx="505">
                  <c:v>3676266.1782992417</c:v>
                </c:pt>
                <c:pt idx="506">
                  <c:v>4248876.683102645</c:v>
                </c:pt>
                <c:pt idx="507">
                  <c:v>3724718.8120445791</c:v>
                </c:pt>
                <c:pt idx="508">
                  <c:v>3720443.4550039372</c:v>
                </c:pt>
                <c:pt idx="509">
                  <c:v>-4961637.790944987</c:v>
                </c:pt>
                <c:pt idx="510">
                  <c:v>3677493.0328095243</c:v>
                </c:pt>
                <c:pt idx="511">
                  <c:v>3661165.8507190696</c:v>
                </c:pt>
                <c:pt idx="512">
                  <c:v>3640230.1834119768</c:v>
                </c:pt>
                <c:pt idx="513">
                  <c:v>3645430.7235766049</c:v>
                </c:pt>
                <c:pt idx="514">
                  <c:v>3669629.3192763887</c:v>
                </c:pt>
                <c:pt idx="515">
                  <c:v>3677231.1307232277</c:v>
                </c:pt>
                <c:pt idx="516">
                  <c:v>3658200.6343605001</c:v>
                </c:pt>
                <c:pt idx="517">
                  <c:v>3689915.3580221967</c:v>
                </c:pt>
                <c:pt idx="518">
                  <c:v>3736401.19560656</c:v>
                </c:pt>
                <c:pt idx="519">
                  <c:v>3642466.6123736924</c:v>
                </c:pt>
                <c:pt idx="520">
                  <c:v>3646782.2345295683</c:v>
                </c:pt>
                <c:pt idx="521">
                  <c:v>3635233.005845421</c:v>
                </c:pt>
                <c:pt idx="522">
                  <c:v>3654666.2712653521</c:v>
                </c:pt>
                <c:pt idx="523">
                  <c:v>3689290.1546467943</c:v>
                </c:pt>
                <c:pt idx="524">
                  <c:v>3601599.5011667097</c:v>
                </c:pt>
                <c:pt idx="525">
                  <c:v>3659628.1067988081</c:v>
                </c:pt>
                <c:pt idx="526">
                  <c:v>3710842.6475754869</c:v>
                </c:pt>
                <c:pt idx="527">
                  <c:v>3732218.1433916474</c:v>
                </c:pt>
                <c:pt idx="528">
                  <c:v>3614365.5836847471</c:v>
                </c:pt>
                <c:pt idx="529">
                  <c:v>3718992.2243309049</c:v>
                </c:pt>
                <c:pt idx="530">
                  <c:v>3707930.734290007</c:v>
                </c:pt>
                <c:pt idx="531">
                  <c:v>3739210.6293844287</c:v>
                </c:pt>
                <c:pt idx="532">
                  <c:v>3702036.8766566366</c:v>
                </c:pt>
                <c:pt idx="533">
                  <c:v>3714869.8359335195</c:v>
                </c:pt>
                <c:pt idx="534">
                  <c:v>3646806.366507228</c:v>
                </c:pt>
                <c:pt idx="535">
                  <c:v>3622200.8655438367</c:v>
                </c:pt>
                <c:pt idx="536">
                  <c:v>3625631.6779499887</c:v>
                </c:pt>
                <c:pt idx="537">
                  <c:v>3680019.2169000292</c:v>
                </c:pt>
                <c:pt idx="538">
                  <c:v>3641643.7774745701</c:v>
                </c:pt>
                <c:pt idx="539">
                  <c:v>3683623.2987995949</c:v>
                </c:pt>
                <c:pt idx="540">
                  <c:v>3736576.0005041347</c:v>
                </c:pt>
                <c:pt idx="541">
                  <c:v>3842612.0710050701</c:v>
                </c:pt>
                <c:pt idx="542">
                  <c:v>3818667.005405759</c:v>
                </c:pt>
                <c:pt idx="543">
                  <c:v>3768280.862548708</c:v>
                </c:pt>
                <c:pt idx="544">
                  <c:v>-6172531.9290571921</c:v>
                </c:pt>
                <c:pt idx="545">
                  <c:v>3682456.6080840947</c:v>
                </c:pt>
                <c:pt idx="546">
                  <c:v>2068810.3438764871</c:v>
                </c:pt>
                <c:pt idx="547">
                  <c:v>3682135.678760855</c:v>
                </c:pt>
                <c:pt idx="548">
                  <c:v>3615805.2647941024</c:v>
                </c:pt>
                <c:pt idx="549">
                  <c:v>3735542.7410755977</c:v>
                </c:pt>
                <c:pt idx="550">
                  <c:v>3628963.9510026276</c:v>
                </c:pt>
                <c:pt idx="551">
                  <c:v>3598523.3958037649</c:v>
                </c:pt>
                <c:pt idx="552">
                  <c:v>3607465.8250857661</c:v>
                </c:pt>
                <c:pt idx="553">
                  <c:v>3622834.6219607731</c:v>
                </c:pt>
                <c:pt idx="554">
                  <c:v>3603109.3081439296</c:v>
                </c:pt>
                <c:pt idx="555">
                  <c:v>3638576.8946834411</c:v>
                </c:pt>
                <c:pt idx="556">
                  <c:v>3623633.0275033456</c:v>
                </c:pt>
                <c:pt idx="557">
                  <c:v>3630076.4723848258</c:v>
                </c:pt>
                <c:pt idx="558">
                  <c:v>3628249.9477520497</c:v>
                </c:pt>
                <c:pt idx="559">
                  <c:v>3602264.5621348815</c:v>
                </c:pt>
                <c:pt idx="560">
                  <c:v>3595817.2565001459</c:v>
                </c:pt>
                <c:pt idx="561">
                  <c:v>3565169.8270278405</c:v>
                </c:pt>
                <c:pt idx="562">
                  <c:v>3674946.1132218922</c:v>
                </c:pt>
                <c:pt idx="563">
                  <c:v>3640334.1801313674</c:v>
                </c:pt>
                <c:pt idx="564">
                  <c:v>3691345.4998305012</c:v>
                </c:pt>
                <c:pt idx="565">
                  <c:v>3718926.8995448644</c:v>
                </c:pt>
                <c:pt idx="566">
                  <c:v>3685163.6941819089</c:v>
                </c:pt>
                <c:pt idx="567">
                  <c:v>3679480.364919581</c:v>
                </c:pt>
                <c:pt idx="568">
                  <c:v>3772873.277752927</c:v>
                </c:pt>
                <c:pt idx="569">
                  <c:v>3718305.2088421006</c:v>
                </c:pt>
                <c:pt idx="570">
                  <c:v>3818916.9796670824</c:v>
                </c:pt>
                <c:pt idx="571">
                  <c:v>3715527.5684714569</c:v>
                </c:pt>
                <c:pt idx="572">
                  <c:v>3681120.9373589191</c:v>
                </c:pt>
                <c:pt idx="573">
                  <c:v>3705188.1047710995</c:v>
                </c:pt>
                <c:pt idx="574">
                  <c:v>3684104.5379978349</c:v>
                </c:pt>
                <c:pt idx="575">
                  <c:v>3659187.7156986175</c:v>
                </c:pt>
                <c:pt idx="576">
                  <c:v>3666075.3329896503</c:v>
                </c:pt>
                <c:pt idx="577">
                  <c:v>3634208.7142972858</c:v>
                </c:pt>
                <c:pt idx="578">
                  <c:v>3663605.4850922115</c:v>
                </c:pt>
                <c:pt idx="579">
                  <c:v>3698807.7023041458</c:v>
                </c:pt>
                <c:pt idx="580">
                  <c:v>3756926.6221079677</c:v>
                </c:pt>
                <c:pt idx="581">
                  <c:v>3760015.1702037146</c:v>
                </c:pt>
                <c:pt idx="582">
                  <c:v>3647591.7315788744</c:v>
                </c:pt>
                <c:pt idx="583">
                  <c:v>3654839.5759690362</c:v>
                </c:pt>
                <c:pt idx="584">
                  <c:v>3694076.4052876998</c:v>
                </c:pt>
                <c:pt idx="585">
                  <c:v>3666314.4351101462</c:v>
                </c:pt>
                <c:pt idx="586">
                  <c:v>3713612.8328369739</c:v>
                </c:pt>
                <c:pt idx="587">
                  <c:v>3688328.3994842255</c:v>
                </c:pt>
                <c:pt idx="588">
                  <c:v>3652196.3725284571</c:v>
                </c:pt>
                <c:pt idx="589">
                  <c:v>3654186.8910241141</c:v>
                </c:pt>
                <c:pt idx="590">
                  <c:v>3717581.771662679</c:v>
                </c:pt>
                <c:pt idx="591">
                  <c:v>3661284.0319679971</c:v>
                </c:pt>
                <c:pt idx="592">
                  <c:v>3647655.1932711639</c:v>
                </c:pt>
                <c:pt idx="593">
                  <c:v>3623003.1940825302</c:v>
                </c:pt>
                <c:pt idx="594">
                  <c:v>3595391.6272807722</c:v>
                </c:pt>
                <c:pt idx="595">
                  <c:v>3607818.9212504458</c:v>
                </c:pt>
                <c:pt idx="596">
                  <c:v>3627167.9326615119</c:v>
                </c:pt>
                <c:pt idx="597">
                  <c:v>3606749.6035337015</c:v>
                </c:pt>
                <c:pt idx="598">
                  <c:v>3617731.169807863</c:v>
                </c:pt>
                <c:pt idx="599">
                  <c:v>3662150.9647308351</c:v>
                </c:pt>
                <c:pt idx="600">
                  <c:v>3724199.0175945899</c:v>
                </c:pt>
                <c:pt idx="601">
                  <c:v>3769206.579839664</c:v>
                </c:pt>
                <c:pt idx="602">
                  <c:v>3699495.382167378</c:v>
                </c:pt>
                <c:pt idx="603">
                  <c:v>3694377.8550601457</c:v>
                </c:pt>
                <c:pt idx="604">
                  <c:v>3652947.7834223378</c:v>
                </c:pt>
                <c:pt idx="605">
                  <c:v>3600511.6849533557</c:v>
                </c:pt>
                <c:pt idx="606">
                  <c:v>3610141.2577171139</c:v>
                </c:pt>
                <c:pt idx="607">
                  <c:v>3842614.9000693331</c:v>
                </c:pt>
                <c:pt idx="608">
                  <c:v>3648582.4017058173</c:v>
                </c:pt>
                <c:pt idx="609">
                  <c:v>3653652.9589765929</c:v>
                </c:pt>
                <c:pt idx="610">
                  <c:v>3709635.4827888245</c:v>
                </c:pt>
                <c:pt idx="611">
                  <c:v>3724221.2568875318</c:v>
                </c:pt>
                <c:pt idx="612">
                  <c:v>3737809.419317327</c:v>
                </c:pt>
                <c:pt idx="613">
                  <c:v>3628466.8587987898</c:v>
                </c:pt>
                <c:pt idx="614">
                  <c:v>3648019.7705774591</c:v>
                </c:pt>
                <c:pt idx="615">
                  <c:v>3676798.1416418827</c:v>
                </c:pt>
                <c:pt idx="616">
                  <c:v>3727785.8184262607</c:v>
                </c:pt>
                <c:pt idx="617">
                  <c:v>3686462.7674146136</c:v>
                </c:pt>
                <c:pt idx="618">
                  <c:v>3632717.5918277921</c:v>
                </c:pt>
                <c:pt idx="619">
                  <c:v>3613530.0332793933</c:v>
                </c:pt>
                <c:pt idx="620">
                  <c:v>3605241.9976825765</c:v>
                </c:pt>
                <c:pt idx="621">
                  <c:v>3679816.4234414413</c:v>
                </c:pt>
                <c:pt idx="622">
                  <c:v>3678191.7787003927</c:v>
                </c:pt>
                <c:pt idx="623">
                  <c:v>3777853.2117816317</c:v>
                </c:pt>
                <c:pt idx="624">
                  <c:v>3785651.9911466017</c:v>
                </c:pt>
                <c:pt idx="625">
                  <c:v>3874295.6208527749</c:v>
                </c:pt>
                <c:pt idx="626">
                  <c:v>3906666.3843235914</c:v>
                </c:pt>
                <c:pt idx="627">
                  <c:v>3976349.876177351</c:v>
                </c:pt>
                <c:pt idx="628">
                  <c:v>4024383.7344670901</c:v>
                </c:pt>
                <c:pt idx="629">
                  <c:v>3803675.1744933478</c:v>
                </c:pt>
                <c:pt idx="630">
                  <c:v>3736114.8868515054</c:v>
                </c:pt>
                <c:pt idx="631">
                  <c:v>3685787.562964458</c:v>
                </c:pt>
                <c:pt idx="632">
                  <c:v>3630217.5566190253</c:v>
                </c:pt>
                <c:pt idx="633">
                  <c:v>3629790.8241286529</c:v>
                </c:pt>
                <c:pt idx="634">
                  <c:v>3583231.500593516</c:v>
                </c:pt>
                <c:pt idx="635">
                  <c:v>3602817.3708087532</c:v>
                </c:pt>
                <c:pt idx="636">
                  <c:v>3625896.2085811161</c:v>
                </c:pt>
                <c:pt idx="637">
                  <c:v>3628924.5405856776</c:v>
                </c:pt>
                <c:pt idx="638">
                  <c:v>3713394.2608207925</c:v>
                </c:pt>
                <c:pt idx="639">
                  <c:v>3923334.1805568156</c:v>
                </c:pt>
                <c:pt idx="640">
                  <c:v>4062606.076578171</c:v>
                </c:pt>
                <c:pt idx="641">
                  <c:v>4851752.1996231508</c:v>
                </c:pt>
                <c:pt idx="642">
                  <c:v>0</c:v>
                </c:pt>
                <c:pt idx="643">
                  <c:v>4071427.0864306646</c:v>
                </c:pt>
                <c:pt idx="644">
                  <c:v>3876786.392423457</c:v>
                </c:pt>
                <c:pt idx="645">
                  <c:v>3771290.0006539086</c:v>
                </c:pt>
                <c:pt idx="646">
                  <c:v>3824610.0311394553</c:v>
                </c:pt>
                <c:pt idx="647">
                  <c:v>3871823.8931887681</c:v>
                </c:pt>
                <c:pt idx="648">
                  <c:v>3836075.4335187371</c:v>
                </c:pt>
                <c:pt idx="649">
                  <c:v>3741321.6431415505</c:v>
                </c:pt>
                <c:pt idx="650">
                  <c:v>3709316.4682983859</c:v>
                </c:pt>
                <c:pt idx="651">
                  <c:v>1470218.1531592936</c:v>
                </c:pt>
                <c:pt idx="652">
                  <c:v>3678681.5681159468</c:v>
                </c:pt>
                <c:pt idx="653">
                  <c:v>3640983.136561058</c:v>
                </c:pt>
                <c:pt idx="654">
                  <c:v>3661759.7338164118</c:v>
                </c:pt>
                <c:pt idx="655">
                  <c:v>3953289.3594493363</c:v>
                </c:pt>
                <c:pt idx="656">
                  <c:v>3691055.6229645787</c:v>
                </c:pt>
                <c:pt idx="657">
                  <c:v>3700254.249769649</c:v>
                </c:pt>
                <c:pt idx="658">
                  <c:v>3678674.3233136386</c:v>
                </c:pt>
                <c:pt idx="659">
                  <c:v>3794847.6502025537</c:v>
                </c:pt>
                <c:pt idx="660">
                  <c:v>3635534.8913542372</c:v>
                </c:pt>
                <c:pt idx="661">
                  <c:v>3669356.5812452594</c:v>
                </c:pt>
                <c:pt idx="662">
                  <c:v>3609945.2533591921</c:v>
                </c:pt>
                <c:pt idx="663">
                  <c:v>3618292.5435141306</c:v>
                </c:pt>
                <c:pt idx="664">
                  <c:v>3591704.6661603721</c:v>
                </c:pt>
                <c:pt idx="665">
                  <c:v>3614727.9336109734</c:v>
                </c:pt>
                <c:pt idx="666">
                  <c:v>3684860.1525410851</c:v>
                </c:pt>
                <c:pt idx="667">
                  <c:v>3666434.6279493328</c:v>
                </c:pt>
                <c:pt idx="668">
                  <c:v>3671720.7251799842</c:v>
                </c:pt>
                <c:pt idx="669">
                  <c:v>3874005.3523075967</c:v>
                </c:pt>
                <c:pt idx="670">
                  <c:v>3623264.5314965495</c:v>
                </c:pt>
                <c:pt idx="671">
                  <c:v>3646508.7111337106</c:v>
                </c:pt>
                <c:pt idx="672">
                  <c:v>3637917.4136453513</c:v>
                </c:pt>
                <c:pt idx="673">
                  <c:v>3621040.4902793751</c:v>
                </c:pt>
                <c:pt idx="674">
                  <c:v>3646437.9814882553</c:v>
                </c:pt>
                <c:pt idx="675">
                  <c:v>3605093.0172629058</c:v>
                </c:pt>
                <c:pt idx="676">
                  <c:v>3637495.0748960306</c:v>
                </c:pt>
                <c:pt idx="677">
                  <c:v>3687030.6232301327</c:v>
                </c:pt>
                <c:pt idx="678">
                  <c:v>3633236.0740191704</c:v>
                </c:pt>
                <c:pt idx="679">
                  <c:v>3718546.7436960489</c:v>
                </c:pt>
                <c:pt idx="680">
                  <c:v>3675044.5498466669</c:v>
                </c:pt>
                <c:pt idx="681">
                  <c:v>3765417.2600946939</c:v>
                </c:pt>
                <c:pt idx="682">
                  <c:v>3732188.7205449794</c:v>
                </c:pt>
                <c:pt idx="683">
                  <c:v>3594329.9688735586</c:v>
                </c:pt>
                <c:pt idx="684">
                  <c:v>3689943.4454148542</c:v>
                </c:pt>
                <c:pt idx="685">
                  <c:v>3575315.5550178336</c:v>
                </c:pt>
                <c:pt idx="686">
                  <c:v>3607417.5282478337</c:v>
                </c:pt>
                <c:pt idx="687">
                  <c:v>3610903.1030927766</c:v>
                </c:pt>
                <c:pt idx="688">
                  <c:v>3591622.6869104193</c:v>
                </c:pt>
                <c:pt idx="689">
                  <c:v>3616109.761091698</c:v>
                </c:pt>
                <c:pt idx="690">
                  <c:v>3622118.7415608126</c:v>
                </c:pt>
                <c:pt idx="691">
                  <c:v>3643964.6980587007</c:v>
                </c:pt>
                <c:pt idx="692">
                  <c:v>3662259.9941988075</c:v>
                </c:pt>
                <c:pt idx="693">
                  <c:v>3631989.8856723844</c:v>
                </c:pt>
                <c:pt idx="694">
                  <c:v>3630564.6670911233</c:v>
                </c:pt>
                <c:pt idx="695">
                  <c:v>3614056.1045126542</c:v>
                </c:pt>
                <c:pt idx="696">
                  <c:v>3637397.9856939325</c:v>
                </c:pt>
                <c:pt idx="697">
                  <c:v>3645852.0043525388</c:v>
                </c:pt>
                <c:pt idx="698">
                  <c:v>3609581.4436051901</c:v>
                </c:pt>
                <c:pt idx="699">
                  <c:v>3612956.8749102145</c:v>
                </c:pt>
                <c:pt idx="700">
                  <c:v>3622245.8526733569</c:v>
                </c:pt>
                <c:pt idx="701">
                  <c:v>3731188.0381086352</c:v>
                </c:pt>
                <c:pt idx="702">
                  <c:v>3677210.3762309728</c:v>
                </c:pt>
                <c:pt idx="703">
                  <c:v>3615938.8661044752</c:v>
                </c:pt>
                <c:pt idx="704">
                  <c:v>3611108.3742654352</c:v>
                </c:pt>
                <c:pt idx="705">
                  <c:v>3628113.0971612842</c:v>
                </c:pt>
                <c:pt idx="706">
                  <c:v>3650147.2449585726</c:v>
                </c:pt>
                <c:pt idx="707">
                  <c:v>3623959.5020079562</c:v>
                </c:pt>
                <c:pt idx="708">
                  <c:v>3766578.8159533581</c:v>
                </c:pt>
                <c:pt idx="709">
                  <c:v>3676914.0745962816</c:v>
                </c:pt>
                <c:pt idx="710">
                  <c:v>3647268.6723015639</c:v>
                </c:pt>
                <c:pt idx="711">
                  <c:v>3622566.7439112361</c:v>
                </c:pt>
                <c:pt idx="712">
                  <c:v>3743764.6015594895</c:v>
                </c:pt>
                <c:pt idx="713">
                  <c:v>3713792.5051042642</c:v>
                </c:pt>
                <c:pt idx="714">
                  <c:v>3634158.6610432109</c:v>
                </c:pt>
                <c:pt idx="715">
                  <c:v>3693859.1901509948</c:v>
                </c:pt>
                <c:pt idx="716">
                  <c:v>3673204.3302552598</c:v>
                </c:pt>
                <c:pt idx="717">
                  <c:v>3677065.8598120636</c:v>
                </c:pt>
                <c:pt idx="718">
                  <c:v>3610912.2629001266</c:v>
                </c:pt>
                <c:pt idx="719">
                  <c:v>3646408.3931604768</c:v>
                </c:pt>
                <c:pt idx="720">
                  <c:v>3643301.4255538895</c:v>
                </c:pt>
                <c:pt idx="721">
                  <c:v>3684721.3365953295</c:v>
                </c:pt>
                <c:pt idx="722">
                  <c:v>3719118.8107427726</c:v>
                </c:pt>
                <c:pt idx="723">
                  <c:v>3724140.7313695466</c:v>
                </c:pt>
                <c:pt idx="724">
                  <c:v>3851268.5061163264</c:v>
                </c:pt>
                <c:pt idx="725">
                  <c:v>5757126.3302742653</c:v>
                </c:pt>
                <c:pt idx="726">
                  <c:v>4140371.3673973745</c:v>
                </c:pt>
                <c:pt idx="727">
                  <c:v>3729637.8561532297</c:v>
                </c:pt>
                <c:pt idx="728">
                  <c:v>3645381.5424524397</c:v>
                </c:pt>
                <c:pt idx="729">
                  <c:v>3637175.4154399568</c:v>
                </c:pt>
                <c:pt idx="730">
                  <c:v>3637535.3308072137</c:v>
                </c:pt>
                <c:pt idx="731">
                  <c:v>3654140.6558778724</c:v>
                </c:pt>
                <c:pt idx="732">
                  <c:v>3676576.6774422331</c:v>
                </c:pt>
                <c:pt idx="733">
                  <c:v>3639708.5271471082</c:v>
                </c:pt>
                <c:pt idx="734">
                  <c:v>3639346.7928042742</c:v>
                </c:pt>
                <c:pt idx="735">
                  <c:v>3640668.1548764776</c:v>
                </c:pt>
                <c:pt idx="736">
                  <c:v>3653500.7936642081</c:v>
                </c:pt>
                <c:pt idx="737">
                  <c:v>3645657.8718412863</c:v>
                </c:pt>
                <c:pt idx="738">
                  <c:v>3670338.0020210063</c:v>
                </c:pt>
                <c:pt idx="739">
                  <c:v>3685247.710985716</c:v>
                </c:pt>
                <c:pt idx="740">
                  <c:v>3642510.5249135443</c:v>
                </c:pt>
                <c:pt idx="741">
                  <c:v>3634778.9147374076</c:v>
                </c:pt>
                <c:pt idx="742">
                  <c:v>3637627.8635277282</c:v>
                </c:pt>
                <c:pt idx="743">
                  <c:v>3612384.0950483098</c:v>
                </c:pt>
                <c:pt idx="744">
                  <c:v>3606394.5492920447</c:v>
                </c:pt>
                <c:pt idx="745">
                  <c:v>3600251.708377209</c:v>
                </c:pt>
                <c:pt idx="746">
                  <c:v>3621345.2117182659</c:v>
                </c:pt>
                <c:pt idx="747">
                  <c:v>3641599.8059822326</c:v>
                </c:pt>
                <c:pt idx="748">
                  <c:v>3643048.7616350176</c:v>
                </c:pt>
                <c:pt idx="749">
                  <c:v>3624139.0335773807</c:v>
                </c:pt>
                <c:pt idx="750">
                  <c:v>3622621.8200669619</c:v>
                </c:pt>
                <c:pt idx="751">
                  <c:v>3638377.0452356962</c:v>
                </c:pt>
                <c:pt idx="752">
                  <c:v>3514882.5523535102</c:v>
                </c:pt>
                <c:pt idx="753">
                  <c:v>3624861.0238068942</c:v>
                </c:pt>
                <c:pt idx="754">
                  <c:v>3604764.249867938</c:v>
                </c:pt>
                <c:pt idx="755">
                  <c:v>3616127.9868312413</c:v>
                </c:pt>
                <c:pt idx="756">
                  <c:v>3654007.7446591477</c:v>
                </c:pt>
                <c:pt idx="757">
                  <c:v>3620495.326402083</c:v>
                </c:pt>
                <c:pt idx="758">
                  <c:v>3653980.5894235275</c:v>
                </c:pt>
                <c:pt idx="759">
                  <c:v>3655208.0092684473</c:v>
                </c:pt>
                <c:pt idx="760">
                  <c:v>3640291.5817767065</c:v>
                </c:pt>
                <c:pt idx="761">
                  <c:v>3666709.3822438889</c:v>
                </c:pt>
                <c:pt idx="762">
                  <c:v>3669300.1525760219</c:v>
                </c:pt>
                <c:pt idx="763">
                  <c:v>3633868.1435675644</c:v>
                </c:pt>
                <c:pt idx="764">
                  <c:v>3648737.2984718266</c:v>
                </c:pt>
                <c:pt idx="765">
                  <c:v>3692931.1168041239</c:v>
                </c:pt>
                <c:pt idx="766">
                  <c:v>3637072.3613587329</c:v>
                </c:pt>
                <c:pt idx="767">
                  <c:v>3699445.1200464373</c:v>
                </c:pt>
                <c:pt idx="768">
                  <c:v>3644047.4442910976</c:v>
                </c:pt>
                <c:pt idx="769">
                  <c:v>3719265.4995304029</c:v>
                </c:pt>
                <c:pt idx="770">
                  <c:v>3718846.6758432044</c:v>
                </c:pt>
                <c:pt idx="771">
                  <c:v>3662250.0065988312</c:v>
                </c:pt>
                <c:pt idx="772">
                  <c:v>3658113.4150723917</c:v>
                </c:pt>
                <c:pt idx="773">
                  <c:v>3630127.8066167245</c:v>
                </c:pt>
                <c:pt idx="774">
                  <c:v>3657077.9430307932</c:v>
                </c:pt>
                <c:pt idx="775">
                  <c:v>3642665.8351536263</c:v>
                </c:pt>
                <c:pt idx="776">
                  <c:v>3635490.3696315694</c:v>
                </c:pt>
                <c:pt idx="777">
                  <c:v>3660564.9222102794</c:v>
                </c:pt>
                <c:pt idx="778">
                  <c:v>3667056.522581826</c:v>
                </c:pt>
                <c:pt idx="779">
                  <c:v>3654642.6888724114</c:v>
                </c:pt>
                <c:pt idx="780">
                  <c:v>3642625.6757026897</c:v>
                </c:pt>
                <c:pt idx="781">
                  <c:v>3664754.3928707056</c:v>
                </c:pt>
                <c:pt idx="782">
                  <c:v>3662703.5419851067</c:v>
                </c:pt>
                <c:pt idx="783">
                  <c:v>3658502.60928895</c:v>
                </c:pt>
                <c:pt idx="784">
                  <c:v>3687500.085457772</c:v>
                </c:pt>
                <c:pt idx="785">
                  <c:v>3667781.8459592224</c:v>
                </c:pt>
                <c:pt idx="786">
                  <c:v>3668153.8827422475</c:v>
                </c:pt>
                <c:pt idx="787">
                  <c:v>3677204.7752403133</c:v>
                </c:pt>
                <c:pt idx="788">
                  <c:v>3790090.6304478385</c:v>
                </c:pt>
                <c:pt idx="789">
                  <c:v>4206411.4369665263</c:v>
                </c:pt>
                <c:pt idx="790">
                  <c:v>3705159.1731871874</c:v>
                </c:pt>
                <c:pt idx="791">
                  <c:v>3651748.3671598528</c:v>
                </c:pt>
                <c:pt idx="792">
                  <c:v>3668815.0870468169</c:v>
                </c:pt>
                <c:pt idx="793">
                  <c:v>3681756.2025096719</c:v>
                </c:pt>
                <c:pt idx="794">
                  <c:v>3657462.320398889</c:v>
                </c:pt>
                <c:pt idx="795">
                  <c:v>3661321.8249154775</c:v>
                </c:pt>
                <c:pt idx="796">
                  <c:v>3680461.3912110785</c:v>
                </c:pt>
                <c:pt idx="797">
                  <c:v>3668338.1226931964</c:v>
                </c:pt>
                <c:pt idx="798">
                  <c:v>3670618.7449826323</c:v>
                </c:pt>
                <c:pt idx="799">
                  <c:v>3683671.4801278296</c:v>
                </c:pt>
                <c:pt idx="800">
                  <c:v>3683149.4878078252</c:v>
                </c:pt>
                <c:pt idx="801">
                  <c:v>3659433.7610721444</c:v>
                </c:pt>
                <c:pt idx="802">
                  <c:v>3690221.4029123602</c:v>
                </c:pt>
                <c:pt idx="803">
                  <c:v>3678327.6070757867</c:v>
                </c:pt>
                <c:pt idx="804">
                  <c:v>3668104.8581583444</c:v>
                </c:pt>
                <c:pt idx="805">
                  <c:v>3713421.2403006577</c:v>
                </c:pt>
                <c:pt idx="806">
                  <c:v>3712954.7261228608</c:v>
                </c:pt>
                <c:pt idx="807">
                  <c:v>3689203.2362948707</c:v>
                </c:pt>
                <c:pt idx="808">
                  <c:v>3693494.2952502621</c:v>
                </c:pt>
                <c:pt idx="809">
                  <c:v>3701088.7758852206</c:v>
                </c:pt>
                <c:pt idx="810">
                  <c:v>3715479.8248049361</c:v>
                </c:pt>
                <c:pt idx="811">
                  <c:v>3711175.8203770421</c:v>
                </c:pt>
                <c:pt idx="812">
                  <c:v>3727528.6512058983</c:v>
                </c:pt>
                <c:pt idx="813">
                  <c:v>3737176.3980018725</c:v>
                </c:pt>
                <c:pt idx="814">
                  <c:v>3707229.2633800688</c:v>
                </c:pt>
                <c:pt idx="815">
                  <c:v>3725590.4953520377</c:v>
                </c:pt>
                <c:pt idx="816">
                  <c:v>3697863.5605390156</c:v>
                </c:pt>
                <c:pt idx="817">
                  <c:v>3671762.6952151819</c:v>
                </c:pt>
                <c:pt idx="818">
                  <c:v>3688883.6043852516</c:v>
                </c:pt>
                <c:pt idx="819">
                  <c:v>3713226.2927391105</c:v>
                </c:pt>
                <c:pt idx="820">
                  <c:v>3675119.5370815587</c:v>
                </c:pt>
                <c:pt idx="821">
                  <c:v>3787983.9533278383</c:v>
                </c:pt>
                <c:pt idx="822">
                  <c:v>3776731.8620300521</c:v>
                </c:pt>
                <c:pt idx="823">
                  <c:v>3776849.4910402186</c:v>
                </c:pt>
                <c:pt idx="824">
                  <c:v>3732671.6961311791</c:v>
                </c:pt>
                <c:pt idx="825">
                  <c:v>3796395.2574250381</c:v>
                </c:pt>
                <c:pt idx="826">
                  <c:v>3785178.7838524268</c:v>
                </c:pt>
                <c:pt idx="827">
                  <c:v>3800066.1391615206</c:v>
                </c:pt>
                <c:pt idx="828">
                  <c:v>3825929.7417898746</c:v>
                </c:pt>
                <c:pt idx="829">
                  <c:v>3791645.5781815113</c:v>
                </c:pt>
                <c:pt idx="830">
                  <c:v>3810789.3419257067</c:v>
                </c:pt>
                <c:pt idx="831">
                  <c:v>3818025.8651256962</c:v>
                </c:pt>
                <c:pt idx="832">
                  <c:v>3806014.3712212378</c:v>
                </c:pt>
                <c:pt idx="833">
                  <c:v>3797887.6275236844</c:v>
                </c:pt>
                <c:pt idx="834">
                  <c:v>3768023.1501992941</c:v>
                </c:pt>
                <c:pt idx="835">
                  <c:v>3672682.5632161782</c:v>
                </c:pt>
                <c:pt idx="836">
                  <c:v>3687670.5017248769</c:v>
                </c:pt>
                <c:pt idx="837">
                  <c:v>3692154.1688780133</c:v>
                </c:pt>
                <c:pt idx="838">
                  <c:v>3683075.902854952</c:v>
                </c:pt>
                <c:pt idx="839">
                  <c:v>3675111.4697114262</c:v>
                </c:pt>
                <c:pt idx="840">
                  <c:v>3708927.2922060848</c:v>
                </c:pt>
                <c:pt idx="841">
                  <c:v>3727390.4936235351</c:v>
                </c:pt>
                <c:pt idx="842">
                  <c:v>3694601.0100125787</c:v>
                </c:pt>
                <c:pt idx="843">
                  <c:v>3711555.4734243462</c:v>
                </c:pt>
                <c:pt idx="844">
                  <c:v>3707543.5146371271</c:v>
                </c:pt>
                <c:pt idx="845">
                  <c:v>3704629.2014139919</c:v>
                </c:pt>
                <c:pt idx="846">
                  <c:v>3754722.4185187914</c:v>
                </c:pt>
                <c:pt idx="847">
                  <c:v>3707896.4616734716</c:v>
                </c:pt>
                <c:pt idx="848">
                  <c:v>3679144.2911062962</c:v>
                </c:pt>
                <c:pt idx="849">
                  <c:v>3732307.7755670622</c:v>
                </c:pt>
                <c:pt idx="850">
                  <c:v>3698452.2352426848</c:v>
                </c:pt>
                <c:pt idx="851">
                  <c:v>3681377.6547717107</c:v>
                </c:pt>
                <c:pt idx="852">
                  <c:v>3769600.5865163868</c:v>
                </c:pt>
                <c:pt idx="853">
                  <c:v>3704992.0112693985</c:v>
                </c:pt>
                <c:pt idx="854">
                  <c:v>3715732.5118163573</c:v>
                </c:pt>
                <c:pt idx="855">
                  <c:v>3703310.9904605383</c:v>
                </c:pt>
                <c:pt idx="856">
                  <c:v>3746083.5429053935</c:v>
                </c:pt>
                <c:pt idx="857">
                  <c:v>3735795.6819595913</c:v>
                </c:pt>
                <c:pt idx="858">
                  <c:v>3728334.7098276168</c:v>
                </c:pt>
                <c:pt idx="859">
                  <c:v>3771526.5589603987</c:v>
                </c:pt>
                <c:pt idx="860">
                  <c:v>3862135.6263651145</c:v>
                </c:pt>
                <c:pt idx="861">
                  <c:v>4386849.6703926707</c:v>
                </c:pt>
                <c:pt idx="862">
                  <c:v>3946422.2455985467</c:v>
                </c:pt>
                <c:pt idx="863">
                  <c:v>3708626.4795250506</c:v>
                </c:pt>
                <c:pt idx="864">
                  <c:v>4081897.6938968776</c:v>
                </c:pt>
                <c:pt idx="865">
                  <c:v>4047431.4092726614</c:v>
                </c:pt>
                <c:pt idx="866">
                  <c:v>3677004.1556558334</c:v>
                </c:pt>
                <c:pt idx="867">
                  <c:v>3717342.349032958</c:v>
                </c:pt>
                <c:pt idx="868">
                  <c:v>3765406.3909821822</c:v>
                </c:pt>
                <c:pt idx="869">
                  <c:v>3703465.2541257935</c:v>
                </c:pt>
                <c:pt idx="870">
                  <c:v>3669774.8548583668</c:v>
                </c:pt>
                <c:pt idx="871">
                  <c:v>3680264.8763283254</c:v>
                </c:pt>
                <c:pt idx="872">
                  <c:v>3697701.6626395509</c:v>
                </c:pt>
                <c:pt idx="873">
                  <c:v>3702178.9447810366</c:v>
                </c:pt>
                <c:pt idx="874">
                  <c:v>3696448.8646370233</c:v>
                </c:pt>
                <c:pt idx="875">
                  <c:v>3714340.5504712895</c:v>
                </c:pt>
                <c:pt idx="876">
                  <c:v>3713265.9954590783</c:v>
                </c:pt>
                <c:pt idx="877">
                  <c:v>3697650.6553229275</c:v>
                </c:pt>
                <c:pt idx="878">
                  <c:v>3688674.7602596264</c:v>
                </c:pt>
                <c:pt idx="879">
                  <c:v>3690424.2638454949</c:v>
                </c:pt>
                <c:pt idx="880">
                  <c:v>3691528.3959414186</c:v>
                </c:pt>
                <c:pt idx="881">
                  <c:v>3685615.8514136383</c:v>
                </c:pt>
                <c:pt idx="882">
                  <c:v>3715596.8753809095</c:v>
                </c:pt>
                <c:pt idx="883">
                  <c:v>3647543.6229033065</c:v>
                </c:pt>
                <c:pt idx="884">
                  <c:v>3688955.6060671369</c:v>
                </c:pt>
                <c:pt idx="885">
                  <c:v>3691464.8398134382</c:v>
                </c:pt>
                <c:pt idx="886">
                  <c:v>3714991.7279012557</c:v>
                </c:pt>
                <c:pt idx="887">
                  <c:v>3681185.3292143024</c:v>
                </c:pt>
                <c:pt idx="888">
                  <c:v>3711965.6109429328</c:v>
                </c:pt>
                <c:pt idx="889">
                  <c:v>3705710.4179355763</c:v>
                </c:pt>
                <c:pt idx="890">
                  <c:v>3710269.6265019584</c:v>
                </c:pt>
                <c:pt idx="891">
                  <c:v>3725818.6556040552</c:v>
                </c:pt>
                <c:pt idx="892">
                  <c:v>3718782.9952162993</c:v>
                </c:pt>
                <c:pt idx="893">
                  <c:v>3704974.4489610335</c:v>
                </c:pt>
                <c:pt idx="894">
                  <c:v>3703780.5622214796</c:v>
                </c:pt>
                <c:pt idx="895">
                  <c:v>3717776.9662749371</c:v>
                </c:pt>
                <c:pt idx="896">
                  <c:v>3707093.8172255154</c:v>
                </c:pt>
                <c:pt idx="897">
                  <c:v>3726517.5818861891</c:v>
                </c:pt>
                <c:pt idx="898">
                  <c:v>3728739.9924189388</c:v>
                </c:pt>
                <c:pt idx="899">
                  <c:v>3687236.286276957</c:v>
                </c:pt>
                <c:pt idx="900">
                  <c:v>3717037.7997783595</c:v>
                </c:pt>
                <c:pt idx="901">
                  <c:v>3738127.3850876745</c:v>
                </c:pt>
                <c:pt idx="902">
                  <c:v>3710536.7569742533</c:v>
                </c:pt>
                <c:pt idx="903">
                  <c:v>3701322.8639952261</c:v>
                </c:pt>
                <c:pt idx="904">
                  <c:v>3724893.1086500161</c:v>
                </c:pt>
                <c:pt idx="905">
                  <c:v>3752475.1190606654</c:v>
                </c:pt>
                <c:pt idx="906">
                  <c:v>3753738.8867805586</c:v>
                </c:pt>
                <c:pt idx="907">
                  <c:v>3755481.6718188007</c:v>
                </c:pt>
                <c:pt idx="908">
                  <c:v>3742181.604593704</c:v>
                </c:pt>
                <c:pt idx="909">
                  <c:v>3765546.2920497782</c:v>
                </c:pt>
                <c:pt idx="910">
                  <c:v>3720328.0058140764</c:v>
                </c:pt>
                <c:pt idx="911">
                  <c:v>3732911.64039431</c:v>
                </c:pt>
                <c:pt idx="912">
                  <c:v>3711460.7544507659</c:v>
                </c:pt>
                <c:pt idx="913">
                  <c:v>3675490.6166668343</c:v>
                </c:pt>
                <c:pt idx="914">
                  <c:v>3701000.965396638</c:v>
                </c:pt>
                <c:pt idx="915">
                  <c:v>3697351.5174043658</c:v>
                </c:pt>
                <c:pt idx="916">
                  <c:v>3714825.6075882073</c:v>
                </c:pt>
                <c:pt idx="917">
                  <c:v>3679615.2784529254</c:v>
                </c:pt>
                <c:pt idx="918">
                  <c:v>3740400.3331733742</c:v>
                </c:pt>
                <c:pt idx="919">
                  <c:v>3747438.0635605869</c:v>
                </c:pt>
                <c:pt idx="920">
                  <c:v>3744381.1646536356</c:v>
                </c:pt>
                <c:pt idx="921">
                  <c:v>3724360.963967727</c:v>
                </c:pt>
                <c:pt idx="922">
                  <c:v>3780161.3737595226</c:v>
                </c:pt>
                <c:pt idx="923">
                  <c:v>3846288.6451594648</c:v>
                </c:pt>
                <c:pt idx="924">
                  <c:v>3760293.4902569382</c:v>
                </c:pt>
                <c:pt idx="925">
                  <c:v>3778646.3072122619</c:v>
                </c:pt>
                <c:pt idx="926">
                  <c:v>3752026.2406191458</c:v>
                </c:pt>
                <c:pt idx="927">
                  <c:v>3702822.2964430694</c:v>
                </c:pt>
                <c:pt idx="928">
                  <c:v>3713978.8582867435</c:v>
                </c:pt>
                <c:pt idx="929">
                  <c:v>3750632.2551810089</c:v>
                </c:pt>
                <c:pt idx="930">
                  <c:v>3673242.8698172844</c:v>
                </c:pt>
                <c:pt idx="931">
                  <c:v>3737411.5087132957</c:v>
                </c:pt>
                <c:pt idx="932">
                  <c:v>3745583.289455561</c:v>
                </c:pt>
                <c:pt idx="933">
                  <c:v>3679798.1267425204</c:v>
                </c:pt>
                <c:pt idx="934">
                  <c:v>3716044.9857155317</c:v>
                </c:pt>
                <c:pt idx="935">
                  <c:v>3737312.379824827</c:v>
                </c:pt>
                <c:pt idx="936">
                  <c:v>3655534.3866953477</c:v>
                </c:pt>
                <c:pt idx="937">
                  <c:v>3569060.4662296865</c:v>
                </c:pt>
                <c:pt idx="938">
                  <c:v>3555166.5899819108</c:v>
                </c:pt>
                <c:pt idx="939">
                  <c:v>3650327.2267355421</c:v>
                </c:pt>
                <c:pt idx="940">
                  <c:v>3671973.1305261124</c:v>
                </c:pt>
                <c:pt idx="941">
                  <c:v>3669395.3369584423</c:v>
                </c:pt>
                <c:pt idx="942">
                  <c:v>3679910.9302317854</c:v>
                </c:pt>
                <c:pt idx="943">
                  <c:v>3698033.7188439448</c:v>
                </c:pt>
                <c:pt idx="944">
                  <c:v>3700866.062712084</c:v>
                </c:pt>
                <c:pt idx="945">
                  <c:v>3732255.7440634016</c:v>
                </c:pt>
                <c:pt idx="946">
                  <c:v>3667655.2847811719</c:v>
                </c:pt>
                <c:pt idx="947">
                  <c:v>3691317.7871990423</c:v>
                </c:pt>
                <c:pt idx="948">
                  <c:v>3740983.3380097998</c:v>
                </c:pt>
                <c:pt idx="949">
                  <c:v>3738640.5586858001</c:v>
                </c:pt>
                <c:pt idx="950">
                  <c:v>3723426.9430773668</c:v>
                </c:pt>
                <c:pt idx="951">
                  <c:v>3718148.5550578348</c:v>
                </c:pt>
                <c:pt idx="952">
                  <c:v>3710523.2421166645</c:v>
                </c:pt>
                <c:pt idx="953">
                  <c:v>3702975.0127695389</c:v>
                </c:pt>
                <c:pt idx="954">
                  <c:v>3733995.6976067233</c:v>
                </c:pt>
                <c:pt idx="955">
                  <c:v>3967624.7859702501</c:v>
                </c:pt>
                <c:pt idx="956">
                  <c:v>5852023.359255353</c:v>
                </c:pt>
                <c:pt idx="957">
                  <c:v>5372503.4523484455</c:v>
                </c:pt>
                <c:pt idx="958">
                  <c:v>4004404.4181912597</c:v>
                </c:pt>
                <c:pt idx="959">
                  <c:v>3731577.8489217153</c:v>
                </c:pt>
                <c:pt idx="960">
                  <c:v>3761818.5260174335</c:v>
                </c:pt>
                <c:pt idx="961">
                  <c:v>3714724.1912598382</c:v>
                </c:pt>
                <c:pt idx="962">
                  <c:v>3721226.1331877685</c:v>
                </c:pt>
                <c:pt idx="963">
                  <c:v>3766754.9151034569</c:v>
                </c:pt>
                <c:pt idx="964">
                  <c:v>3752265.8399867285</c:v>
                </c:pt>
                <c:pt idx="965">
                  <c:v>3718558.0631863843</c:v>
                </c:pt>
                <c:pt idx="966">
                  <c:v>3669072.6915674796</c:v>
                </c:pt>
                <c:pt idx="967">
                  <c:v>3666427.3660838003</c:v>
                </c:pt>
                <c:pt idx="968">
                  <c:v>3668662.2806165544</c:v>
                </c:pt>
                <c:pt idx="969">
                  <c:v>3685354.4448047248</c:v>
                </c:pt>
                <c:pt idx="970">
                  <c:v>3680920.4411483831</c:v>
                </c:pt>
                <c:pt idx="971">
                  <c:v>3693069.2128043212</c:v>
                </c:pt>
                <c:pt idx="972">
                  <c:v>3668409.8971689786</c:v>
                </c:pt>
                <c:pt idx="973">
                  <c:v>3678042.6528663863</c:v>
                </c:pt>
                <c:pt idx="974">
                  <c:v>3698617.7047994817</c:v>
                </c:pt>
                <c:pt idx="975">
                  <c:v>3683446.0417502197</c:v>
                </c:pt>
                <c:pt idx="976">
                  <c:v>3697592.5403996082</c:v>
                </c:pt>
                <c:pt idx="977">
                  <c:v>3694909.3307339209</c:v>
                </c:pt>
                <c:pt idx="978">
                  <c:v>3718421.4542843211</c:v>
                </c:pt>
                <c:pt idx="979">
                  <c:v>3701937.9341428108</c:v>
                </c:pt>
                <c:pt idx="980">
                  <c:v>3690977.0217726175</c:v>
                </c:pt>
                <c:pt idx="981">
                  <c:v>3725633.9766778424</c:v>
                </c:pt>
                <c:pt idx="982">
                  <c:v>3711986.9762624535</c:v>
                </c:pt>
                <c:pt idx="983">
                  <c:v>3736060.6965026422</c:v>
                </c:pt>
                <c:pt idx="984">
                  <c:v>3737644.6743942453</c:v>
                </c:pt>
                <c:pt idx="985">
                  <c:v>3752612.3701014114</c:v>
                </c:pt>
                <c:pt idx="986">
                  <c:v>3822247.2411932927</c:v>
                </c:pt>
                <c:pt idx="987">
                  <c:v>3757205.1936094286</c:v>
                </c:pt>
                <c:pt idx="988">
                  <c:v>3699310.9607694005</c:v>
                </c:pt>
                <c:pt idx="989">
                  <c:v>3695494.346160125</c:v>
                </c:pt>
                <c:pt idx="990">
                  <c:v>3711219.8733490561</c:v>
                </c:pt>
                <c:pt idx="991">
                  <c:v>3723803.715827181</c:v>
                </c:pt>
                <c:pt idx="992">
                  <c:v>3719194.9745184337</c:v>
                </c:pt>
                <c:pt idx="993">
                  <c:v>3735678.1919687646</c:v>
                </c:pt>
                <c:pt idx="994">
                  <c:v>3739608.0284596719</c:v>
                </c:pt>
                <c:pt idx="995">
                  <c:v>3737647.3657338219</c:v>
                </c:pt>
                <c:pt idx="996">
                  <c:v>3750851.4214229537</c:v>
                </c:pt>
                <c:pt idx="997">
                  <c:v>3827361.2901579412</c:v>
                </c:pt>
                <c:pt idx="998">
                  <c:v>3800691.2269027121</c:v>
                </c:pt>
                <c:pt idx="999">
                  <c:v>3809664.2193511436</c:v>
                </c:pt>
                <c:pt idx="1000">
                  <c:v>3815524.8748836936</c:v>
                </c:pt>
                <c:pt idx="1001">
                  <c:v>3769438.9141489333</c:v>
                </c:pt>
                <c:pt idx="1002">
                  <c:v>3710200.1280036792</c:v>
                </c:pt>
                <c:pt idx="1003">
                  <c:v>3692856.7536159162</c:v>
                </c:pt>
                <c:pt idx="1004">
                  <c:v>3699382.8505677609</c:v>
                </c:pt>
                <c:pt idx="1005">
                  <c:v>3649684.7434537755</c:v>
                </c:pt>
                <c:pt idx="1006">
                  <c:v>3712350.2728544418</c:v>
                </c:pt>
                <c:pt idx="1007">
                  <c:v>3717177.6382920556</c:v>
                </c:pt>
                <c:pt idx="1008">
                  <c:v>1786084.9932528562</c:v>
                </c:pt>
                <c:pt idx="1009">
                  <c:v>3679651.5993576013</c:v>
                </c:pt>
                <c:pt idx="1010">
                  <c:v>3710674.712608099</c:v>
                </c:pt>
                <c:pt idx="1011">
                  <c:v>3772473.9447880764</c:v>
                </c:pt>
                <c:pt idx="1012">
                  <c:v>3789239.711471634</c:v>
                </c:pt>
                <c:pt idx="1013">
                  <c:v>3727849.2665821351</c:v>
                </c:pt>
                <c:pt idx="1014">
                  <c:v>3707401.9188754</c:v>
                </c:pt>
                <c:pt idx="1015">
                  <c:v>3719138.8118545953</c:v>
                </c:pt>
                <c:pt idx="1016">
                  <c:v>3708362.1900875787</c:v>
                </c:pt>
                <c:pt idx="1017">
                  <c:v>3735255.2373708673</c:v>
                </c:pt>
                <c:pt idx="1018">
                  <c:v>3745530.26758654</c:v>
                </c:pt>
                <c:pt idx="1019">
                  <c:v>3733538.1001130259</c:v>
                </c:pt>
                <c:pt idx="1020">
                  <c:v>3728132.5158306658</c:v>
                </c:pt>
                <c:pt idx="1021">
                  <c:v>3758846.2138536493</c:v>
                </c:pt>
                <c:pt idx="1022">
                  <c:v>3776430.841662033</c:v>
                </c:pt>
                <c:pt idx="1023">
                  <c:v>3686849.9252369436</c:v>
                </c:pt>
                <c:pt idx="1024">
                  <c:v>3731042.8501618998</c:v>
                </c:pt>
                <c:pt idx="1025">
                  <c:v>3752564.3835513014</c:v>
                </c:pt>
                <c:pt idx="1026">
                  <c:v>3818438.1363107897</c:v>
                </c:pt>
                <c:pt idx="1027">
                  <c:v>3808725.8497620039</c:v>
                </c:pt>
                <c:pt idx="1028">
                  <c:v>3886282.0663461662</c:v>
                </c:pt>
                <c:pt idx="1029">
                  <c:v>3880722.468612215</c:v>
                </c:pt>
                <c:pt idx="1030">
                  <c:v>4419803.6610162752</c:v>
                </c:pt>
                <c:pt idx="1031">
                  <c:v>5808734.2623235574</c:v>
                </c:pt>
                <c:pt idx="1032">
                  <c:v>3834875.7877806146</c:v>
                </c:pt>
                <c:pt idx="1033">
                  <c:v>3732477.2205852107</c:v>
                </c:pt>
                <c:pt idx="1034">
                  <c:v>3758473.7991845263</c:v>
                </c:pt>
                <c:pt idx="1035">
                  <c:v>3755677.5451461785</c:v>
                </c:pt>
                <c:pt idx="1036">
                  <c:v>3788201.5157954283</c:v>
                </c:pt>
                <c:pt idx="1037">
                  <c:v>3768789.6629928742</c:v>
                </c:pt>
                <c:pt idx="1038">
                  <c:v>4128851.5940638646</c:v>
                </c:pt>
                <c:pt idx="1039">
                  <c:v>3800773.0006125905</c:v>
                </c:pt>
                <c:pt idx="1040">
                  <c:v>3867565.0657876683</c:v>
                </c:pt>
                <c:pt idx="1041">
                  <c:v>3848921.0402537081</c:v>
                </c:pt>
                <c:pt idx="1042">
                  <c:v>3810193.1248155977</c:v>
                </c:pt>
                <c:pt idx="1043">
                  <c:v>4007681.5326218801</c:v>
                </c:pt>
                <c:pt idx="1044">
                  <c:v>3783436.8189002331</c:v>
                </c:pt>
                <c:pt idx="1045">
                  <c:v>3735885.4629340116</c:v>
                </c:pt>
                <c:pt idx="1046">
                  <c:v>3737066.3713080199</c:v>
                </c:pt>
                <c:pt idx="1047">
                  <c:v>3708035.6219772347</c:v>
                </c:pt>
                <c:pt idx="1048">
                  <c:v>3731998.8239021078</c:v>
                </c:pt>
                <c:pt idx="1049">
                  <c:v>3739077.2712233188</c:v>
                </c:pt>
                <c:pt idx="1050">
                  <c:v>3739444.8490676261</c:v>
                </c:pt>
                <c:pt idx="1051">
                  <c:v>3682096.0602357904</c:v>
                </c:pt>
                <c:pt idx="1052">
                  <c:v>3683217.0925537343</c:v>
                </c:pt>
                <c:pt idx="1053">
                  <c:v>3738067.6601835899</c:v>
                </c:pt>
                <c:pt idx="1054">
                  <c:v>3845743.2080335505</c:v>
                </c:pt>
                <c:pt idx="1055">
                  <c:v>3774669.0290003577</c:v>
                </c:pt>
                <c:pt idx="1056">
                  <c:v>3700833.6325775087</c:v>
                </c:pt>
                <c:pt idx="1057">
                  <c:v>3709457.1552710687</c:v>
                </c:pt>
                <c:pt idx="1058">
                  <c:v>3773194.6952636847</c:v>
                </c:pt>
                <c:pt idx="1059">
                  <c:v>3784971.6221655929</c:v>
                </c:pt>
                <c:pt idx="1060">
                  <c:v>3732331.6142296535</c:v>
                </c:pt>
                <c:pt idx="1061">
                  <c:v>3725789.2169407858</c:v>
                </c:pt>
                <c:pt idx="1062">
                  <c:v>3748617.1741444771</c:v>
                </c:pt>
                <c:pt idx="1063">
                  <c:v>3782405.6433802992</c:v>
                </c:pt>
                <c:pt idx="1064">
                  <c:v>3779263.2204862572</c:v>
                </c:pt>
                <c:pt idx="1065">
                  <c:v>3781000.2822774076</c:v>
                </c:pt>
                <c:pt idx="1066">
                  <c:v>3724357.8731823079</c:v>
                </c:pt>
                <c:pt idx="1067">
                  <c:v>3740511.3685473553</c:v>
                </c:pt>
                <c:pt idx="1068">
                  <c:v>3791939.9942139224</c:v>
                </c:pt>
                <c:pt idx="1069">
                  <c:v>3841650.1043807454</c:v>
                </c:pt>
                <c:pt idx="1070">
                  <c:v>3788375.3857227699</c:v>
                </c:pt>
                <c:pt idx="1071">
                  <c:v>3831505.0569448373</c:v>
                </c:pt>
                <c:pt idx="1072">
                  <c:v>3814445.7288971264</c:v>
                </c:pt>
                <c:pt idx="1073">
                  <c:v>3823200.376983203</c:v>
                </c:pt>
                <c:pt idx="1074">
                  <c:v>3841689.0730797956</c:v>
                </c:pt>
                <c:pt idx="1075">
                  <c:v>3820564.5462851501</c:v>
                </c:pt>
                <c:pt idx="1076">
                  <c:v>3889715.2658209819</c:v>
                </c:pt>
                <c:pt idx="1077">
                  <c:v>3863404.7945773457</c:v>
                </c:pt>
                <c:pt idx="1078">
                  <c:v>3821848.3082789271</c:v>
                </c:pt>
                <c:pt idx="1079">
                  <c:v>3827196.1383693893</c:v>
                </c:pt>
                <c:pt idx="1080">
                  <c:v>3821620.0482905162</c:v>
                </c:pt>
                <c:pt idx="1081">
                  <c:v>3848118.3399583297</c:v>
                </c:pt>
                <c:pt idx="1082">
                  <c:v>3833427.7848649621</c:v>
                </c:pt>
                <c:pt idx="1083">
                  <c:v>3931864.9487436898</c:v>
                </c:pt>
                <c:pt idx="1084">
                  <c:v>4066187.4931324958</c:v>
                </c:pt>
                <c:pt idx="1085">
                  <c:v>3927018.0312427795</c:v>
                </c:pt>
                <c:pt idx="1086">
                  <c:v>3822890.3365384075</c:v>
                </c:pt>
                <c:pt idx="1087">
                  <c:v>3790971.6698307497</c:v>
                </c:pt>
                <c:pt idx="1088">
                  <c:v>3778226.4471161286</c:v>
                </c:pt>
                <c:pt idx="1089">
                  <c:v>3780427.7193612023</c:v>
                </c:pt>
                <c:pt idx="1090">
                  <c:v>3781359.4531449396</c:v>
                </c:pt>
                <c:pt idx="1091">
                  <c:v>3780950.6666120826</c:v>
                </c:pt>
                <c:pt idx="1092">
                  <c:v>3790282.1047469075</c:v>
                </c:pt>
                <c:pt idx="1093">
                  <c:v>3771369.726743394</c:v>
                </c:pt>
                <c:pt idx="1094">
                  <c:v>3763590.7898465935</c:v>
                </c:pt>
                <c:pt idx="1095">
                  <c:v>3758115.9622769239</c:v>
                </c:pt>
              </c:numCache>
            </c:numRef>
          </c:xVal>
          <c:yVal>
            <c:numRef>
              <c:f>'[Final Graph 2.xlsx]Parameters ranges for ANN step1'!$AW$3:$AW$1131</c:f>
              <c:numCache>
                <c:formatCode>0.0000</c:formatCode>
                <c:ptCount val="1129"/>
                <c:pt idx="0">
                  <c:v>651.13081002894523</c:v>
                </c:pt>
                <c:pt idx="1">
                  <c:v>650.94665425079825</c:v>
                </c:pt>
                <c:pt idx="2">
                  <c:v>619.00755324179613</c:v>
                </c:pt>
                <c:pt idx="3">
                  <c:v>623.45703516178628</c:v>
                </c:pt>
                <c:pt idx="4">
                  <c:v>634.95266671420575</c:v>
                </c:pt>
                <c:pt idx="5">
                  <c:v>642.51898371690368</c:v>
                </c:pt>
                <c:pt idx="6">
                  <c:v>667.75034092122257</c:v>
                </c:pt>
                <c:pt idx="7">
                  <c:v>639.41716543601149</c:v>
                </c:pt>
                <c:pt idx="8">
                  <c:v>667.71774707511884</c:v>
                </c:pt>
                <c:pt idx="9">
                  <c:v>641.40040562474655</c:v>
                </c:pt>
                <c:pt idx="10">
                  <c:v>632.92741920641402</c:v>
                </c:pt>
                <c:pt idx="11">
                  <c:v>631.17583705295317</c:v>
                </c:pt>
                <c:pt idx="12">
                  <c:v>636.58654242827765</c:v>
                </c:pt>
                <c:pt idx="13">
                  <c:v>675.86721121503172</c:v>
                </c:pt>
                <c:pt idx="14">
                  <c:v>642.5420726836353</c:v>
                </c:pt>
                <c:pt idx="15">
                  <c:v>626.54936169236771</c:v>
                </c:pt>
                <c:pt idx="16">
                  <c:v>628.23656864340194</c:v>
                </c:pt>
                <c:pt idx="17">
                  <c:v>663.00701006051338</c:v>
                </c:pt>
                <c:pt idx="18">
                  <c:v>684.5596839355054</c:v>
                </c:pt>
                <c:pt idx="19">
                  <c:v>628.12145240323537</c:v>
                </c:pt>
                <c:pt idx="20">
                  <c:v>633.16058553924825</c:v>
                </c:pt>
                <c:pt idx="21">
                  <c:v>637.43355707088165</c:v>
                </c:pt>
                <c:pt idx="22">
                  <c:v>639.67492114477136</c:v>
                </c:pt>
                <c:pt idx="23">
                  <c:v>641.34102846382268</c:v>
                </c:pt>
                <c:pt idx="24">
                  <c:v>634.17171904416193</c:v>
                </c:pt>
                <c:pt idx="25">
                  <c:v>649.56195895128701</c:v>
                </c:pt>
                <c:pt idx="26">
                  <c:v>677.70531549797556</c:v>
                </c:pt>
                <c:pt idx="27">
                  <c:v>644.34209185706936</c:v>
                </c:pt>
                <c:pt idx="28">
                  <c:v>643.81239555251227</c:v>
                </c:pt>
                <c:pt idx="29">
                  <c:v>644.70658195110718</c:v>
                </c:pt>
                <c:pt idx="30">
                  <c:v>650.60028131688364</c:v>
                </c:pt>
                <c:pt idx="31">
                  <c:v>636.48730295791245</c:v>
                </c:pt>
                <c:pt idx="32">
                  <c:v>667.9569700443908</c:v>
                </c:pt>
                <c:pt idx="33">
                  <c:v>662.96969748815525</c:v>
                </c:pt>
                <c:pt idx="34">
                  <c:v>662.80271686483638</c:v>
                </c:pt>
                <c:pt idx="35">
                  <c:v>703.76653209409403</c:v>
                </c:pt>
                <c:pt idx="36">
                  <c:v>658.10427022905264</c:v>
                </c:pt>
                <c:pt idx="37">
                  <c:v>675.71098600685866</c:v>
                </c:pt>
                <c:pt idx="38">
                  <c:v>652.92507640237648</c:v>
                </c:pt>
                <c:pt idx="39">
                  <c:v>651.60438730308817</c:v>
                </c:pt>
                <c:pt idx="40">
                  <c:v>648.31445665551939</c:v>
                </c:pt>
                <c:pt idx="41">
                  <c:v>666.70332799780863</c:v>
                </c:pt>
                <c:pt idx="42">
                  <c:v>705.8502328139773</c:v>
                </c:pt>
                <c:pt idx="43">
                  <c:v>736.94228141389158</c:v>
                </c:pt>
                <c:pt idx="44">
                  <c:v>740.7476782508154</c:v>
                </c:pt>
                <c:pt idx="45">
                  <c:v>1116.1156829024385</c:v>
                </c:pt>
                <c:pt idx="46">
                  <c:v>831.99123434184389</c:v>
                </c:pt>
                <c:pt idx="47">
                  <c:v>748.42276704902656</c:v>
                </c:pt>
                <c:pt idx="48">
                  <c:v>701.37358937764861</c:v>
                </c:pt>
                <c:pt idx="49">
                  <c:v>650.13080227823923</c:v>
                </c:pt>
                <c:pt idx="50">
                  <c:v>716.3549903350247</c:v>
                </c:pt>
                <c:pt idx="51">
                  <c:v>658.40591341486311</c:v>
                </c:pt>
                <c:pt idx="52">
                  <c:v>648.85518754511236</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620.46536679776989</c:v>
                </c:pt>
                <c:pt idx="65">
                  <c:v>637.95605646373485</c:v>
                </c:pt>
                <c:pt idx="66">
                  <c:v>637.66071668053814</c:v>
                </c:pt>
                <c:pt idx="67">
                  <c:v>649.35064779921106</c:v>
                </c:pt>
                <c:pt idx="68">
                  <c:v>692.63946147009949</c:v>
                </c:pt>
                <c:pt idx="69">
                  <c:v>677.14711168578037</c:v>
                </c:pt>
                <c:pt idx="70">
                  <c:v>650.10461703244482</c:v>
                </c:pt>
                <c:pt idx="71">
                  <c:v>656.66457759248544</c:v>
                </c:pt>
                <c:pt idx="72">
                  <c:v>648.66295753038651</c:v>
                </c:pt>
                <c:pt idx="73">
                  <c:v>627.05675033785133</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629.93059061979716</c:v>
                </c:pt>
                <c:pt idx="88">
                  <c:v>627.3075280395384</c:v>
                </c:pt>
                <c:pt idx="89">
                  <c:v>635.82704622214044</c:v>
                </c:pt>
                <c:pt idx="90">
                  <c:v>629.92758465377642</c:v>
                </c:pt>
                <c:pt idx="91">
                  <c:v>637.49203076118818</c:v>
                </c:pt>
                <c:pt idx="92">
                  <c:v>636.34648418759139</c:v>
                </c:pt>
                <c:pt idx="93">
                  <c:v>629.07633582760309</c:v>
                </c:pt>
                <c:pt idx="94">
                  <c:v>644.70107130548524</c:v>
                </c:pt>
                <c:pt idx="95">
                  <c:v>641.75267803002316</c:v>
                </c:pt>
                <c:pt idx="96">
                  <c:v>633.42795933485024</c:v>
                </c:pt>
                <c:pt idx="97">
                  <c:v>636.66631036630122</c:v>
                </c:pt>
                <c:pt idx="98">
                  <c:v>624.68444112921736</c:v>
                </c:pt>
                <c:pt idx="99">
                  <c:v>652.87513228630928</c:v>
                </c:pt>
                <c:pt idx="100">
                  <c:v>675.78717228660855</c:v>
                </c:pt>
                <c:pt idx="101">
                  <c:v>643.16130040117207</c:v>
                </c:pt>
                <c:pt idx="102">
                  <c:v>640.52921795157772</c:v>
                </c:pt>
                <c:pt idx="103">
                  <c:v>638.39213832309463</c:v>
                </c:pt>
                <c:pt idx="104">
                  <c:v>658.7003367630208</c:v>
                </c:pt>
                <c:pt idx="105">
                  <c:v>668.30277528808642</c:v>
                </c:pt>
                <c:pt idx="106">
                  <c:v>660.28791552081827</c:v>
                </c:pt>
                <c:pt idx="107">
                  <c:v>646.30886074291379</c:v>
                </c:pt>
                <c:pt idx="108">
                  <c:v>646.2788998304427</c:v>
                </c:pt>
                <c:pt idx="109">
                  <c:v>662.90827024602549</c:v>
                </c:pt>
                <c:pt idx="110">
                  <c:v>642.85534871225502</c:v>
                </c:pt>
                <c:pt idx="111">
                  <c:v>643.20820078990801</c:v>
                </c:pt>
                <c:pt idx="112">
                  <c:v>666.30648367488959</c:v>
                </c:pt>
                <c:pt idx="113">
                  <c:v>708.3866724545926</c:v>
                </c:pt>
                <c:pt idx="114">
                  <c:v>672.29183854321457</c:v>
                </c:pt>
                <c:pt idx="115">
                  <c:v>647.29094192330751</c:v>
                </c:pt>
                <c:pt idx="116">
                  <c:v>652.94792159515259</c:v>
                </c:pt>
                <c:pt idx="117">
                  <c:v>693.14347601606937</c:v>
                </c:pt>
                <c:pt idx="118">
                  <c:v>654.84034167087282</c:v>
                </c:pt>
                <c:pt idx="119">
                  <c:v>670.57474724265387</c:v>
                </c:pt>
                <c:pt idx="120">
                  <c:v>639.94411039056479</c:v>
                </c:pt>
                <c:pt idx="121">
                  <c:v>668.84934202688135</c:v>
                </c:pt>
                <c:pt idx="122">
                  <c:v>683.50337488138064</c:v>
                </c:pt>
                <c:pt idx="123">
                  <c:v>700.45089977347573</c:v>
                </c:pt>
                <c:pt idx="124">
                  <c:v>691.96276571151634</c:v>
                </c:pt>
                <c:pt idx="125">
                  <c:v>666.90494792100401</c:v>
                </c:pt>
                <c:pt idx="126">
                  <c:v>656.86417471732477</c:v>
                </c:pt>
                <c:pt idx="127">
                  <c:v>641.37646961964447</c:v>
                </c:pt>
                <c:pt idx="128">
                  <c:v>639.24550278583104</c:v>
                </c:pt>
                <c:pt idx="129">
                  <c:v>644.41969145752273</c:v>
                </c:pt>
                <c:pt idx="130">
                  <c:v>647.10561551275146</c:v>
                </c:pt>
                <c:pt idx="131">
                  <c:v>658.86334385986254</c:v>
                </c:pt>
                <c:pt idx="132">
                  <c:v>665.32539921347961</c:v>
                </c:pt>
                <c:pt idx="133">
                  <c:v>665.24540993277083</c:v>
                </c:pt>
                <c:pt idx="134">
                  <c:v>690.25381490129962</c:v>
                </c:pt>
                <c:pt idx="135">
                  <c:v>687.36377857127013</c:v>
                </c:pt>
                <c:pt idx="136">
                  <c:v>659.513004423182</c:v>
                </c:pt>
                <c:pt idx="137">
                  <c:v>657.44721786946297</c:v>
                </c:pt>
                <c:pt idx="138">
                  <c:v>652.73968588320633</c:v>
                </c:pt>
                <c:pt idx="139">
                  <c:v>638.44938442567548</c:v>
                </c:pt>
                <c:pt idx="140">
                  <c:v>663.34223926869572</c:v>
                </c:pt>
                <c:pt idx="141">
                  <c:v>714.55735773282527</c:v>
                </c:pt>
                <c:pt idx="142">
                  <c:v>839.95188314072084</c:v>
                </c:pt>
                <c:pt idx="143">
                  <c:v>914.22038469286224</c:v>
                </c:pt>
                <c:pt idx="144">
                  <c:v>1492.1952981574664</c:v>
                </c:pt>
                <c:pt idx="145">
                  <c:v>7417.4918551058327</c:v>
                </c:pt>
                <c:pt idx="146">
                  <c:v>0</c:v>
                </c:pt>
                <c:pt idx="147">
                  <c:v>0</c:v>
                </c:pt>
                <c:pt idx="148">
                  <c:v>0</c:v>
                </c:pt>
                <c:pt idx="149">
                  <c:v>1201.5855366373034</c:v>
                </c:pt>
                <c:pt idx="150">
                  <c:v>761.15549762124806</c:v>
                </c:pt>
                <c:pt idx="151">
                  <c:v>658.09677072497129</c:v>
                </c:pt>
                <c:pt idx="152">
                  <c:v>625.8507361357066</c:v>
                </c:pt>
                <c:pt idx="153">
                  <c:v>620.91348022745103</c:v>
                </c:pt>
                <c:pt idx="154">
                  <c:v>621.98094252129295</c:v>
                </c:pt>
                <c:pt idx="155">
                  <c:v>629.4022711565334</c:v>
                </c:pt>
                <c:pt idx="156">
                  <c:v>631.49284042079364</c:v>
                </c:pt>
                <c:pt idx="157">
                  <c:v>628.49265299838987</c:v>
                </c:pt>
                <c:pt idx="158">
                  <c:v>642.77729609791527</c:v>
                </c:pt>
                <c:pt idx="159">
                  <c:v>639.9059560974955</c:v>
                </c:pt>
                <c:pt idx="160">
                  <c:v>644.35599011780562</c:v>
                </c:pt>
                <c:pt idx="161">
                  <c:v>658.94515287543913</c:v>
                </c:pt>
                <c:pt idx="162">
                  <c:v>672.07135681636339</c:v>
                </c:pt>
                <c:pt idx="163">
                  <c:v>633.24097076886426</c:v>
                </c:pt>
                <c:pt idx="164">
                  <c:v>625.56330938819804</c:v>
                </c:pt>
                <c:pt idx="165">
                  <c:v>627.92954147107798</c:v>
                </c:pt>
                <c:pt idx="166">
                  <c:v>643.06399690782121</c:v>
                </c:pt>
                <c:pt idx="167">
                  <c:v>640.8321753601407</c:v>
                </c:pt>
                <c:pt idx="168">
                  <c:v>644.25309043116056</c:v>
                </c:pt>
                <c:pt idx="169">
                  <c:v>633.92832474883471</c:v>
                </c:pt>
                <c:pt idx="170">
                  <c:v>650.00242322002714</c:v>
                </c:pt>
                <c:pt idx="171">
                  <c:v>667.65886520028812</c:v>
                </c:pt>
                <c:pt idx="172">
                  <c:v>653.53721119848581</c:v>
                </c:pt>
                <c:pt idx="173">
                  <c:v>661.23989835287239</c:v>
                </c:pt>
                <c:pt idx="174">
                  <c:v>661.61219635426369</c:v>
                </c:pt>
                <c:pt idx="175">
                  <c:v>654.57531708376007</c:v>
                </c:pt>
                <c:pt idx="176">
                  <c:v>689.45928083178103</c:v>
                </c:pt>
                <c:pt idx="177">
                  <c:v>699.0846576339452</c:v>
                </c:pt>
                <c:pt idx="178">
                  <c:v>659.69024944766431</c:v>
                </c:pt>
                <c:pt idx="179">
                  <c:v>677.29838090057251</c:v>
                </c:pt>
                <c:pt idx="180">
                  <c:v>649.59490598985644</c:v>
                </c:pt>
                <c:pt idx="181">
                  <c:v>631.73192746151005</c:v>
                </c:pt>
                <c:pt idx="182">
                  <c:v>649.62900111500642</c:v>
                </c:pt>
                <c:pt idx="183">
                  <c:v>640.03267202294808</c:v>
                </c:pt>
                <c:pt idx="184">
                  <c:v>647.3114016238892</c:v>
                </c:pt>
                <c:pt idx="185">
                  <c:v>646.23387094578425</c:v>
                </c:pt>
                <c:pt idx="186">
                  <c:v>651.98133014390078</c:v>
                </c:pt>
                <c:pt idx="187">
                  <c:v>650.01329950993306</c:v>
                </c:pt>
                <c:pt idx="188">
                  <c:v>648.15149420223804</c:v>
                </c:pt>
                <c:pt idx="189">
                  <c:v>646.32329267922501</c:v>
                </c:pt>
                <c:pt idx="190">
                  <c:v>646.41369334717183</c:v>
                </c:pt>
                <c:pt idx="191">
                  <c:v>649.912065659326</c:v>
                </c:pt>
                <c:pt idx="192">
                  <c:v>649.34051784989833</c:v>
                </c:pt>
                <c:pt idx="193">
                  <c:v>647.04547834760217</c:v>
                </c:pt>
                <c:pt idx="194">
                  <c:v>652.68980268213738</c:v>
                </c:pt>
                <c:pt idx="195">
                  <c:v>654.82799479460937</c:v>
                </c:pt>
                <c:pt idx="196">
                  <c:v>648.30804555933719</c:v>
                </c:pt>
                <c:pt idx="197">
                  <c:v>643.54144645452629</c:v>
                </c:pt>
                <c:pt idx="198">
                  <c:v>641.1678004767117</c:v>
                </c:pt>
                <c:pt idx="199">
                  <c:v>642.12035667315888</c:v>
                </c:pt>
                <c:pt idx="200">
                  <c:v>651.69839345557091</c:v>
                </c:pt>
                <c:pt idx="201">
                  <c:v>644.71559996365704</c:v>
                </c:pt>
                <c:pt idx="202">
                  <c:v>647.0831798200237</c:v>
                </c:pt>
                <c:pt idx="203">
                  <c:v>647.68392742089782</c:v>
                </c:pt>
                <c:pt idx="204">
                  <c:v>642.79352954013916</c:v>
                </c:pt>
                <c:pt idx="205">
                  <c:v>641.43268395580208</c:v>
                </c:pt>
                <c:pt idx="206">
                  <c:v>665.75128668257162</c:v>
                </c:pt>
                <c:pt idx="207">
                  <c:v>654.67408236940116</c:v>
                </c:pt>
                <c:pt idx="208">
                  <c:v>635.28484727909927</c:v>
                </c:pt>
                <c:pt idx="209">
                  <c:v>650.70071935349154</c:v>
                </c:pt>
                <c:pt idx="210">
                  <c:v>629.9100782307155</c:v>
                </c:pt>
                <c:pt idx="211">
                  <c:v>638.79581031304269</c:v>
                </c:pt>
                <c:pt idx="212">
                  <c:v>638.67435999506301</c:v>
                </c:pt>
                <c:pt idx="213">
                  <c:v>649.666823136895</c:v>
                </c:pt>
                <c:pt idx="214">
                  <c:v>673.14758875958773</c:v>
                </c:pt>
                <c:pt idx="215">
                  <c:v>648.28063368841629</c:v>
                </c:pt>
                <c:pt idx="216">
                  <c:v>634.12647014694437</c:v>
                </c:pt>
                <c:pt idx="217">
                  <c:v>644.26213216077667</c:v>
                </c:pt>
                <c:pt idx="218">
                  <c:v>639.3600872107138</c:v>
                </c:pt>
                <c:pt idx="219">
                  <c:v>721.05147392806282</c:v>
                </c:pt>
                <c:pt idx="220">
                  <c:v>633.72598175712051</c:v>
                </c:pt>
                <c:pt idx="221">
                  <c:v>637.58730964095184</c:v>
                </c:pt>
                <c:pt idx="222">
                  <c:v>632.55658276321071</c:v>
                </c:pt>
                <c:pt idx="223">
                  <c:v>638.26227262443217</c:v>
                </c:pt>
                <c:pt idx="224">
                  <c:v>624.06656731298597</c:v>
                </c:pt>
                <c:pt idx="225">
                  <c:v>614.13102617787297</c:v>
                </c:pt>
                <c:pt idx="226">
                  <c:v>649.63899390320887</c:v>
                </c:pt>
                <c:pt idx="227">
                  <c:v>627.16200197296189</c:v>
                </c:pt>
                <c:pt idx="228">
                  <c:v>635.20122503257801</c:v>
                </c:pt>
                <c:pt idx="229">
                  <c:v>632.57638442355221</c:v>
                </c:pt>
                <c:pt idx="230">
                  <c:v>660.44888295370913</c:v>
                </c:pt>
                <c:pt idx="231">
                  <c:v>637.11391931878643</c:v>
                </c:pt>
                <c:pt idx="232">
                  <c:v>645.48315775417598</c:v>
                </c:pt>
                <c:pt idx="233">
                  <c:v>651.45099997201635</c:v>
                </c:pt>
                <c:pt idx="234">
                  <c:v>637.98007100427583</c:v>
                </c:pt>
                <c:pt idx="235">
                  <c:v>651.63839647592886</c:v>
                </c:pt>
                <c:pt idx="236">
                  <c:v>646.99751717664446</c:v>
                </c:pt>
                <c:pt idx="237">
                  <c:v>645.00870901838493</c:v>
                </c:pt>
                <c:pt idx="238">
                  <c:v>648.48052782974082</c:v>
                </c:pt>
                <c:pt idx="239">
                  <c:v>646.35868550678606</c:v>
                </c:pt>
                <c:pt idx="240">
                  <c:v>692.93407250423627</c:v>
                </c:pt>
                <c:pt idx="241">
                  <c:v>696.46690251425287</c:v>
                </c:pt>
                <c:pt idx="242">
                  <c:v>701.53389344072957</c:v>
                </c:pt>
                <c:pt idx="243">
                  <c:v>690.43754669280611</c:v>
                </c:pt>
                <c:pt idx="244">
                  <c:v>689.72297826119518</c:v>
                </c:pt>
                <c:pt idx="245">
                  <c:v>790.49840665131762</c:v>
                </c:pt>
                <c:pt idx="246">
                  <c:v>920.71158132060611</c:v>
                </c:pt>
                <c:pt idx="247">
                  <c:v>909.5537449972137</c:v>
                </c:pt>
                <c:pt idx="248">
                  <c:v>884.20459584286709</c:v>
                </c:pt>
                <c:pt idx="249">
                  <c:v>828.74746167748685</c:v>
                </c:pt>
                <c:pt idx="250">
                  <c:v>844.37993073785958</c:v>
                </c:pt>
                <c:pt idx="251">
                  <c:v>739.36482951126709</c:v>
                </c:pt>
                <c:pt idx="252">
                  <c:v>693.57160466543928</c:v>
                </c:pt>
                <c:pt idx="253">
                  <c:v>732.11705116895553</c:v>
                </c:pt>
                <c:pt idx="254">
                  <c:v>730.72952411971369</c:v>
                </c:pt>
                <c:pt idx="255">
                  <c:v>780.39448621332917</c:v>
                </c:pt>
                <c:pt idx="256">
                  <c:v>665.8519571989043</c:v>
                </c:pt>
                <c:pt idx="257">
                  <c:v>642.12522197079863</c:v>
                </c:pt>
                <c:pt idx="258">
                  <c:v>678.86300858730192</c:v>
                </c:pt>
                <c:pt idx="259">
                  <c:v>894.88218592873875</c:v>
                </c:pt>
                <c:pt idx="260">
                  <c:v>856.42360465956926</c:v>
                </c:pt>
                <c:pt idx="261">
                  <c:v>710.32958248323314</c:v>
                </c:pt>
                <c:pt idx="262">
                  <c:v>707.59229574222491</c:v>
                </c:pt>
                <c:pt idx="263">
                  <c:v>739.63351675175613</c:v>
                </c:pt>
                <c:pt idx="264">
                  <c:v>697.85169806780482</c:v>
                </c:pt>
                <c:pt idx="265">
                  <c:v>654.64563310752862</c:v>
                </c:pt>
                <c:pt idx="266">
                  <c:v>672.86130055012677</c:v>
                </c:pt>
                <c:pt idx="267">
                  <c:v>709.75949176362849</c:v>
                </c:pt>
                <c:pt idx="268">
                  <c:v>634.90396163894798</c:v>
                </c:pt>
                <c:pt idx="269">
                  <c:v>653.52921877547874</c:v>
                </c:pt>
                <c:pt idx="270">
                  <c:v>660.92107774066199</c:v>
                </c:pt>
                <c:pt idx="271">
                  <c:v>675.44722315050694</c:v>
                </c:pt>
                <c:pt idx="272">
                  <c:v>649.2542952634567</c:v>
                </c:pt>
                <c:pt idx="273">
                  <c:v>637.37805795348049</c:v>
                </c:pt>
                <c:pt idx="274">
                  <c:v>650.49958806320308</c:v>
                </c:pt>
                <c:pt idx="275">
                  <c:v>663.48346621210658</c:v>
                </c:pt>
                <c:pt idx="276">
                  <c:v>651.23209109427535</c:v>
                </c:pt>
                <c:pt idx="277">
                  <c:v>659.66671311373625</c:v>
                </c:pt>
                <c:pt idx="278">
                  <c:v>686.97736317562533</c:v>
                </c:pt>
                <c:pt idx="279">
                  <c:v>650.13753060812439</c:v>
                </c:pt>
                <c:pt idx="280">
                  <c:v>630.05500784369497</c:v>
                </c:pt>
                <c:pt idx="281">
                  <c:v>640.1823016411098</c:v>
                </c:pt>
                <c:pt idx="282">
                  <c:v>633.44658651945213</c:v>
                </c:pt>
                <c:pt idx="283">
                  <c:v>631.93600543589571</c:v>
                </c:pt>
                <c:pt idx="284">
                  <c:v>630.54867615316925</c:v>
                </c:pt>
                <c:pt idx="285">
                  <c:v>637.66387559303519</c:v>
                </c:pt>
                <c:pt idx="286">
                  <c:v>634.68354931299461</c:v>
                </c:pt>
                <c:pt idx="287">
                  <c:v>642.05518742555648</c:v>
                </c:pt>
                <c:pt idx="288">
                  <c:v>651.94390601452233</c:v>
                </c:pt>
                <c:pt idx="289">
                  <c:v>651.25928601394389</c:v>
                </c:pt>
                <c:pt idx="290">
                  <c:v>650.91610376053757</c:v>
                </c:pt>
                <c:pt idx="291">
                  <c:v>697.72303476133857</c:v>
                </c:pt>
                <c:pt idx="292">
                  <c:v>668.77103159935609</c:v>
                </c:pt>
                <c:pt idx="293">
                  <c:v>660.83855405537327</c:v>
                </c:pt>
                <c:pt idx="294">
                  <c:v>654.06881596209178</c:v>
                </c:pt>
                <c:pt idx="295">
                  <c:v>662.87162720261063</c:v>
                </c:pt>
                <c:pt idx="296">
                  <c:v>661.58360805851703</c:v>
                </c:pt>
                <c:pt idx="297">
                  <c:v>674.08173457444968</c:v>
                </c:pt>
                <c:pt idx="298">
                  <c:v>646.21537255496685</c:v>
                </c:pt>
                <c:pt idx="299">
                  <c:v>679.46005238493603</c:v>
                </c:pt>
                <c:pt idx="300">
                  <c:v>686.68625635698299</c:v>
                </c:pt>
                <c:pt idx="301">
                  <c:v>671.90600282687103</c:v>
                </c:pt>
                <c:pt idx="302">
                  <c:v>651.09255572886593</c:v>
                </c:pt>
                <c:pt idx="303">
                  <c:v>638.94559044865628</c:v>
                </c:pt>
                <c:pt idx="304">
                  <c:v>653.43749693382244</c:v>
                </c:pt>
                <c:pt idx="305">
                  <c:v>637.9118555061234</c:v>
                </c:pt>
                <c:pt idx="306">
                  <c:v>643.4777086872391</c:v>
                </c:pt>
                <c:pt idx="307">
                  <c:v>645.76304378820157</c:v>
                </c:pt>
                <c:pt idx="308">
                  <c:v>654.40119748705774</c:v>
                </c:pt>
                <c:pt idx="309">
                  <c:v>654.77676309733454</c:v>
                </c:pt>
                <c:pt idx="310">
                  <c:v>642.8578604705076</c:v>
                </c:pt>
                <c:pt idx="311">
                  <c:v>642.3971267990986</c:v>
                </c:pt>
                <c:pt idx="312">
                  <c:v>653.62723110420688</c:v>
                </c:pt>
                <c:pt idx="313">
                  <c:v>657.42888173333972</c:v>
                </c:pt>
                <c:pt idx="314">
                  <c:v>662.62434489856082</c:v>
                </c:pt>
                <c:pt idx="315">
                  <c:v>647.86094946601554</c:v>
                </c:pt>
                <c:pt idx="316">
                  <c:v>660.67891018098726</c:v>
                </c:pt>
                <c:pt idx="317">
                  <c:v>663.62202378115069</c:v>
                </c:pt>
                <c:pt idx="318">
                  <c:v>648.94076166140792</c:v>
                </c:pt>
                <c:pt idx="319">
                  <c:v>641.09228554261074</c:v>
                </c:pt>
                <c:pt idx="320">
                  <c:v>649.35116115196911</c:v>
                </c:pt>
                <c:pt idx="321">
                  <c:v>647.83433090734013</c:v>
                </c:pt>
                <c:pt idx="322">
                  <c:v>648.16040409691993</c:v>
                </c:pt>
                <c:pt idx="323">
                  <c:v>652.04562267486119</c:v>
                </c:pt>
                <c:pt idx="324">
                  <c:v>642.23907522674801</c:v>
                </c:pt>
                <c:pt idx="325">
                  <c:v>639.79995763166949</c:v>
                </c:pt>
                <c:pt idx="326">
                  <c:v>631.68646672105285</c:v>
                </c:pt>
                <c:pt idx="327">
                  <c:v>634.88958530944876</c:v>
                </c:pt>
                <c:pt idx="328">
                  <c:v>631.23088829103472</c:v>
                </c:pt>
                <c:pt idx="329">
                  <c:v>639.73738142978937</c:v>
                </c:pt>
                <c:pt idx="330">
                  <c:v>640.52566472499814</c:v>
                </c:pt>
                <c:pt idx="331">
                  <c:v>648.04876896061944</c:v>
                </c:pt>
                <c:pt idx="332">
                  <c:v>647.84593781998171</c:v>
                </c:pt>
                <c:pt idx="333">
                  <c:v>642.23773343597225</c:v>
                </c:pt>
                <c:pt idx="334">
                  <c:v>758.60433332250057</c:v>
                </c:pt>
                <c:pt idx="335">
                  <c:v>737.99426839161424</c:v>
                </c:pt>
                <c:pt idx="336">
                  <c:v>652.21612085092931</c:v>
                </c:pt>
                <c:pt idx="337">
                  <c:v>638.41484854960163</c:v>
                </c:pt>
                <c:pt idx="338">
                  <c:v>637.1935148217184</c:v>
                </c:pt>
                <c:pt idx="339">
                  <c:v>630.80148743363998</c:v>
                </c:pt>
                <c:pt idx="340">
                  <c:v>628.93795840116934</c:v>
                </c:pt>
                <c:pt idx="341">
                  <c:v>622.96613787876993</c:v>
                </c:pt>
                <c:pt idx="342">
                  <c:v>627.8534464427363</c:v>
                </c:pt>
                <c:pt idx="343">
                  <c:v>632.87787083109356</c:v>
                </c:pt>
                <c:pt idx="344">
                  <c:v>635.45316328963463</c:v>
                </c:pt>
                <c:pt idx="345">
                  <c:v>640.09069639160259</c:v>
                </c:pt>
                <c:pt idx="346">
                  <c:v>635.29097467074905</c:v>
                </c:pt>
                <c:pt idx="347">
                  <c:v>629.35782472002927</c:v>
                </c:pt>
                <c:pt idx="348">
                  <c:v>636.36251211400042</c:v>
                </c:pt>
                <c:pt idx="349">
                  <c:v>633.76743870825987</c:v>
                </c:pt>
                <c:pt idx="350">
                  <c:v>636.2192778361773</c:v>
                </c:pt>
                <c:pt idx="351">
                  <c:v>624.10549869746603</c:v>
                </c:pt>
                <c:pt idx="352">
                  <c:v>635.48321089705041</c:v>
                </c:pt>
                <c:pt idx="353">
                  <c:v>638.97656144089524</c:v>
                </c:pt>
                <c:pt idx="354">
                  <c:v>638.28598536885238</c:v>
                </c:pt>
                <c:pt idx="355">
                  <c:v>636.51997506898556</c:v>
                </c:pt>
                <c:pt idx="356">
                  <c:v>684.91108754387938</c:v>
                </c:pt>
                <c:pt idx="357">
                  <c:v>654.98633490139321</c:v>
                </c:pt>
                <c:pt idx="358">
                  <c:v>631.27703745600638</c:v>
                </c:pt>
                <c:pt idx="359">
                  <c:v>636.3794482059152</c:v>
                </c:pt>
                <c:pt idx="360">
                  <c:v>630.67098085061366</c:v>
                </c:pt>
                <c:pt idx="361">
                  <c:v>632.0262541061312</c:v>
                </c:pt>
                <c:pt idx="362">
                  <c:v>634.11540602889374</c:v>
                </c:pt>
                <c:pt idx="363">
                  <c:v>724.87365059427179</c:v>
                </c:pt>
                <c:pt idx="364">
                  <c:v>913.71948615034228</c:v>
                </c:pt>
                <c:pt idx="365">
                  <c:v>864.71845565776198</c:v>
                </c:pt>
                <c:pt idx="366">
                  <c:v>629.66804582324562</c:v>
                </c:pt>
                <c:pt idx="367">
                  <c:v>634.95603487613687</c:v>
                </c:pt>
                <c:pt idx="368">
                  <c:v>623.46981229834751</c:v>
                </c:pt>
                <c:pt idx="369">
                  <c:v>621.33664391589241</c:v>
                </c:pt>
                <c:pt idx="370">
                  <c:v>615.71458413329594</c:v>
                </c:pt>
                <c:pt idx="371">
                  <c:v>619.43048479649326</c:v>
                </c:pt>
                <c:pt idx="372">
                  <c:v>615.44704542249042</c:v>
                </c:pt>
                <c:pt idx="373">
                  <c:v>623.88792738248037</c:v>
                </c:pt>
                <c:pt idx="374">
                  <c:v>625.22645971420252</c:v>
                </c:pt>
                <c:pt idx="375">
                  <c:v>644.75992140093285</c:v>
                </c:pt>
                <c:pt idx="376">
                  <c:v>633.51967836344761</c:v>
                </c:pt>
                <c:pt idx="377">
                  <c:v>629.66715142273097</c:v>
                </c:pt>
                <c:pt idx="378">
                  <c:v>627.22374046018467</c:v>
                </c:pt>
                <c:pt idx="379">
                  <c:v>628.87946698833719</c:v>
                </c:pt>
                <c:pt idx="380">
                  <c:v>620.56528983339467</c:v>
                </c:pt>
                <c:pt idx="381">
                  <c:v>613.30341178206311</c:v>
                </c:pt>
                <c:pt idx="382">
                  <c:v>622.44936034198122</c:v>
                </c:pt>
                <c:pt idx="383">
                  <c:v>631.28637547682399</c:v>
                </c:pt>
                <c:pt idx="384">
                  <c:v>630.98815182576629</c:v>
                </c:pt>
                <c:pt idx="385">
                  <c:v>625.25343946860903</c:v>
                </c:pt>
                <c:pt idx="386">
                  <c:v>626.12283369193017</c:v>
                </c:pt>
                <c:pt idx="387">
                  <c:v>629.41914564058879</c:v>
                </c:pt>
                <c:pt idx="388">
                  <c:v>629.76154134682884</c:v>
                </c:pt>
                <c:pt idx="389">
                  <c:v>629.62344284960909</c:v>
                </c:pt>
                <c:pt idx="390">
                  <c:v>625.56086499627042</c:v>
                </c:pt>
                <c:pt idx="391">
                  <c:v>618.97012634947521</c:v>
                </c:pt>
                <c:pt idx="392">
                  <c:v>624.39864918374155</c:v>
                </c:pt>
                <c:pt idx="393">
                  <c:v>620.96702390766382</c:v>
                </c:pt>
                <c:pt idx="394">
                  <c:v>622.25713973862105</c:v>
                </c:pt>
                <c:pt idx="395">
                  <c:v>625.65220365520543</c:v>
                </c:pt>
                <c:pt idx="396">
                  <c:v>633.81876553241318</c:v>
                </c:pt>
                <c:pt idx="397">
                  <c:v>623.91967569890301</c:v>
                </c:pt>
                <c:pt idx="398">
                  <c:v>632.89539565713312</c:v>
                </c:pt>
                <c:pt idx="399">
                  <c:v>626.85254372412044</c:v>
                </c:pt>
                <c:pt idx="400">
                  <c:v>637.31725434998111</c:v>
                </c:pt>
                <c:pt idx="401">
                  <c:v>631.42855829197072</c:v>
                </c:pt>
                <c:pt idx="402">
                  <c:v>640.01782818390438</c:v>
                </c:pt>
                <c:pt idx="403">
                  <c:v>639.72186494881589</c:v>
                </c:pt>
                <c:pt idx="404">
                  <c:v>640.35035192703356</c:v>
                </c:pt>
                <c:pt idx="405">
                  <c:v>644.26299509916464</c:v>
                </c:pt>
                <c:pt idx="406">
                  <c:v>629.7130779596647</c:v>
                </c:pt>
                <c:pt idx="407">
                  <c:v>630.68386707896343</c:v>
                </c:pt>
                <c:pt idx="408">
                  <c:v>644.71324015192999</c:v>
                </c:pt>
                <c:pt idx="409">
                  <c:v>630.13869025875545</c:v>
                </c:pt>
                <c:pt idx="410">
                  <c:v>634.32598491970941</c:v>
                </c:pt>
                <c:pt idx="411">
                  <c:v>625.79326343549053</c:v>
                </c:pt>
                <c:pt idx="412">
                  <c:v>635.52166971464624</c:v>
                </c:pt>
                <c:pt idx="413">
                  <c:v>629.8666552551033</c:v>
                </c:pt>
                <c:pt idx="414">
                  <c:v>630.10523901702209</c:v>
                </c:pt>
                <c:pt idx="415">
                  <c:v>641.11908514445508</c:v>
                </c:pt>
                <c:pt idx="416">
                  <c:v>647.08528468696716</c:v>
                </c:pt>
                <c:pt idx="417">
                  <c:v>635.30229618832038</c:v>
                </c:pt>
                <c:pt idx="418">
                  <c:v>623.74226691483523</c:v>
                </c:pt>
                <c:pt idx="419">
                  <c:v>639.07449011698611</c:v>
                </c:pt>
                <c:pt idx="420">
                  <c:v>639.13774764667789</c:v>
                </c:pt>
                <c:pt idx="421">
                  <c:v>639.30643784022129</c:v>
                </c:pt>
                <c:pt idx="422">
                  <c:v>648.93419387121128</c:v>
                </c:pt>
                <c:pt idx="423">
                  <c:v>644.14886673118485</c:v>
                </c:pt>
                <c:pt idx="424">
                  <c:v>637.57735125851252</c:v>
                </c:pt>
                <c:pt idx="425">
                  <c:v>648.2421424759026</c:v>
                </c:pt>
                <c:pt idx="426">
                  <c:v>634.85750762244356</c:v>
                </c:pt>
                <c:pt idx="427">
                  <c:v>626.99112111756074</c:v>
                </c:pt>
                <c:pt idx="428">
                  <c:v>627.20425403413731</c:v>
                </c:pt>
                <c:pt idx="429">
                  <c:v>639.2509079190271</c:v>
                </c:pt>
                <c:pt idx="430">
                  <c:v>636.1118570065903</c:v>
                </c:pt>
                <c:pt idx="431">
                  <c:v>636.05922984179222</c:v>
                </c:pt>
                <c:pt idx="432">
                  <c:v>625.0791642671154</c:v>
                </c:pt>
                <c:pt idx="433">
                  <c:v>636.43918097927656</c:v>
                </c:pt>
                <c:pt idx="434">
                  <c:v>636.78134088189984</c:v>
                </c:pt>
                <c:pt idx="435">
                  <c:v>632.29542974655374</c:v>
                </c:pt>
                <c:pt idx="436">
                  <c:v>637.42184141481289</c:v>
                </c:pt>
                <c:pt idx="437">
                  <c:v>641.98076796774137</c:v>
                </c:pt>
                <c:pt idx="438">
                  <c:v>644.10266201930426</c:v>
                </c:pt>
                <c:pt idx="439">
                  <c:v>649.67080824742357</c:v>
                </c:pt>
                <c:pt idx="440">
                  <c:v>635.36684747289303</c:v>
                </c:pt>
                <c:pt idx="441">
                  <c:v>656.52542998010654</c:v>
                </c:pt>
                <c:pt idx="442">
                  <c:v>633.99731513093218</c:v>
                </c:pt>
                <c:pt idx="443">
                  <c:v>637.96877342886319</c:v>
                </c:pt>
                <c:pt idx="444">
                  <c:v>633.78148842810822</c:v>
                </c:pt>
                <c:pt idx="445">
                  <c:v>627.03228712613009</c:v>
                </c:pt>
                <c:pt idx="446">
                  <c:v>630.60152536028465</c:v>
                </c:pt>
                <c:pt idx="447">
                  <c:v>637.93431492649802</c:v>
                </c:pt>
                <c:pt idx="448">
                  <c:v>644.09634538249611</c:v>
                </c:pt>
                <c:pt idx="449">
                  <c:v>650.05982399999345</c:v>
                </c:pt>
                <c:pt idx="450">
                  <c:v>636.00092932297343</c:v>
                </c:pt>
                <c:pt idx="451">
                  <c:v>633.18405623098852</c:v>
                </c:pt>
                <c:pt idx="452">
                  <c:v>624.38028232392571</c:v>
                </c:pt>
                <c:pt idx="453">
                  <c:v>638.96672281974918</c:v>
                </c:pt>
                <c:pt idx="454">
                  <c:v>634.54371453939882</c:v>
                </c:pt>
                <c:pt idx="455">
                  <c:v>621.95676500198908</c:v>
                </c:pt>
                <c:pt idx="456">
                  <c:v>633.3190515031597</c:v>
                </c:pt>
                <c:pt idx="457">
                  <c:v>654.02845751153063</c:v>
                </c:pt>
                <c:pt idx="458">
                  <c:v>632.86187791438726</c:v>
                </c:pt>
                <c:pt idx="459">
                  <c:v>640.36998554495835</c:v>
                </c:pt>
                <c:pt idx="460">
                  <c:v>629.36472018872087</c:v>
                </c:pt>
                <c:pt idx="461">
                  <c:v>634.80695922346604</c:v>
                </c:pt>
                <c:pt idx="462">
                  <c:v>625.93219091766309</c:v>
                </c:pt>
                <c:pt idx="463">
                  <c:v>618.66181885323647</c:v>
                </c:pt>
                <c:pt idx="464">
                  <c:v>625.82901119111796</c:v>
                </c:pt>
                <c:pt idx="465">
                  <c:v>624.25302378489368</c:v>
                </c:pt>
                <c:pt idx="466">
                  <c:v>639.55706581944537</c:v>
                </c:pt>
                <c:pt idx="467">
                  <c:v>811.06651274502428</c:v>
                </c:pt>
                <c:pt idx="468">
                  <c:v>1056.4586067330986</c:v>
                </c:pt>
                <c:pt idx="469">
                  <c:v>639.8031674767866</c:v>
                </c:pt>
                <c:pt idx="470">
                  <c:v>636.72102210454091</c:v>
                </c:pt>
                <c:pt idx="471">
                  <c:v>629.62149056647843</c:v>
                </c:pt>
                <c:pt idx="472">
                  <c:v>637.30905859707207</c:v>
                </c:pt>
                <c:pt idx="473">
                  <c:v>636.01776953777437</c:v>
                </c:pt>
                <c:pt idx="474">
                  <c:v>634.5252496001109</c:v>
                </c:pt>
                <c:pt idx="475">
                  <c:v>642.66510897280716</c:v>
                </c:pt>
                <c:pt idx="476">
                  <c:v>641.41598858932298</c:v>
                </c:pt>
                <c:pt idx="477">
                  <c:v>645.5409021594171</c:v>
                </c:pt>
                <c:pt idx="478">
                  <c:v>632.60065102204021</c:v>
                </c:pt>
                <c:pt idx="479">
                  <c:v>637.14836092507937</c:v>
                </c:pt>
                <c:pt idx="480">
                  <c:v>650.45653008403974</c:v>
                </c:pt>
                <c:pt idx="481">
                  <c:v>659.20219267320499</c:v>
                </c:pt>
                <c:pt idx="482">
                  <c:v>660.40421137183637</c:v>
                </c:pt>
                <c:pt idx="483">
                  <c:v>663.43157585821768</c:v>
                </c:pt>
                <c:pt idx="484">
                  <c:v>649.78070173977744</c:v>
                </c:pt>
                <c:pt idx="485">
                  <c:v>653.34828512685453</c:v>
                </c:pt>
                <c:pt idx="486">
                  <c:v>633.23395185151571</c:v>
                </c:pt>
                <c:pt idx="487">
                  <c:v>648.5117247049393</c:v>
                </c:pt>
                <c:pt idx="488">
                  <c:v>642.20504802840026</c:v>
                </c:pt>
                <c:pt idx="489">
                  <c:v>643.87883949443949</c:v>
                </c:pt>
                <c:pt idx="490">
                  <c:v>640.99439206672605</c:v>
                </c:pt>
                <c:pt idx="491">
                  <c:v>634.75320108826577</c:v>
                </c:pt>
                <c:pt idx="492">
                  <c:v>679.2506902197498</c:v>
                </c:pt>
                <c:pt idx="493">
                  <c:v>886.31798964149368</c:v>
                </c:pt>
                <c:pt idx="494">
                  <c:v>976.71009101406605</c:v>
                </c:pt>
                <c:pt idx="495">
                  <c:v>1172.2222409006183</c:v>
                </c:pt>
                <c:pt idx="496">
                  <c:v>1207.0167680667305</c:v>
                </c:pt>
                <c:pt idx="497">
                  <c:v>0</c:v>
                </c:pt>
                <c:pt idx="498">
                  <c:v>0</c:v>
                </c:pt>
                <c:pt idx="499">
                  <c:v>636.67173709633448</c:v>
                </c:pt>
                <c:pt idx="500">
                  <c:v>630.16637942907334</c:v>
                </c:pt>
                <c:pt idx="501">
                  <c:v>634.8194973051518</c:v>
                </c:pt>
                <c:pt idx="502">
                  <c:v>638.46316060639754</c:v>
                </c:pt>
                <c:pt idx="503">
                  <c:v>628.58210875461305</c:v>
                </c:pt>
                <c:pt idx="504">
                  <c:v>646.68964272716141</c:v>
                </c:pt>
                <c:pt idx="505">
                  <c:v>625.80620579895617</c:v>
                </c:pt>
                <c:pt idx="506">
                  <c:v>811.64736025875709</c:v>
                </c:pt>
                <c:pt idx="507">
                  <c:v>640.67036302370536</c:v>
                </c:pt>
                <c:pt idx="508">
                  <c:v>647.24839390503303</c:v>
                </c:pt>
                <c:pt idx="509">
                  <c:v>624.9969083359299</c:v>
                </c:pt>
                <c:pt idx="510">
                  <c:v>621.5031425990137</c:v>
                </c:pt>
                <c:pt idx="511">
                  <c:v>631.93551449459119</c:v>
                </c:pt>
                <c:pt idx="512">
                  <c:v>642.30140410802426</c:v>
                </c:pt>
                <c:pt idx="513">
                  <c:v>633.11978984538598</c:v>
                </c:pt>
                <c:pt idx="514">
                  <c:v>634.36246053600473</c:v>
                </c:pt>
                <c:pt idx="515">
                  <c:v>636.16453656020462</c:v>
                </c:pt>
                <c:pt idx="516">
                  <c:v>629.66534517558728</c:v>
                </c:pt>
                <c:pt idx="517">
                  <c:v>629.67438631324183</c:v>
                </c:pt>
                <c:pt idx="518">
                  <c:v>636.40028169372545</c:v>
                </c:pt>
                <c:pt idx="519">
                  <c:v>628.84501609077108</c:v>
                </c:pt>
                <c:pt idx="520">
                  <c:v>631.46973421976816</c:v>
                </c:pt>
                <c:pt idx="521">
                  <c:v>621.95528386126739</c:v>
                </c:pt>
                <c:pt idx="522">
                  <c:v>630.55023538486125</c:v>
                </c:pt>
                <c:pt idx="523">
                  <c:v>631.72597603892461</c:v>
                </c:pt>
                <c:pt idx="524">
                  <c:v>638.59697565680881</c:v>
                </c:pt>
                <c:pt idx="525">
                  <c:v>640.64738441383736</c:v>
                </c:pt>
                <c:pt idx="526">
                  <c:v>642.13488956652247</c:v>
                </c:pt>
                <c:pt idx="527">
                  <c:v>666.55614432146911</c:v>
                </c:pt>
                <c:pt idx="528">
                  <c:v>648.20942333807079</c:v>
                </c:pt>
                <c:pt idx="529">
                  <c:v>654.57038138379005</c:v>
                </c:pt>
                <c:pt idx="530">
                  <c:v>651.11854680355725</c:v>
                </c:pt>
                <c:pt idx="531">
                  <c:v>653.65269461077844</c:v>
                </c:pt>
                <c:pt idx="532">
                  <c:v>652.00627861736143</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715.19738206676607</c:v>
                </c:pt>
                <c:pt idx="543">
                  <c:v>684.94197442265147</c:v>
                </c:pt>
                <c:pt idx="544">
                  <c:v>711.83071298596531</c:v>
                </c:pt>
                <c:pt idx="545">
                  <c:v>657.30067741039602</c:v>
                </c:pt>
                <c:pt idx="546">
                  <c:v>653.48691283906373</c:v>
                </c:pt>
                <c:pt idx="547">
                  <c:v>652.39814030438038</c:v>
                </c:pt>
                <c:pt idx="548">
                  <c:v>634.53641684726324</c:v>
                </c:pt>
                <c:pt idx="549">
                  <c:v>648.73937517374884</c:v>
                </c:pt>
                <c:pt idx="550">
                  <c:v>639.62956482822676</c:v>
                </c:pt>
                <c:pt idx="551">
                  <c:v>625.05971230816817</c:v>
                </c:pt>
                <c:pt idx="552">
                  <c:v>634.77795136327927</c:v>
                </c:pt>
                <c:pt idx="553">
                  <c:v>637.90655233063126</c:v>
                </c:pt>
                <c:pt idx="554">
                  <c:v>631.66149188505153</c:v>
                </c:pt>
                <c:pt idx="555">
                  <c:v>647.1636677566737</c:v>
                </c:pt>
                <c:pt idx="556">
                  <c:v>642.7266379350948</c:v>
                </c:pt>
                <c:pt idx="557">
                  <c:v>638.70523348421113</c:v>
                </c:pt>
                <c:pt idx="558">
                  <c:v>632.37210997868124</c:v>
                </c:pt>
                <c:pt idx="559">
                  <c:v>629.0121989569268</c:v>
                </c:pt>
                <c:pt idx="560">
                  <c:v>638.43878377892122</c:v>
                </c:pt>
                <c:pt idx="561">
                  <c:v>638.9857825073932</c:v>
                </c:pt>
                <c:pt idx="562">
                  <c:v>655.27959087979309</c:v>
                </c:pt>
                <c:pt idx="563">
                  <c:v>630.56425913940893</c:v>
                </c:pt>
                <c:pt idx="564">
                  <c:v>664.62545748874152</c:v>
                </c:pt>
                <c:pt idx="565">
                  <c:v>648.94571962144391</c:v>
                </c:pt>
                <c:pt idx="566">
                  <c:v>629.61200173568579</c:v>
                </c:pt>
                <c:pt idx="567">
                  <c:v>640.55148170921723</c:v>
                </c:pt>
                <c:pt idx="568">
                  <c:v>691.27126521618561</c:v>
                </c:pt>
                <c:pt idx="569">
                  <c:v>682.45562231920803</c:v>
                </c:pt>
                <c:pt idx="570">
                  <c:v>853.12366935921239</c:v>
                </c:pt>
                <c:pt idx="571">
                  <c:v>723.19199540603734</c:v>
                </c:pt>
                <c:pt idx="572">
                  <c:v>734.50637193673799</c:v>
                </c:pt>
                <c:pt idx="573">
                  <c:v>673.64153684308042</c:v>
                </c:pt>
                <c:pt idx="574">
                  <c:v>657.02606251614566</c:v>
                </c:pt>
                <c:pt idx="575">
                  <c:v>629.03948343204104</c:v>
                </c:pt>
                <c:pt idx="576">
                  <c:v>643.20019842889906</c:v>
                </c:pt>
                <c:pt idx="577">
                  <c:v>645.43385463452387</c:v>
                </c:pt>
                <c:pt idx="578">
                  <c:v>626.79242968996266</c:v>
                </c:pt>
                <c:pt idx="579">
                  <c:v>644.38502376147562</c:v>
                </c:pt>
                <c:pt idx="580">
                  <c:v>665.47573030739704</c:v>
                </c:pt>
                <c:pt idx="581">
                  <c:v>682.89127914114738</c:v>
                </c:pt>
                <c:pt idx="582">
                  <c:v>635.90134324196458</c:v>
                </c:pt>
                <c:pt idx="583">
                  <c:v>627.05780071593495</c:v>
                </c:pt>
                <c:pt idx="584">
                  <c:v>650.44489738411289</c:v>
                </c:pt>
                <c:pt idx="585">
                  <c:v>664.70646335381844</c:v>
                </c:pt>
                <c:pt idx="586">
                  <c:v>692.23329803394154</c:v>
                </c:pt>
                <c:pt idx="587">
                  <c:v>655.5326863874551</c:v>
                </c:pt>
                <c:pt idx="588">
                  <c:v>647.26622980838329</c:v>
                </c:pt>
                <c:pt idx="589">
                  <c:v>651.73587746264025</c:v>
                </c:pt>
                <c:pt idx="590">
                  <c:v>653.49968021509369</c:v>
                </c:pt>
                <c:pt idx="591">
                  <c:v>652.01387799941165</c:v>
                </c:pt>
                <c:pt idx="592">
                  <c:v>651.88078916170946</c:v>
                </c:pt>
                <c:pt idx="593">
                  <c:v>648.32267610962333</c:v>
                </c:pt>
                <c:pt idx="594">
                  <c:v>628.45633789635724</c:v>
                </c:pt>
                <c:pt idx="595">
                  <c:v>636.9054104068739</c:v>
                </c:pt>
                <c:pt idx="596">
                  <c:v>637.56867056480598</c:v>
                </c:pt>
                <c:pt idx="597">
                  <c:v>640.49374131020716</c:v>
                </c:pt>
                <c:pt idx="598">
                  <c:v>643.8745642295612</c:v>
                </c:pt>
                <c:pt idx="599">
                  <c:v>654.40600826896809</c:v>
                </c:pt>
                <c:pt idx="600">
                  <c:v>664.48761283362262</c:v>
                </c:pt>
                <c:pt idx="601">
                  <c:v>680.59277192306638</c:v>
                </c:pt>
                <c:pt idx="602">
                  <c:v>644.59449497063508</c:v>
                </c:pt>
                <c:pt idx="603">
                  <c:v>662.70028527149373</c:v>
                </c:pt>
                <c:pt idx="604">
                  <c:v>655.96421653234472</c:v>
                </c:pt>
                <c:pt idx="605">
                  <c:v>630.66381435215226</c:v>
                </c:pt>
                <c:pt idx="606">
                  <c:v>633.68355672693235</c:v>
                </c:pt>
                <c:pt idx="607">
                  <c:v>716.70270660108872</c:v>
                </c:pt>
                <c:pt idx="608">
                  <c:v>639.78039349163134</c:v>
                </c:pt>
                <c:pt idx="609">
                  <c:v>640.24386883970681</c:v>
                </c:pt>
                <c:pt idx="610">
                  <c:v>667.69981806174212</c:v>
                </c:pt>
                <c:pt idx="611">
                  <c:v>644.04057027964495</c:v>
                </c:pt>
                <c:pt idx="612">
                  <c:v>644.65626328836743</c:v>
                </c:pt>
                <c:pt idx="613">
                  <c:v>637.87536833300942</c:v>
                </c:pt>
                <c:pt idx="614">
                  <c:v>629.96558164830901</c:v>
                </c:pt>
                <c:pt idx="615">
                  <c:v>645.95479927898043</c:v>
                </c:pt>
                <c:pt idx="616">
                  <c:v>653.77036805692035</c:v>
                </c:pt>
                <c:pt idx="617">
                  <c:v>666.91584782465225</c:v>
                </c:pt>
                <c:pt idx="618">
                  <c:v>635.53980104452455</c:v>
                </c:pt>
                <c:pt idx="619">
                  <c:v>639.88500851262472</c:v>
                </c:pt>
                <c:pt idx="620">
                  <c:v>634.42276950581311</c:v>
                </c:pt>
                <c:pt idx="621">
                  <c:v>683.0887265384157</c:v>
                </c:pt>
                <c:pt idx="622">
                  <c:v>652.32652083968685</c:v>
                </c:pt>
                <c:pt idx="623">
                  <c:v>690.39637797786497</c:v>
                </c:pt>
                <c:pt idx="624">
                  <c:v>685.98244520258595</c:v>
                </c:pt>
                <c:pt idx="625">
                  <c:v>754.4142716719499</c:v>
                </c:pt>
                <c:pt idx="626">
                  <c:v>786.71512737342323</c:v>
                </c:pt>
                <c:pt idx="627">
                  <c:v>798.77778844915792</c:v>
                </c:pt>
                <c:pt idx="628">
                  <c:v>810.32217828775697</c:v>
                </c:pt>
                <c:pt idx="629">
                  <c:v>704.67901363892008</c:v>
                </c:pt>
                <c:pt idx="630">
                  <c:v>661.89458027743319</c:v>
                </c:pt>
                <c:pt idx="631">
                  <c:v>654.86592375433668</c:v>
                </c:pt>
                <c:pt idx="632">
                  <c:v>637.46438210177723</c:v>
                </c:pt>
                <c:pt idx="633">
                  <c:v>640.42760693668049</c:v>
                </c:pt>
                <c:pt idx="634">
                  <c:v>627.52732744551281</c:v>
                </c:pt>
                <c:pt idx="635">
                  <c:v>643.63120700815102</c:v>
                </c:pt>
                <c:pt idx="636">
                  <c:v>652.69655705155549</c:v>
                </c:pt>
                <c:pt idx="637">
                  <c:v>646.16171593250226</c:v>
                </c:pt>
                <c:pt idx="638">
                  <c:v>665.18550997315447</c:v>
                </c:pt>
                <c:pt idx="639">
                  <c:v>758.74730170434611</c:v>
                </c:pt>
                <c:pt idx="640">
                  <c:v>822.44831436652532</c:v>
                </c:pt>
                <c:pt idx="641">
                  <c:v>1261.0911769349004</c:v>
                </c:pt>
                <c:pt idx="642">
                  <c:v>0</c:v>
                </c:pt>
                <c:pt idx="643">
                  <c:v>828.08171567042245</c:v>
                </c:pt>
                <c:pt idx="644">
                  <c:v>707.58788258168443</c:v>
                </c:pt>
                <c:pt idx="645">
                  <c:v>687.61878066923077</c:v>
                </c:pt>
                <c:pt idx="646">
                  <c:v>687.91637222826239</c:v>
                </c:pt>
                <c:pt idx="647">
                  <c:v>683.43988500072032</c:v>
                </c:pt>
                <c:pt idx="648">
                  <c:v>689.03529414439129</c:v>
                </c:pt>
                <c:pt idx="649">
                  <c:v>657.71217533382037</c:v>
                </c:pt>
                <c:pt idx="650">
                  <c:v>676.2278958381354</c:v>
                </c:pt>
                <c:pt idx="651">
                  <c:v>652.95804292859066</c:v>
                </c:pt>
                <c:pt idx="652">
                  <c:v>652.61129464931571</c:v>
                </c:pt>
                <c:pt idx="653">
                  <c:v>642.46657746610867</c:v>
                </c:pt>
                <c:pt idx="654">
                  <c:v>639.5261080886047</c:v>
                </c:pt>
                <c:pt idx="655">
                  <c:v>746.27092881457975</c:v>
                </c:pt>
                <c:pt idx="656">
                  <c:v>652.74883608855976</c:v>
                </c:pt>
                <c:pt idx="657">
                  <c:v>653.93188881424862</c:v>
                </c:pt>
                <c:pt idx="658">
                  <c:v>641.57764335932359</c:v>
                </c:pt>
                <c:pt idx="659">
                  <c:v>667.07103711908883</c:v>
                </c:pt>
                <c:pt idx="660">
                  <c:v>635.74087443314033</c:v>
                </c:pt>
                <c:pt idx="661">
                  <c:v>659.33677284052976</c:v>
                </c:pt>
                <c:pt idx="662">
                  <c:v>628.71288680353143</c:v>
                </c:pt>
                <c:pt idx="663">
                  <c:v>632.1854901677325</c:v>
                </c:pt>
                <c:pt idx="664">
                  <c:v>632.85537156823489</c:v>
                </c:pt>
                <c:pt idx="665">
                  <c:v>626.83406989959269</c:v>
                </c:pt>
                <c:pt idx="666">
                  <c:v>650.83463480543901</c:v>
                </c:pt>
                <c:pt idx="667">
                  <c:v>646.53783166891128</c:v>
                </c:pt>
                <c:pt idx="668">
                  <c:v>646.06434369842884</c:v>
                </c:pt>
                <c:pt idx="669">
                  <c:v>674.86017720906659</c:v>
                </c:pt>
                <c:pt idx="670">
                  <c:v>615.378454243904</c:v>
                </c:pt>
                <c:pt idx="671">
                  <c:v>645.24024064891</c:v>
                </c:pt>
                <c:pt idx="672">
                  <c:v>637.00165996054886</c:v>
                </c:pt>
                <c:pt idx="673">
                  <c:v>632.13083239462105</c:v>
                </c:pt>
                <c:pt idx="674">
                  <c:v>643.15535693603499</c:v>
                </c:pt>
                <c:pt idx="675">
                  <c:v>635.17226950327392</c:v>
                </c:pt>
                <c:pt idx="676">
                  <c:v>639.38234749970252</c:v>
                </c:pt>
                <c:pt idx="677">
                  <c:v>643.62360948252751</c:v>
                </c:pt>
                <c:pt idx="678">
                  <c:v>631.25056168909407</c:v>
                </c:pt>
                <c:pt idx="679">
                  <c:v>660.32153586101674</c:v>
                </c:pt>
                <c:pt idx="680">
                  <c:v>642.87386193673615</c:v>
                </c:pt>
                <c:pt idx="681">
                  <c:v>659.46217633788228</c:v>
                </c:pt>
                <c:pt idx="682">
                  <c:v>664.78260188824743</c:v>
                </c:pt>
                <c:pt idx="683">
                  <c:v>636.79362423364853</c:v>
                </c:pt>
                <c:pt idx="684">
                  <c:v>697.83425344730927</c:v>
                </c:pt>
                <c:pt idx="685">
                  <c:v>633.9185207340031</c:v>
                </c:pt>
                <c:pt idx="686">
                  <c:v>649.56197137716708</c:v>
                </c:pt>
                <c:pt idx="687">
                  <c:v>646.17537546842823</c:v>
                </c:pt>
                <c:pt idx="688">
                  <c:v>639.80171917145992</c:v>
                </c:pt>
                <c:pt idx="689">
                  <c:v>644.76660597211662</c:v>
                </c:pt>
                <c:pt idx="690">
                  <c:v>642.74171767962059</c:v>
                </c:pt>
                <c:pt idx="691">
                  <c:v>630.40804200047296</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678.92415934889027</c:v>
                </c:pt>
                <c:pt idx="702">
                  <c:v>685.44461053521695</c:v>
                </c:pt>
                <c:pt idx="703">
                  <c:v>632.87204071018755</c:v>
                </c:pt>
                <c:pt idx="704">
                  <c:v>630.36064908934804</c:v>
                </c:pt>
                <c:pt idx="705">
                  <c:v>632.53681181989737</c:v>
                </c:pt>
                <c:pt idx="706">
                  <c:v>656.9535815132291</c:v>
                </c:pt>
                <c:pt idx="707">
                  <c:v>632.75963376253651</c:v>
                </c:pt>
                <c:pt idx="708">
                  <c:v>674.33414222274143</c:v>
                </c:pt>
                <c:pt idx="709">
                  <c:v>658.54245025634214</c:v>
                </c:pt>
                <c:pt idx="710">
                  <c:v>633.52211723669348</c:v>
                </c:pt>
                <c:pt idx="711">
                  <c:v>629.41094012343524</c:v>
                </c:pt>
                <c:pt idx="712">
                  <c:v>674.70396199879735</c:v>
                </c:pt>
                <c:pt idx="713">
                  <c:v>637.83806397165404</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714.99700373816177</c:v>
                </c:pt>
                <c:pt idx="725">
                  <c:v>1407.1171469188741</c:v>
                </c:pt>
                <c:pt idx="726">
                  <c:v>789.81962907060586</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637.11554618622438</c:v>
                </c:pt>
                <c:pt idx="741">
                  <c:v>644.09618135351695</c:v>
                </c:pt>
                <c:pt idx="742">
                  <c:v>664.55859232434705</c:v>
                </c:pt>
                <c:pt idx="743">
                  <c:v>638.78623097214984</c:v>
                </c:pt>
                <c:pt idx="744">
                  <c:v>637.91635051527282</c:v>
                </c:pt>
                <c:pt idx="745">
                  <c:v>629.07726686565707</c:v>
                </c:pt>
                <c:pt idx="746">
                  <c:v>627.60017331832705</c:v>
                </c:pt>
                <c:pt idx="747">
                  <c:v>633.52661390066532</c:v>
                </c:pt>
                <c:pt idx="748">
                  <c:v>637.30498583286135</c:v>
                </c:pt>
                <c:pt idx="749">
                  <c:v>640.8326027475299</c:v>
                </c:pt>
                <c:pt idx="750">
                  <c:v>634.75507736959719</c:v>
                </c:pt>
                <c:pt idx="751">
                  <c:v>644.90692215740944</c:v>
                </c:pt>
                <c:pt idx="752">
                  <c:v>626.56294852875567</c:v>
                </c:pt>
                <c:pt idx="753">
                  <c:v>649.59976845573681</c:v>
                </c:pt>
                <c:pt idx="754">
                  <c:v>641.92660180983216</c:v>
                </c:pt>
                <c:pt idx="755">
                  <c:v>632.40378758685881</c:v>
                </c:pt>
                <c:pt idx="756">
                  <c:v>633.15806171959935</c:v>
                </c:pt>
                <c:pt idx="757">
                  <c:v>633.23916301913505</c:v>
                </c:pt>
                <c:pt idx="758">
                  <c:v>642.76752739835626</c:v>
                </c:pt>
                <c:pt idx="759">
                  <c:v>641.35203080732265</c:v>
                </c:pt>
                <c:pt idx="760">
                  <c:v>637.0670833037542</c:v>
                </c:pt>
                <c:pt idx="761">
                  <c:v>649.20079124058782</c:v>
                </c:pt>
                <c:pt idx="762">
                  <c:v>650.89478215273903</c:v>
                </c:pt>
                <c:pt idx="763">
                  <c:v>637.55085108761727</c:v>
                </c:pt>
                <c:pt idx="764">
                  <c:v>636.0472283113811</c:v>
                </c:pt>
                <c:pt idx="765">
                  <c:v>661.91899521242351</c:v>
                </c:pt>
                <c:pt idx="766">
                  <c:v>640.05334315086589</c:v>
                </c:pt>
                <c:pt idx="767">
                  <c:v>648.57836981689127</c:v>
                </c:pt>
                <c:pt idx="768">
                  <c:v>633.46189341775266</c:v>
                </c:pt>
                <c:pt idx="769">
                  <c:v>639.9572665444249</c:v>
                </c:pt>
                <c:pt idx="770">
                  <c:v>652.32243761158145</c:v>
                </c:pt>
                <c:pt idx="771">
                  <c:v>640.71228158006807</c:v>
                </c:pt>
                <c:pt idx="772">
                  <c:v>633.96653945446849</c:v>
                </c:pt>
                <c:pt idx="773">
                  <c:v>631.51910317311638</c:v>
                </c:pt>
                <c:pt idx="774">
                  <c:v>630.22492326091901</c:v>
                </c:pt>
                <c:pt idx="775">
                  <c:v>631.64135588637896</c:v>
                </c:pt>
                <c:pt idx="776">
                  <c:v>626.24771362622153</c:v>
                </c:pt>
                <c:pt idx="777">
                  <c:v>629.94602275710508</c:v>
                </c:pt>
                <c:pt idx="778">
                  <c:v>626.6170917158621</c:v>
                </c:pt>
                <c:pt idx="779">
                  <c:v>619.93647953954508</c:v>
                </c:pt>
                <c:pt idx="780">
                  <c:v>623.91210442550664</c:v>
                </c:pt>
                <c:pt idx="781">
                  <c:v>629.22599380603822</c:v>
                </c:pt>
                <c:pt idx="782">
                  <c:v>628.58207907890255</c:v>
                </c:pt>
                <c:pt idx="783">
                  <c:v>627.52909012794726</c:v>
                </c:pt>
                <c:pt idx="784">
                  <c:v>641.83396379368219</c:v>
                </c:pt>
                <c:pt idx="785">
                  <c:v>647.50361843161897</c:v>
                </c:pt>
                <c:pt idx="786">
                  <c:v>639.28406887679864</c:v>
                </c:pt>
                <c:pt idx="787">
                  <c:v>640.04710414509532</c:v>
                </c:pt>
                <c:pt idx="788">
                  <c:v>706.82497069657563</c:v>
                </c:pt>
                <c:pt idx="789">
                  <c:v>798.30276925732244</c:v>
                </c:pt>
                <c:pt idx="790">
                  <c:v>640.50894701974141</c:v>
                </c:pt>
                <c:pt idx="791">
                  <c:v>632.76387503777153</c:v>
                </c:pt>
                <c:pt idx="792">
                  <c:v>637.87225450862275</c:v>
                </c:pt>
                <c:pt idx="793">
                  <c:v>640.93878889844882</c:v>
                </c:pt>
                <c:pt idx="794">
                  <c:v>634.46495761747678</c:v>
                </c:pt>
                <c:pt idx="795">
                  <c:v>634.33201904400096</c:v>
                </c:pt>
                <c:pt idx="796">
                  <c:v>640.42715706307672</c:v>
                </c:pt>
                <c:pt idx="797">
                  <c:v>641.2392574711414</c:v>
                </c:pt>
                <c:pt idx="798">
                  <c:v>638.17704961752395</c:v>
                </c:pt>
                <c:pt idx="799">
                  <c:v>639.19858405013201</c:v>
                </c:pt>
                <c:pt idx="800">
                  <c:v>650.61243704255287</c:v>
                </c:pt>
                <c:pt idx="801">
                  <c:v>634.35072150399651</c:v>
                </c:pt>
                <c:pt idx="802">
                  <c:v>655.1571853611614</c:v>
                </c:pt>
                <c:pt idx="803">
                  <c:v>663.34935973990048</c:v>
                </c:pt>
                <c:pt idx="804">
                  <c:v>647.38288500374404</c:v>
                </c:pt>
                <c:pt idx="805">
                  <c:v>668.11962963015776</c:v>
                </c:pt>
                <c:pt idx="806">
                  <c:v>662.26512743975945</c:v>
                </c:pt>
                <c:pt idx="807">
                  <c:v>638.9766776243066</c:v>
                </c:pt>
                <c:pt idx="808">
                  <c:v>647.68675407770081</c:v>
                </c:pt>
                <c:pt idx="809">
                  <c:v>653.82020576024161</c:v>
                </c:pt>
                <c:pt idx="810">
                  <c:v>663.94747595966953</c:v>
                </c:pt>
                <c:pt idx="811">
                  <c:v>651.85924305144761</c:v>
                </c:pt>
                <c:pt idx="812">
                  <c:v>660.68811362821975</c:v>
                </c:pt>
                <c:pt idx="813">
                  <c:v>667.47444106969897</c:v>
                </c:pt>
                <c:pt idx="814">
                  <c:v>662.21799281269364</c:v>
                </c:pt>
                <c:pt idx="815">
                  <c:v>660.91035336689538</c:v>
                </c:pt>
                <c:pt idx="816">
                  <c:v>657.03389587002323</c:v>
                </c:pt>
                <c:pt idx="817">
                  <c:v>640.22966553447156</c:v>
                </c:pt>
                <c:pt idx="818">
                  <c:v>641.15820834645228</c:v>
                </c:pt>
                <c:pt idx="819">
                  <c:v>644.70313790466639</c:v>
                </c:pt>
                <c:pt idx="820">
                  <c:v>649.7899913481009</c:v>
                </c:pt>
                <c:pt idx="821">
                  <c:v>652.32347530221546</c:v>
                </c:pt>
                <c:pt idx="822">
                  <c:v>648.14359057076035</c:v>
                </c:pt>
                <c:pt idx="823">
                  <c:v>661.65742065662505</c:v>
                </c:pt>
                <c:pt idx="824">
                  <c:v>663.36219812708487</c:v>
                </c:pt>
                <c:pt idx="825">
                  <c:v>687.43641453236569</c:v>
                </c:pt>
                <c:pt idx="826">
                  <c:v>676.14639830032525</c:v>
                </c:pt>
                <c:pt idx="827">
                  <c:v>677.24067651511461</c:v>
                </c:pt>
                <c:pt idx="828">
                  <c:v>684.23107132562984</c:v>
                </c:pt>
                <c:pt idx="829">
                  <c:v>695.9036411082875</c:v>
                </c:pt>
                <c:pt idx="830">
                  <c:v>712.41839348711392</c:v>
                </c:pt>
                <c:pt idx="831">
                  <c:v>722.80544153716573</c:v>
                </c:pt>
                <c:pt idx="832">
                  <c:v>675.79624293306347</c:v>
                </c:pt>
                <c:pt idx="833">
                  <c:v>704.19406563304312</c:v>
                </c:pt>
                <c:pt idx="834">
                  <c:v>692.88494269571356</c:v>
                </c:pt>
                <c:pt idx="835">
                  <c:v>652.47017190657925</c:v>
                </c:pt>
                <c:pt idx="836">
                  <c:v>653.24066994164696</c:v>
                </c:pt>
                <c:pt idx="837">
                  <c:v>638.35951454757117</c:v>
                </c:pt>
                <c:pt idx="838">
                  <c:v>636.52970060829841</c:v>
                </c:pt>
                <c:pt idx="839">
                  <c:v>642.35186499816723</c:v>
                </c:pt>
                <c:pt idx="840">
                  <c:v>640.80903568210488</c:v>
                </c:pt>
                <c:pt idx="841">
                  <c:v>640.74202272080936</c:v>
                </c:pt>
                <c:pt idx="842">
                  <c:v>638.28861540083949</c:v>
                </c:pt>
                <c:pt idx="843">
                  <c:v>640.07843042212721</c:v>
                </c:pt>
                <c:pt idx="844">
                  <c:v>648.41900268586051</c:v>
                </c:pt>
                <c:pt idx="845">
                  <c:v>642.40758041924812</c:v>
                </c:pt>
                <c:pt idx="846">
                  <c:v>683.49594052483565</c:v>
                </c:pt>
                <c:pt idx="847">
                  <c:v>646.41601050813244</c:v>
                </c:pt>
                <c:pt idx="848">
                  <c:v>632.60267153116251</c:v>
                </c:pt>
                <c:pt idx="849">
                  <c:v>662.5597716938604</c:v>
                </c:pt>
                <c:pt idx="850">
                  <c:v>651.49905138007557</c:v>
                </c:pt>
                <c:pt idx="851">
                  <c:v>639.03388934515363</c:v>
                </c:pt>
                <c:pt idx="852">
                  <c:v>679.80039446293188</c:v>
                </c:pt>
                <c:pt idx="853">
                  <c:v>651.15126658836596</c:v>
                </c:pt>
                <c:pt idx="854">
                  <c:v>659.26962894880717</c:v>
                </c:pt>
                <c:pt idx="855">
                  <c:v>652.87264254806792</c:v>
                </c:pt>
                <c:pt idx="856">
                  <c:v>668.82570345983095</c:v>
                </c:pt>
                <c:pt idx="857">
                  <c:v>663.48324506057736</c:v>
                </c:pt>
                <c:pt idx="858">
                  <c:v>676.91870961852646</c:v>
                </c:pt>
                <c:pt idx="859">
                  <c:v>697.14815620719105</c:v>
                </c:pt>
                <c:pt idx="860">
                  <c:v>795.49700755971332</c:v>
                </c:pt>
                <c:pt idx="861">
                  <c:v>951.64677820772454</c:v>
                </c:pt>
                <c:pt idx="862">
                  <c:v>708.08826153880545</c:v>
                </c:pt>
                <c:pt idx="863">
                  <c:v>643.36972153481713</c:v>
                </c:pt>
                <c:pt idx="864">
                  <c:v>788.35302082532996</c:v>
                </c:pt>
                <c:pt idx="865">
                  <c:v>851.58014342334798</c:v>
                </c:pt>
                <c:pt idx="866">
                  <c:v>640.97322491908483</c:v>
                </c:pt>
                <c:pt idx="867">
                  <c:v>665.5867391355464</c:v>
                </c:pt>
                <c:pt idx="868">
                  <c:v>678.70892626918055</c:v>
                </c:pt>
                <c:pt idx="869">
                  <c:v>681.9943299704837</c:v>
                </c:pt>
                <c:pt idx="870">
                  <c:v>639.88680341011536</c:v>
                </c:pt>
                <c:pt idx="871">
                  <c:v>652.63492640939296</c:v>
                </c:pt>
                <c:pt idx="872">
                  <c:v>636.93163104145992</c:v>
                </c:pt>
                <c:pt idx="873">
                  <c:v>639.67264394910853</c:v>
                </c:pt>
                <c:pt idx="874">
                  <c:v>642.82365219148312</c:v>
                </c:pt>
                <c:pt idx="875">
                  <c:v>640.6522742048935</c:v>
                </c:pt>
                <c:pt idx="876">
                  <c:v>634.83117880253064</c:v>
                </c:pt>
                <c:pt idx="877">
                  <c:v>634.89808629845152</c:v>
                </c:pt>
                <c:pt idx="878">
                  <c:v>638.03421356656736</c:v>
                </c:pt>
                <c:pt idx="879">
                  <c:v>644.36455388421291</c:v>
                </c:pt>
                <c:pt idx="880">
                  <c:v>640.35742867554461</c:v>
                </c:pt>
                <c:pt idx="881">
                  <c:v>647.94318184973167</c:v>
                </c:pt>
                <c:pt idx="882">
                  <c:v>654.62650857940969</c:v>
                </c:pt>
                <c:pt idx="883">
                  <c:v>642.37465353393475</c:v>
                </c:pt>
                <c:pt idx="884">
                  <c:v>657.0305237188029</c:v>
                </c:pt>
                <c:pt idx="885">
                  <c:v>658.15562353221071</c:v>
                </c:pt>
                <c:pt idx="886">
                  <c:v>680.59943883835444</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637.22519873190174</c:v>
                </c:pt>
                <c:pt idx="896">
                  <c:v>637.12534468456147</c:v>
                </c:pt>
                <c:pt idx="897">
                  <c:v>638.60042120820833</c:v>
                </c:pt>
                <c:pt idx="898">
                  <c:v>641.04513380119181</c:v>
                </c:pt>
                <c:pt idx="899">
                  <c:v>642.24709945326902</c:v>
                </c:pt>
                <c:pt idx="900">
                  <c:v>655.32163037108512</c:v>
                </c:pt>
                <c:pt idx="901">
                  <c:v>665.94152868946026</c:v>
                </c:pt>
                <c:pt idx="902">
                  <c:v>660.98226762149625</c:v>
                </c:pt>
                <c:pt idx="903">
                  <c:v>647.35909855173145</c:v>
                </c:pt>
                <c:pt idx="904">
                  <c:v>646.70127137956831</c:v>
                </c:pt>
                <c:pt idx="905">
                  <c:v>656.28081566491073</c:v>
                </c:pt>
                <c:pt idx="906">
                  <c:v>651.0110639060706</c:v>
                </c:pt>
                <c:pt idx="907">
                  <c:v>653.66965168848128</c:v>
                </c:pt>
                <c:pt idx="908">
                  <c:v>650.37917418411359</c:v>
                </c:pt>
                <c:pt idx="909">
                  <c:v>719.16232284233308</c:v>
                </c:pt>
                <c:pt idx="910">
                  <c:v>639.75639250783922</c:v>
                </c:pt>
                <c:pt idx="911">
                  <c:v>642.43208487476124</c:v>
                </c:pt>
                <c:pt idx="912">
                  <c:v>640.04971043356852</c:v>
                </c:pt>
                <c:pt idx="913">
                  <c:v>637.31246919792954</c:v>
                </c:pt>
                <c:pt idx="914">
                  <c:v>645.26175639572477</c:v>
                </c:pt>
                <c:pt idx="915">
                  <c:v>640.45529753422477</c:v>
                </c:pt>
                <c:pt idx="916">
                  <c:v>644.73429660558827</c:v>
                </c:pt>
                <c:pt idx="917">
                  <c:v>642.25514651862477</c:v>
                </c:pt>
                <c:pt idx="918">
                  <c:v>651.79032553374736</c:v>
                </c:pt>
                <c:pt idx="919">
                  <c:v>678.78008320479785</c:v>
                </c:pt>
                <c:pt idx="920">
                  <c:v>663.90585030285922</c:v>
                </c:pt>
                <c:pt idx="921">
                  <c:v>643.36456665758476</c:v>
                </c:pt>
                <c:pt idx="922">
                  <c:v>695.35907229696579</c:v>
                </c:pt>
                <c:pt idx="923">
                  <c:v>698.3625570274437</c:v>
                </c:pt>
                <c:pt idx="924">
                  <c:v>678.56382582421872</c:v>
                </c:pt>
                <c:pt idx="925">
                  <c:v>702.66924966047941</c:v>
                </c:pt>
                <c:pt idx="926">
                  <c:v>652.36731584020026</c:v>
                </c:pt>
                <c:pt idx="927">
                  <c:v>641.68018739643071</c:v>
                </c:pt>
                <c:pt idx="928">
                  <c:v>638.84589243161076</c:v>
                </c:pt>
                <c:pt idx="929">
                  <c:v>632.11398207066156</c:v>
                </c:pt>
                <c:pt idx="930">
                  <c:v>640.45310047236148</c:v>
                </c:pt>
                <c:pt idx="931">
                  <c:v>661.48350007779288</c:v>
                </c:pt>
                <c:pt idx="932">
                  <c:v>648.11560679095157</c:v>
                </c:pt>
                <c:pt idx="933">
                  <c:v>641.78315821148578</c:v>
                </c:pt>
                <c:pt idx="934">
                  <c:v>646.53153241290784</c:v>
                </c:pt>
                <c:pt idx="935">
                  <c:v>652.02139280217591</c:v>
                </c:pt>
                <c:pt idx="936">
                  <c:v>650.89500908779848</c:v>
                </c:pt>
                <c:pt idx="937">
                  <c:v>664.86723480366152</c:v>
                </c:pt>
                <c:pt idx="938">
                  <c:v>670.05543733343393</c:v>
                </c:pt>
                <c:pt idx="939">
                  <c:v>636.07115418132184</c:v>
                </c:pt>
                <c:pt idx="940">
                  <c:v>632.77951948850568</c:v>
                </c:pt>
                <c:pt idx="941">
                  <c:v>635.50167139003804</c:v>
                </c:pt>
                <c:pt idx="942">
                  <c:v>631.26145519695979</c:v>
                </c:pt>
                <c:pt idx="943">
                  <c:v>631.7791670315936</c:v>
                </c:pt>
                <c:pt idx="944">
                  <c:v>627.16437559162887</c:v>
                </c:pt>
                <c:pt idx="945">
                  <c:v>639.28300112124475</c:v>
                </c:pt>
                <c:pt idx="946">
                  <c:v>639.411390419329</c:v>
                </c:pt>
                <c:pt idx="947">
                  <c:v>643.76065134299847</c:v>
                </c:pt>
                <c:pt idx="948">
                  <c:v>642.82228169633538</c:v>
                </c:pt>
                <c:pt idx="949">
                  <c:v>645.21790228992063</c:v>
                </c:pt>
                <c:pt idx="950">
                  <c:v>644.43110811830388</c:v>
                </c:pt>
                <c:pt idx="951">
                  <c:v>644.27767703067127</c:v>
                </c:pt>
                <c:pt idx="952">
                  <c:v>632.7277084323199</c:v>
                </c:pt>
                <c:pt idx="953">
                  <c:v>635.91419616584528</c:v>
                </c:pt>
                <c:pt idx="954">
                  <c:v>672.13178841234196</c:v>
                </c:pt>
                <c:pt idx="955">
                  <c:v>758.22658197364501</c:v>
                </c:pt>
                <c:pt idx="956">
                  <c:v>1454.0736226250167</c:v>
                </c:pt>
                <c:pt idx="957">
                  <c:v>889.72837817315337</c:v>
                </c:pt>
                <c:pt idx="958">
                  <c:v>674.70191527997417</c:v>
                </c:pt>
                <c:pt idx="959">
                  <c:v>636.27910896417097</c:v>
                </c:pt>
                <c:pt idx="960">
                  <c:v>636.41341779492257</c:v>
                </c:pt>
                <c:pt idx="961">
                  <c:v>633.36289921993659</c:v>
                </c:pt>
                <c:pt idx="962">
                  <c:v>625.89107596732276</c:v>
                </c:pt>
                <c:pt idx="963">
                  <c:v>641.25692373919139</c:v>
                </c:pt>
                <c:pt idx="964">
                  <c:v>639.95024167141185</c:v>
                </c:pt>
                <c:pt idx="965">
                  <c:v>636.32953078459877</c:v>
                </c:pt>
                <c:pt idx="966">
                  <c:v>631.01460016363933</c:v>
                </c:pt>
                <c:pt idx="967">
                  <c:v>629.49461577876741</c:v>
                </c:pt>
                <c:pt idx="968">
                  <c:v>635.26935196296779</c:v>
                </c:pt>
                <c:pt idx="969">
                  <c:v>637.21655145030127</c:v>
                </c:pt>
                <c:pt idx="970">
                  <c:v>633.14296142197509</c:v>
                </c:pt>
                <c:pt idx="971">
                  <c:v>638.76648427285159</c:v>
                </c:pt>
                <c:pt idx="972">
                  <c:v>629.05407344253706</c:v>
                </c:pt>
                <c:pt idx="973">
                  <c:v>630.97626094021996</c:v>
                </c:pt>
                <c:pt idx="974">
                  <c:v>647.3271188194351</c:v>
                </c:pt>
                <c:pt idx="975">
                  <c:v>634.83612288991628</c:v>
                </c:pt>
                <c:pt idx="976">
                  <c:v>637.79944897057953</c:v>
                </c:pt>
                <c:pt idx="977">
                  <c:v>631.93409598238964</c:v>
                </c:pt>
                <c:pt idx="978">
                  <c:v>642.41295388497815</c:v>
                </c:pt>
                <c:pt idx="979">
                  <c:v>636.02075840615817</c:v>
                </c:pt>
                <c:pt idx="980">
                  <c:v>644.01305721411279</c:v>
                </c:pt>
                <c:pt idx="981">
                  <c:v>641.880615008375</c:v>
                </c:pt>
                <c:pt idx="982">
                  <c:v>639.47130252865986</c:v>
                </c:pt>
                <c:pt idx="983">
                  <c:v>641.00852045470936</c:v>
                </c:pt>
                <c:pt idx="984">
                  <c:v>655.20047133130151</c:v>
                </c:pt>
                <c:pt idx="985">
                  <c:v>663.15614797102353</c:v>
                </c:pt>
                <c:pt idx="986">
                  <c:v>667.87746875407322</c:v>
                </c:pt>
                <c:pt idx="987">
                  <c:v>655.99081177603477</c:v>
                </c:pt>
                <c:pt idx="988">
                  <c:v>637.75733797921896</c:v>
                </c:pt>
                <c:pt idx="989">
                  <c:v>643.96184864006671</c:v>
                </c:pt>
                <c:pt idx="990">
                  <c:v>647.03479652250678</c:v>
                </c:pt>
                <c:pt idx="991">
                  <c:v>644.00645411028609</c:v>
                </c:pt>
                <c:pt idx="992">
                  <c:v>636.77079172609467</c:v>
                </c:pt>
                <c:pt idx="993">
                  <c:v>634.80247051030881</c:v>
                </c:pt>
                <c:pt idx="994">
                  <c:v>647.88655946211429</c:v>
                </c:pt>
                <c:pt idx="995">
                  <c:v>640.31348198522369</c:v>
                </c:pt>
                <c:pt idx="996">
                  <c:v>644.10424030310116</c:v>
                </c:pt>
                <c:pt idx="997">
                  <c:v>694.84254632249326</c:v>
                </c:pt>
                <c:pt idx="998">
                  <c:v>691.58015925529764</c:v>
                </c:pt>
                <c:pt idx="999">
                  <c:v>682.86194987715339</c:v>
                </c:pt>
                <c:pt idx="1000">
                  <c:v>667.59707476195376</c:v>
                </c:pt>
                <c:pt idx="1001">
                  <c:v>678.54273645119838</c:v>
                </c:pt>
                <c:pt idx="1002">
                  <c:v>638.71213441398299</c:v>
                </c:pt>
                <c:pt idx="1003">
                  <c:v>636.0138841104332</c:v>
                </c:pt>
                <c:pt idx="1004">
                  <c:v>647.91794428049116</c:v>
                </c:pt>
                <c:pt idx="1005">
                  <c:v>642.39027165145546</c:v>
                </c:pt>
                <c:pt idx="1006">
                  <c:v>651.84437649713209</c:v>
                </c:pt>
                <c:pt idx="1007">
                  <c:v>640.44743314812376</c:v>
                </c:pt>
                <c:pt idx="1008">
                  <c:v>668.04865728307834</c:v>
                </c:pt>
                <c:pt idx="1009">
                  <c:v>636.8652788042881</c:v>
                </c:pt>
                <c:pt idx="1010">
                  <c:v>644.40655743699654</c:v>
                </c:pt>
                <c:pt idx="1011">
                  <c:v>657.47475021613968</c:v>
                </c:pt>
                <c:pt idx="1012">
                  <c:v>656.44763220849688</c:v>
                </c:pt>
                <c:pt idx="1013">
                  <c:v>645.10352152397081</c:v>
                </c:pt>
                <c:pt idx="1014">
                  <c:v>626.82865861378059</c:v>
                </c:pt>
                <c:pt idx="1015">
                  <c:v>647.84182696477797</c:v>
                </c:pt>
                <c:pt idx="1016">
                  <c:v>648.52020800986986</c:v>
                </c:pt>
                <c:pt idx="1017">
                  <c:v>648.70420875745151</c:v>
                </c:pt>
                <c:pt idx="1018">
                  <c:v>643.38361262689125</c:v>
                </c:pt>
                <c:pt idx="1019">
                  <c:v>633.30150752285351</c:v>
                </c:pt>
                <c:pt idx="1020">
                  <c:v>642.58293685266949</c:v>
                </c:pt>
                <c:pt idx="1021">
                  <c:v>644.09739288430615</c:v>
                </c:pt>
                <c:pt idx="1022">
                  <c:v>644.59674429008714</c:v>
                </c:pt>
                <c:pt idx="1023">
                  <c:v>643.04183869424617</c:v>
                </c:pt>
                <c:pt idx="1024">
                  <c:v>645.04303581604449</c:v>
                </c:pt>
                <c:pt idx="1025">
                  <c:v>641.85380388750855</c:v>
                </c:pt>
                <c:pt idx="1026">
                  <c:v>674.44798352870021</c:v>
                </c:pt>
                <c:pt idx="1027">
                  <c:v>677.47558414284788</c:v>
                </c:pt>
                <c:pt idx="1028">
                  <c:v>698.17011905039385</c:v>
                </c:pt>
                <c:pt idx="1029">
                  <c:v>693.31215009968219</c:v>
                </c:pt>
                <c:pt idx="1030">
                  <c:v>1018.9601150752204</c:v>
                </c:pt>
                <c:pt idx="1031">
                  <c:v>1011.5602850940481</c:v>
                </c:pt>
                <c:pt idx="1032">
                  <c:v>669.58507009079528</c:v>
                </c:pt>
                <c:pt idx="1033">
                  <c:v>646.43086110109061</c:v>
                </c:pt>
                <c:pt idx="1034">
                  <c:v>649.87043605425868</c:v>
                </c:pt>
                <c:pt idx="1035">
                  <c:v>649.03088160069274</c:v>
                </c:pt>
                <c:pt idx="1036">
                  <c:v>694.3941651575085</c:v>
                </c:pt>
                <c:pt idx="1037">
                  <c:v>633.81059907151052</c:v>
                </c:pt>
                <c:pt idx="1038">
                  <c:v>636.81954527714345</c:v>
                </c:pt>
                <c:pt idx="1039">
                  <c:v>641.41769308920266</c:v>
                </c:pt>
                <c:pt idx="1040">
                  <c:v>668.66938349640452</c:v>
                </c:pt>
                <c:pt idx="1041">
                  <c:v>685.91160666995381</c:v>
                </c:pt>
                <c:pt idx="1042">
                  <c:v>691.03908301118247</c:v>
                </c:pt>
                <c:pt idx="1043">
                  <c:v>779.64314854968404</c:v>
                </c:pt>
                <c:pt idx="1044">
                  <c:v>662.92896948876103</c:v>
                </c:pt>
                <c:pt idx="1045">
                  <c:v>644.14624654018542</c:v>
                </c:pt>
                <c:pt idx="1046">
                  <c:v>642.64831787042635</c:v>
                </c:pt>
                <c:pt idx="1047">
                  <c:v>634.41456342543233</c:v>
                </c:pt>
                <c:pt idx="1048">
                  <c:v>646.80287825605842</c:v>
                </c:pt>
                <c:pt idx="1049">
                  <c:v>642.22410036033716</c:v>
                </c:pt>
                <c:pt idx="1050">
                  <c:v>648.92196835710445</c:v>
                </c:pt>
                <c:pt idx="1051">
                  <c:v>637.38012267330691</c:v>
                </c:pt>
                <c:pt idx="1052">
                  <c:v>641.2621533983729</c:v>
                </c:pt>
                <c:pt idx="1053">
                  <c:v>648.67907423890017</c:v>
                </c:pt>
                <c:pt idx="1054">
                  <c:v>673.20329974267099</c:v>
                </c:pt>
                <c:pt idx="1055">
                  <c:v>660.44990695948809</c:v>
                </c:pt>
                <c:pt idx="1056">
                  <c:v>656.78988482867419</c:v>
                </c:pt>
                <c:pt idx="1057">
                  <c:v>632.66882177530306</c:v>
                </c:pt>
                <c:pt idx="1058">
                  <c:v>649.7409572585326</c:v>
                </c:pt>
                <c:pt idx="1059">
                  <c:v>642.37287202616653</c:v>
                </c:pt>
                <c:pt idx="1060">
                  <c:v>636.10663139576786</c:v>
                </c:pt>
                <c:pt idx="1061">
                  <c:v>647.48438486533598</c:v>
                </c:pt>
                <c:pt idx="1062">
                  <c:v>641.34466695522076</c:v>
                </c:pt>
                <c:pt idx="1063">
                  <c:v>653.62825378103764</c:v>
                </c:pt>
                <c:pt idx="1064">
                  <c:v>655.33575145362568</c:v>
                </c:pt>
                <c:pt idx="1065">
                  <c:v>663.15085379948675</c:v>
                </c:pt>
                <c:pt idx="1066">
                  <c:v>664.98455091003166</c:v>
                </c:pt>
                <c:pt idx="1067">
                  <c:v>652.57403234571666</c:v>
                </c:pt>
                <c:pt idx="1068">
                  <c:v>656.42320501857125</c:v>
                </c:pt>
                <c:pt idx="1069">
                  <c:v>663.57392291080146</c:v>
                </c:pt>
                <c:pt idx="1070">
                  <c:v>656.922563499837</c:v>
                </c:pt>
                <c:pt idx="1071">
                  <c:v>689.27591607449995</c:v>
                </c:pt>
                <c:pt idx="1072">
                  <c:v>663.50631762317096</c:v>
                </c:pt>
                <c:pt idx="1073">
                  <c:v>658.84536586365653</c:v>
                </c:pt>
                <c:pt idx="1074">
                  <c:v>667.61806180267445</c:v>
                </c:pt>
                <c:pt idx="1075">
                  <c:v>694.02427098175644</c:v>
                </c:pt>
                <c:pt idx="1076">
                  <c:v>719.35876036781292</c:v>
                </c:pt>
                <c:pt idx="1077">
                  <c:v>657.19471070050895</c:v>
                </c:pt>
                <c:pt idx="1078">
                  <c:v>670.09342816919661</c:v>
                </c:pt>
                <c:pt idx="1079">
                  <c:v>656.84540765193776</c:v>
                </c:pt>
                <c:pt idx="1080">
                  <c:v>659.48940410653961</c:v>
                </c:pt>
                <c:pt idx="1081">
                  <c:v>677.94166162782096</c:v>
                </c:pt>
                <c:pt idx="1082">
                  <c:v>666.45634056298911</c:v>
                </c:pt>
                <c:pt idx="1083">
                  <c:v>679.08337488340624</c:v>
                </c:pt>
                <c:pt idx="1084">
                  <c:v>827.98925515957944</c:v>
                </c:pt>
                <c:pt idx="1085">
                  <c:v>848.64551039944899</c:v>
                </c:pt>
                <c:pt idx="1086">
                  <c:v>698.68086161677968</c:v>
                </c:pt>
                <c:pt idx="1087">
                  <c:v>689.05619526824512</c:v>
                </c:pt>
                <c:pt idx="1088">
                  <c:v>649.45827062112278</c:v>
                </c:pt>
                <c:pt idx="1089">
                  <c:v>642.15123513211654</c:v>
                </c:pt>
                <c:pt idx="1090">
                  <c:v>636.09389954307244</c:v>
                </c:pt>
                <c:pt idx="1091">
                  <c:v>639.2928477348471</c:v>
                </c:pt>
                <c:pt idx="1092">
                  <c:v>648.7811806387723</c:v>
                </c:pt>
                <c:pt idx="1093">
                  <c:v>643.44016812212578</c:v>
                </c:pt>
                <c:pt idx="1094">
                  <c:v>644.74772973755262</c:v>
                </c:pt>
                <c:pt idx="1095">
                  <c:v>647.97020945054248</c:v>
                </c:pt>
              </c:numCache>
            </c:numRef>
          </c:yVal>
          <c:smooth val="0"/>
          <c:extLst>
            <c:ext xmlns:c16="http://schemas.microsoft.com/office/drawing/2014/chart" uri="{C3380CC4-5D6E-409C-BE32-E72D297353CC}">
              <c16:uniqueId val="{00000000-A421-49A9-892F-5D6DA35565BF}"/>
            </c:ext>
          </c:extLst>
        </c:ser>
        <c:dLbls>
          <c:showLegendKey val="0"/>
          <c:showVal val="0"/>
          <c:showCatName val="0"/>
          <c:showSerName val="0"/>
          <c:showPercent val="0"/>
          <c:showBubbleSize val="0"/>
        </c:dLbls>
        <c:axId val="1730711727"/>
        <c:axId val="1730720879"/>
      </c:scatterChart>
      <c:valAx>
        <c:axId val="1730711727"/>
        <c:scaling>
          <c:orientation val="minMax"/>
          <c:max val="3750000"/>
          <c:min val="358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20879"/>
        <c:crosses val="autoZero"/>
        <c:crossBetween val="midCat"/>
      </c:valAx>
      <c:valAx>
        <c:axId val="1730720879"/>
        <c:scaling>
          <c:orientation val="minMax"/>
          <c:max val="710"/>
          <c:min val="61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11727"/>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dirty="0" smtClean="0">
                <a:effectLst/>
              </a:rPr>
              <a:t>N</a:t>
            </a:r>
            <a:r>
              <a:rPr lang="en-US" sz="1400" b="0" i="0" u="none" strike="noStrike" baseline="-25000" dirty="0" smtClean="0">
                <a:effectLst/>
              </a:rPr>
              <a:t>2</a:t>
            </a:r>
            <a:r>
              <a:rPr lang="en-US" dirty="0" smtClean="0"/>
              <a:t> (Nm3) </a:t>
            </a:r>
            <a:r>
              <a:rPr lang="en-US" dirty="0"/>
              <a:t>v/s </a:t>
            </a:r>
            <a:r>
              <a:rPr lang="en-US" dirty="0" smtClean="0"/>
              <a:t>CO</a:t>
            </a:r>
            <a:r>
              <a:rPr lang="en-US" baseline="0" dirty="0" smtClean="0"/>
              <a:t> (Nm3)</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684902505813281"/>
          <c:y val="0.26319486040212059"/>
          <c:w val="0.75637854723465059"/>
          <c:h val="0.57218759219360438"/>
        </c:manualLayout>
      </c:layout>
      <c:scatterChart>
        <c:scatterStyle val="lineMarker"/>
        <c:varyColors val="0"/>
        <c:ser>
          <c:idx val="0"/>
          <c:order val="0"/>
          <c:tx>
            <c:strRef>
              <c:f>'Parameters ranges for ANN step1'!$AW$1:$AW$2</c:f>
              <c:strCache>
                <c:ptCount val="2"/>
                <c:pt idx="0">
                  <c:v>N2</c:v>
                </c:pt>
                <c:pt idx="1">
                  <c:v>vol/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B$3:$AB$1131</c:f>
              <c:numCache>
                <c:formatCode>0</c:formatCode>
                <c:ptCount val="1129"/>
                <c:pt idx="0">
                  <c:v>41.382142893888293</c:v>
                </c:pt>
                <c:pt idx="1">
                  <c:v>289.25476399511342</c:v>
                </c:pt>
                <c:pt idx="2">
                  <c:v>315.36969172035964</c:v>
                </c:pt>
                <c:pt idx="3">
                  <c:v>353.94416824198885</c:v>
                </c:pt>
                <c:pt idx="4">
                  <c:v>353.15360227143026</c:v>
                </c:pt>
                <c:pt idx="5">
                  <c:v>356.71052396004188</c:v>
                </c:pt>
                <c:pt idx="6">
                  <c:v>371.46289964720063</c:v>
                </c:pt>
                <c:pt idx="7">
                  <c:v>354.53043475102362</c:v>
                </c:pt>
                <c:pt idx="8">
                  <c:v>285.03319216442293</c:v>
                </c:pt>
                <c:pt idx="9">
                  <c:v>321.72088539061775</c:v>
                </c:pt>
                <c:pt idx="10">
                  <c:v>355.20728865996784</c:v>
                </c:pt>
                <c:pt idx="11">
                  <c:v>344.58640981410167</c:v>
                </c:pt>
                <c:pt idx="12">
                  <c:v>337.35686762020401</c:v>
                </c:pt>
                <c:pt idx="13">
                  <c:v>364.99395132392692</c:v>
                </c:pt>
                <c:pt idx="14">
                  <c:v>350.10205268034088</c:v>
                </c:pt>
                <c:pt idx="15">
                  <c:v>340.2650658861416</c:v>
                </c:pt>
                <c:pt idx="16">
                  <c:v>338.53731214244215</c:v>
                </c:pt>
                <c:pt idx="17">
                  <c:v>346.49267088662123</c:v>
                </c:pt>
                <c:pt idx="18">
                  <c:v>372.09134520998606</c:v>
                </c:pt>
                <c:pt idx="19">
                  <c:v>343.42200154894215</c:v>
                </c:pt>
                <c:pt idx="20">
                  <c:v>347.60056289108081</c:v>
                </c:pt>
                <c:pt idx="21">
                  <c:v>355.74193265712177</c:v>
                </c:pt>
                <c:pt idx="22">
                  <c:v>348.56807908489844</c:v>
                </c:pt>
                <c:pt idx="23">
                  <c:v>349.45266747634861</c:v>
                </c:pt>
                <c:pt idx="24">
                  <c:v>342.67462579607582</c:v>
                </c:pt>
                <c:pt idx="25">
                  <c:v>351.43985053596407</c:v>
                </c:pt>
                <c:pt idx="26">
                  <c:v>369.09400930445878</c:v>
                </c:pt>
                <c:pt idx="27">
                  <c:v>348.32583850339461</c:v>
                </c:pt>
                <c:pt idx="28">
                  <c:v>356.84812195416964</c:v>
                </c:pt>
                <c:pt idx="29">
                  <c:v>373.02841003417205</c:v>
                </c:pt>
                <c:pt idx="30">
                  <c:v>251.28659839488753</c:v>
                </c:pt>
                <c:pt idx="31">
                  <c:v>331.0584958084396</c:v>
                </c:pt>
                <c:pt idx="32">
                  <c:v>408.96089219014073</c:v>
                </c:pt>
                <c:pt idx="33">
                  <c:v>394.52112251887678</c:v>
                </c:pt>
                <c:pt idx="34">
                  <c:v>395.29960551685224</c:v>
                </c:pt>
                <c:pt idx="35">
                  <c:v>412.45210149229473</c:v>
                </c:pt>
                <c:pt idx="36">
                  <c:v>383.40194959400156</c:v>
                </c:pt>
                <c:pt idx="37">
                  <c:v>400.96199537488349</c:v>
                </c:pt>
                <c:pt idx="38">
                  <c:v>386.25846633511037</c:v>
                </c:pt>
                <c:pt idx="39">
                  <c:v>387.59043974875408</c:v>
                </c:pt>
                <c:pt idx="40">
                  <c:v>373.31080107045096</c:v>
                </c:pt>
                <c:pt idx="41">
                  <c:v>391.49792354910113</c:v>
                </c:pt>
                <c:pt idx="42">
                  <c:v>409.37991504639922</c:v>
                </c:pt>
                <c:pt idx="43">
                  <c:v>432.67125103754381</c:v>
                </c:pt>
                <c:pt idx="44">
                  <c:v>481.10761246703242</c:v>
                </c:pt>
                <c:pt idx="45">
                  <c:v>975.51208448553905</c:v>
                </c:pt>
                <c:pt idx="46">
                  <c:v>1769.1184732451418</c:v>
                </c:pt>
                <c:pt idx="47">
                  <c:v>416.23951653366049</c:v>
                </c:pt>
                <c:pt idx="48">
                  <c:v>390.74788008731946</c:v>
                </c:pt>
                <c:pt idx="49">
                  <c:v>374.33804523041192</c:v>
                </c:pt>
                <c:pt idx="50">
                  <c:v>399.08890699329203</c:v>
                </c:pt>
                <c:pt idx="51">
                  <c:v>367.68345157216567</c:v>
                </c:pt>
                <c:pt idx="52">
                  <c:v>367.68068932638607</c:v>
                </c:pt>
                <c:pt idx="53">
                  <c:v>375.53850989397887</c:v>
                </c:pt>
                <c:pt idx="54">
                  <c:v>380.69233576984686</c:v>
                </c:pt>
                <c:pt idx="55">
                  <c:v>361.50741687253912</c:v>
                </c:pt>
                <c:pt idx="56">
                  <c:v>356.9146047309498</c:v>
                </c:pt>
                <c:pt idx="57">
                  <c:v>356.93918544328073</c:v>
                </c:pt>
                <c:pt idx="58">
                  <c:v>369.2874197579701</c:v>
                </c:pt>
                <c:pt idx="59">
                  <c:v>365.4798169655752</c:v>
                </c:pt>
                <c:pt idx="60">
                  <c:v>350.97595797770242</c:v>
                </c:pt>
                <c:pt idx="61">
                  <c:v>355.48471892776945</c:v>
                </c:pt>
                <c:pt idx="62">
                  <c:v>360.25347977719389</c:v>
                </c:pt>
                <c:pt idx="63">
                  <c:v>370.41837567045599</c:v>
                </c:pt>
                <c:pt idx="64">
                  <c:v>356.82137704374657</c:v>
                </c:pt>
                <c:pt idx="65">
                  <c:v>364.44017075738293</c:v>
                </c:pt>
                <c:pt idx="66">
                  <c:v>355.37075354983369</c:v>
                </c:pt>
                <c:pt idx="67">
                  <c:v>380.72871879028696</c:v>
                </c:pt>
                <c:pt idx="68">
                  <c:v>396.71467752438588</c:v>
                </c:pt>
                <c:pt idx="69">
                  <c:v>568.06798866741894</c:v>
                </c:pt>
                <c:pt idx="70">
                  <c:v>378.24736222177449</c:v>
                </c:pt>
                <c:pt idx="71">
                  <c:v>389.17527367730219</c:v>
                </c:pt>
                <c:pt idx="72">
                  <c:v>384.59042942004845</c:v>
                </c:pt>
                <c:pt idx="73">
                  <c:v>372.47460964243288</c:v>
                </c:pt>
                <c:pt idx="74">
                  <c:v>367.46465206726913</c:v>
                </c:pt>
                <c:pt idx="75">
                  <c:v>378.50604065445691</c:v>
                </c:pt>
                <c:pt idx="76">
                  <c:v>376.73125954147099</c:v>
                </c:pt>
                <c:pt idx="77">
                  <c:v>368.41863625381495</c:v>
                </c:pt>
                <c:pt idx="78">
                  <c:v>374.69259686039891</c:v>
                </c:pt>
                <c:pt idx="79">
                  <c:v>374.26324730218579</c:v>
                </c:pt>
                <c:pt idx="80">
                  <c:v>380.63160554349986</c:v>
                </c:pt>
                <c:pt idx="81">
                  <c:v>381.02211505808214</c:v>
                </c:pt>
                <c:pt idx="82">
                  <c:v>381.16631997153138</c:v>
                </c:pt>
                <c:pt idx="83">
                  <c:v>370.72358596799711</c:v>
                </c:pt>
                <c:pt idx="84">
                  <c:v>384.23521739115108</c:v>
                </c:pt>
                <c:pt idx="85">
                  <c:v>398.48042972601456</c:v>
                </c:pt>
                <c:pt idx="86">
                  <c:v>398.10195199695215</c:v>
                </c:pt>
                <c:pt idx="87">
                  <c:v>371.94840660703466</c:v>
                </c:pt>
                <c:pt idx="88">
                  <c:v>339.81482796315964</c:v>
                </c:pt>
                <c:pt idx="89">
                  <c:v>355.05192533882212</c:v>
                </c:pt>
                <c:pt idx="90">
                  <c:v>379.70760915809416</c:v>
                </c:pt>
                <c:pt idx="91">
                  <c:v>379.30296039997359</c:v>
                </c:pt>
                <c:pt idx="92">
                  <c:v>370.3752457977584</c:v>
                </c:pt>
                <c:pt idx="93">
                  <c:v>350.77002588888678</c:v>
                </c:pt>
                <c:pt idx="94">
                  <c:v>352.52938085797354</c:v>
                </c:pt>
                <c:pt idx="95">
                  <c:v>374.76609130865796</c:v>
                </c:pt>
                <c:pt idx="96">
                  <c:v>376.8409167159266</c:v>
                </c:pt>
                <c:pt idx="97">
                  <c:v>381.37165586715309</c:v>
                </c:pt>
                <c:pt idx="98">
                  <c:v>222.08252002639446</c:v>
                </c:pt>
                <c:pt idx="99">
                  <c:v>401.66304581496041</c:v>
                </c:pt>
                <c:pt idx="100">
                  <c:v>432.01568813575022</c:v>
                </c:pt>
                <c:pt idx="101">
                  <c:v>376.09085245786736</c:v>
                </c:pt>
                <c:pt idx="102">
                  <c:v>348.37687804459733</c:v>
                </c:pt>
                <c:pt idx="103">
                  <c:v>369.11614615203854</c:v>
                </c:pt>
                <c:pt idx="104">
                  <c:v>362.77127521795944</c:v>
                </c:pt>
                <c:pt idx="105">
                  <c:v>26.730159680159552</c:v>
                </c:pt>
                <c:pt idx="106">
                  <c:v>283.18742090116541</c:v>
                </c:pt>
                <c:pt idx="107">
                  <c:v>364.79798690130883</c:v>
                </c:pt>
                <c:pt idx="108">
                  <c:v>371.40121749551173</c:v>
                </c:pt>
                <c:pt idx="109">
                  <c:v>369.63740798218447</c:v>
                </c:pt>
                <c:pt idx="110">
                  <c:v>336.19573616268474</c:v>
                </c:pt>
                <c:pt idx="111">
                  <c:v>346.7791203359659</c:v>
                </c:pt>
                <c:pt idx="112">
                  <c:v>367.22178730291569</c:v>
                </c:pt>
                <c:pt idx="113">
                  <c:v>396.51294318741998</c:v>
                </c:pt>
                <c:pt idx="114">
                  <c:v>381.20447857977689</c:v>
                </c:pt>
                <c:pt idx="115">
                  <c:v>309.19912857577026</c:v>
                </c:pt>
                <c:pt idx="116">
                  <c:v>269.57548758440487</c:v>
                </c:pt>
                <c:pt idx="117">
                  <c:v>261.02399227149897</c:v>
                </c:pt>
                <c:pt idx="118">
                  <c:v>273.36567170340197</c:v>
                </c:pt>
                <c:pt idx="119">
                  <c:v>246.62888850979408</c:v>
                </c:pt>
                <c:pt idx="120">
                  <c:v>274.29076024707956</c:v>
                </c:pt>
                <c:pt idx="121">
                  <c:v>354.67553149952386</c:v>
                </c:pt>
                <c:pt idx="122">
                  <c:v>353.65682025110459</c:v>
                </c:pt>
                <c:pt idx="123">
                  <c:v>365.04646167953638</c:v>
                </c:pt>
                <c:pt idx="124">
                  <c:v>364.83453544559688</c:v>
                </c:pt>
                <c:pt idx="125">
                  <c:v>349.69644334967114</c:v>
                </c:pt>
                <c:pt idx="126">
                  <c:v>345.82058545190193</c:v>
                </c:pt>
                <c:pt idx="127">
                  <c:v>332.61061210997036</c:v>
                </c:pt>
                <c:pt idx="128">
                  <c:v>332.34938099079505</c:v>
                </c:pt>
                <c:pt idx="129">
                  <c:v>342.8454689952157</c:v>
                </c:pt>
                <c:pt idx="130">
                  <c:v>350.8322846828429</c:v>
                </c:pt>
                <c:pt idx="131">
                  <c:v>350.61827074090354</c:v>
                </c:pt>
                <c:pt idx="132">
                  <c:v>347.57874060414184</c:v>
                </c:pt>
                <c:pt idx="133">
                  <c:v>357.7500822995039</c:v>
                </c:pt>
                <c:pt idx="134">
                  <c:v>368.57775718980065</c:v>
                </c:pt>
                <c:pt idx="135">
                  <c:v>353.61629146712255</c:v>
                </c:pt>
                <c:pt idx="136">
                  <c:v>343.44789214925845</c:v>
                </c:pt>
                <c:pt idx="137">
                  <c:v>343.75714222816356</c:v>
                </c:pt>
                <c:pt idx="138">
                  <c:v>328.03754600023484</c:v>
                </c:pt>
                <c:pt idx="139">
                  <c:v>321.33421632199452</c:v>
                </c:pt>
                <c:pt idx="140">
                  <c:v>326.37110326743124</c:v>
                </c:pt>
                <c:pt idx="141">
                  <c:v>404.98354994463108</c:v>
                </c:pt>
                <c:pt idx="142">
                  <c:v>480.3561269520136</c:v>
                </c:pt>
                <c:pt idx="143">
                  <c:v>547.6192501094356</c:v>
                </c:pt>
                <c:pt idx="144">
                  <c:v>1073.2751725605506</c:v>
                </c:pt>
                <c:pt idx="145">
                  <c:v>44577.402760833465</c:v>
                </c:pt>
                <c:pt idx="146">
                  <c:v>0</c:v>
                </c:pt>
                <c:pt idx="147">
                  <c:v>0</c:v>
                </c:pt>
                <c:pt idx="148">
                  <c:v>0</c:v>
                </c:pt>
                <c:pt idx="149">
                  <c:v>2082.6074434897441</c:v>
                </c:pt>
                <c:pt idx="150">
                  <c:v>450.05773790472227</c:v>
                </c:pt>
                <c:pt idx="151">
                  <c:v>393.23971204457195</c:v>
                </c:pt>
                <c:pt idx="152">
                  <c:v>373.05745225227383</c:v>
                </c:pt>
                <c:pt idx="153">
                  <c:v>363.84526538652852</c:v>
                </c:pt>
                <c:pt idx="154">
                  <c:v>365.10240663443449</c:v>
                </c:pt>
                <c:pt idx="155">
                  <c:v>368.80680442133388</c:v>
                </c:pt>
                <c:pt idx="156">
                  <c:v>380.46578895875984</c:v>
                </c:pt>
                <c:pt idx="157">
                  <c:v>383.61553017700845</c:v>
                </c:pt>
                <c:pt idx="158">
                  <c:v>389.47294306646359</c:v>
                </c:pt>
                <c:pt idx="159">
                  <c:v>387.35952583609372</c:v>
                </c:pt>
                <c:pt idx="160">
                  <c:v>392.43130523048058</c:v>
                </c:pt>
                <c:pt idx="161">
                  <c:v>399.49924127260726</c:v>
                </c:pt>
                <c:pt idx="162">
                  <c:v>410.4729063352774</c:v>
                </c:pt>
                <c:pt idx="163">
                  <c:v>383.77942405984396</c:v>
                </c:pt>
                <c:pt idx="164">
                  <c:v>378.54948490427518</c:v>
                </c:pt>
                <c:pt idx="165">
                  <c:v>373.34744072943226</c:v>
                </c:pt>
                <c:pt idx="166">
                  <c:v>382.6387852970276</c:v>
                </c:pt>
                <c:pt idx="167">
                  <c:v>378.1377225160507</c:v>
                </c:pt>
                <c:pt idx="168">
                  <c:v>379.75865659034923</c:v>
                </c:pt>
                <c:pt idx="169">
                  <c:v>358.79791765905816</c:v>
                </c:pt>
                <c:pt idx="170">
                  <c:v>349.85297650183594</c:v>
                </c:pt>
                <c:pt idx="171">
                  <c:v>346.67669161157971</c:v>
                </c:pt>
                <c:pt idx="172">
                  <c:v>341.54223847484417</c:v>
                </c:pt>
                <c:pt idx="173">
                  <c:v>360.41383207912224</c:v>
                </c:pt>
                <c:pt idx="174">
                  <c:v>371.43605869297181</c:v>
                </c:pt>
                <c:pt idx="175">
                  <c:v>363.49998305709732</c:v>
                </c:pt>
                <c:pt idx="176">
                  <c:v>383.84318767882132</c:v>
                </c:pt>
                <c:pt idx="177">
                  <c:v>394.32463841207709</c:v>
                </c:pt>
                <c:pt idx="178">
                  <c:v>356.72331192696419</c:v>
                </c:pt>
                <c:pt idx="179">
                  <c:v>371.6074345067999</c:v>
                </c:pt>
                <c:pt idx="180">
                  <c:v>361.83429374892017</c:v>
                </c:pt>
                <c:pt idx="181">
                  <c:v>348.27284440209888</c:v>
                </c:pt>
                <c:pt idx="182">
                  <c:v>361.80477668378381</c:v>
                </c:pt>
                <c:pt idx="183">
                  <c:v>345.87913721283479</c:v>
                </c:pt>
                <c:pt idx="184">
                  <c:v>354.7321126532625</c:v>
                </c:pt>
                <c:pt idx="185">
                  <c:v>356.23252315225335</c:v>
                </c:pt>
                <c:pt idx="186">
                  <c:v>349.04111131477453</c:v>
                </c:pt>
                <c:pt idx="187">
                  <c:v>355.52812547965692</c:v>
                </c:pt>
                <c:pt idx="188">
                  <c:v>333.90648715279951</c:v>
                </c:pt>
                <c:pt idx="189">
                  <c:v>346.9177887504303</c:v>
                </c:pt>
                <c:pt idx="190">
                  <c:v>349.28029670539041</c:v>
                </c:pt>
                <c:pt idx="191">
                  <c:v>339.74227793107923</c:v>
                </c:pt>
                <c:pt idx="192">
                  <c:v>344.48569450418347</c:v>
                </c:pt>
                <c:pt idx="193">
                  <c:v>342.13044129185096</c:v>
                </c:pt>
                <c:pt idx="194">
                  <c:v>350.45138505190937</c:v>
                </c:pt>
                <c:pt idx="195">
                  <c:v>353.4740917348737</c:v>
                </c:pt>
                <c:pt idx="196">
                  <c:v>342.44471663651103</c:v>
                </c:pt>
                <c:pt idx="197">
                  <c:v>340.55674441552412</c:v>
                </c:pt>
                <c:pt idx="198">
                  <c:v>343.20217875698199</c:v>
                </c:pt>
                <c:pt idx="199">
                  <c:v>337.44415620427191</c:v>
                </c:pt>
                <c:pt idx="200">
                  <c:v>342.23283867229236</c:v>
                </c:pt>
                <c:pt idx="201">
                  <c:v>339.48856471978098</c:v>
                </c:pt>
                <c:pt idx="202">
                  <c:v>341.05946609141381</c:v>
                </c:pt>
                <c:pt idx="203">
                  <c:v>339.31572523467429</c:v>
                </c:pt>
                <c:pt idx="204">
                  <c:v>345.57772783081703</c:v>
                </c:pt>
                <c:pt idx="205">
                  <c:v>349.85671334960313</c:v>
                </c:pt>
                <c:pt idx="206">
                  <c:v>363.90549484901857</c:v>
                </c:pt>
                <c:pt idx="207">
                  <c:v>374.59563686935678</c:v>
                </c:pt>
                <c:pt idx="208">
                  <c:v>377.21216749735362</c:v>
                </c:pt>
                <c:pt idx="209">
                  <c:v>388.89328782616212</c:v>
                </c:pt>
                <c:pt idx="210">
                  <c:v>359.92725268660365</c:v>
                </c:pt>
                <c:pt idx="211">
                  <c:v>372.47005955767088</c:v>
                </c:pt>
                <c:pt idx="212">
                  <c:v>380.16306112700505</c:v>
                </c:pt>
                <c:pt idx="213">
                  <c:v>385.15704916356685</c:v>
                </c:pt>
                <c:pt idx="214">
                  <c:v>386.11457191341839</c:v>
                </c:pt>
                <c:pt idx="215">
                  <c:v>350.07113578310583</c:v>
                </c:pt>
                <c:pt idx="216">
                  <c:v>44.54781094400763</c:v>
                </c:pt>
                <c:pt idx="217">
                  <c:v>0</c:v>
                </c:pt>
                <c:pt idx="218">
                  <c:v>0</c:v>
                </c:pt>
                <c:pt idx="219">
                  <c:v>0</c:v>
                </c:pt>
                <c:pt idx="220">
                  <c:v>50.820981965991287</c:v>
                </c:pt>
                <c:pt idx="221">
                  <c:v>336.93525200405321</c:v>
                </c:pt>
                <c:pt idx="222">
                  <c:v>293.19459106467787</c:v>
                </c:pt>
                <c:pt idx="223">
                  <c:v>312.06341755660594</c:v>
                </c:pt>
                <c:pt idx="224">
                  <c:v>335.00531317622858</c:v>
                </c:pt>
                <c:pt idx="225">
                  <c:v>348.08015963520364</c:v>
                </c:pt>
                <c:pt idx="226">
                  <c:v>371.61334886866933</c:v>
                </c:pt>
                <c:pt idx="227">
                  <c:v>345.22722456933138</c:v>
                </c:pt>
                <c:pt idx="228">
                  <c:v>344.40563211072896</c:v>
                </c:pt>
                <c:pt idx="229">
                  <c:v>341.42806956811978</c:v>
                </c:pt>
                <c:pt idx="230">
                  <c:v>364.96927554145373</c:v>
                </c:pt>
                <c:pt idx="231">
                  <c:v>346.50127431229248</c:v>
                </c:pt>
                <c:pt idx="232">
                  <c:v>358.46331925353257</c:v>
                </c:pt>
                <c:pt idx="233">
                  <c:v>369.36031480711063</c:v>
                </c:pt>
                <c:pt idx="234">
                  <c:v>364.62805147842499</c:v>
                </c:pt>
                <c:pt idx="235">
                  <c:v>369.18642925805148</c:v>
                </c:pt>
                <c:pt idx="236">
                  <c:v>367.28755644185031</c:v>
                </c:pt>
                <c:pt idx="237">
                  <c:v>371.07285472981596</c:v>
                </c:pt>
                <c:pt idx="238">
                  <c:v>370.47644694547165</c:v>
                </c:pt>
                <c:pt idx="239">
                  <c:v>369.57643806888694</c:v>
                </c:pt>
                <c:pt idx="240">
                  <c:v>394.39265885980842</c:v>
                </c:pt>
                <c:pt idx="241">
                  <c:v>378.90204099165027</c:v>
                </c:pt>
                <c:pt idx="242">
                  <c:v>376.92950286877311</c:v>
                </c:pt>
                <c:pt idx="243">
                  <c:v>388.13851376700188</c:v>
                </c:pt>
                <c:pt idx="244">
                  <c:v>409.07601140768196</c:v>
                </c:pt>
                <c:pt idx="245">
                  <c:v>484.99073950451839</c:v>
                </c:pt>
                <c:pt idx="246">
                  <c:v>606.37592648610087</c:v>
                </c:pt>
                <c:pt idx="247">
                  <c:v>549.01665731414425</c:v>
                </c:pt>
                <c:pt idx="248">
                  <c:v>547.42751151143636</c:v>
                </c:pt>
                <c:pt idx="249">
                  <c:v>488.51176415476493</c:v>
                </c:pt>
                <c:pt idx="250">
                  <c:v>496.64514356853726</c:v>
                </c:pt>
                <c:pt idx="251">
                  <c:v>411.55016089963078</c:v>
                </c:pt>
                <c:pt idx="252">
                  <c:v>374.80597858672957</c:v>
                </c:pt>
                <c:pt idx="253">
                  <c:v>413.13406786585091</c:v>
                </c:pt>
                <c:pt idx="254">
                  <c:v>412.36193626154824</c:v>
                </c:pt>
                <c:pt idx="255">
                  <c:v>437.46803511844644</c:v>
                </c:pt>
                <c:pt idx="256">
                  <c:v>370.86604888598856</c:v>
                </c:pt>
                <c:pt idx="257">
                  <c:v>375.2788403178738</c:v>
                </c:pt>
                <c:pt idx="258">
                  <c:v>398.76635804709952</c:v>
                </c:pt>
                <c:pt idx="259">
                  <c:v>591.45102121658761</c:v>
                </c:pt>
                <c:pt idx="260">
                  <c:v>1971.3273859151222</c:v>
                </c:pt>
                <c:pt idx="261">
                  <c:v>401.18420262490582</c:v>
                </c:pt>
                <c:pt idx="262">
                  <c:v>407.15062919503555</c:v>
                </c:pt>
                <c:pt idx="263">
                  <c:v>419.05773780701605</c:v>
                </c:pt>
                <c:pt idx="264">
                  <c:v>395.10206432185061</c:v>
                </c:pt>
                <c:pt idx="265">
                  <c:v>333.09838948006194</c:v>
                </c:pt>
                <c:pt idx="266">
                  <c:v>378.3385801190031</c:v>
                </c:pt>
                <c:pt idx="267">
                  <c:v>592.23680759643582</c:v>
                </c:pt>
                <c:pt idx="268">
                  <c:v>366.04201536787588</c:v>
                </c:pt>
                <c:pt idx="269">
                  <c:v>373.89711194300196</c:v>
                </c:pt>
                <c:pt idx="270">
                  <c:v>380.61745909229677</c:v>
                </c:pt>
                <c:pt idx="271">
                  <c:v>387.59761226041468</c:v>
                </c:pt>
                <c:pt idx="272">
                  <c:v>369.37995293747974</c:v>
                </c:pt>
                <c:pt idx="273">
                  <c:v>368.35698716404823</c:v>
                </c:pt>
                <c:pt idx="274">
                  <c:v>372.72576257692964</c:v>
                </c:pt>
                <c:pt idx="275">
                  <c:v>381.34643868228198</c:v>
                </c:pt>
                <c:pt idx="276">
                  <c:v>365.59714824568442</c:v>
                </c:pt>
                <c:pt idx="277">
                  <c:v>370.7388964606933</c:v>
                </c:pt>
                <c:pt idx="278">
                  <c:v>385.62769431605517</c:v>
                </c:pt>
                <c:pt idx="279">
                  <c:v>371.93342350423745</c:v>
                </c:pt>
                <c:pt idx="280">
                  <c:v>356.42351928521549</c:v>
                </c:pt>
                <c:pt idx="281">
                  <c:v>368.83804988329564</c:v>
                </c:pt>
                <c:pt idx="282">
                  <c:v>362.80710712427839</c:v>
                </c:pt>
                <c:pt idx="283">
                  <c:v>355.65803614696807</c:v>
                </c:pt>
                <c:pt idx="284">
                  <c:v>362.33368402022245</c:v>
                </c:pt>
                <c:pt idx="285">
                  <c:v>363.08005684929907</c:v>
                </c:pt>
                <c:pt idx="286">
                  <c:v>358.69773480348249</c:v>
                </c:pt>
                <c:pt idx="287">
                  <c:v>357.43679531488709</c:v>
                </c:pt>
                <c:pt idx="288">
                  <c:v>361.58287367300727</c:v>
                </c:pt>
                <c:pt idx="289">
                  <c:v>357.68284310717348</c:v>
                </c:pt>
                <c:pt idx="290">
                  <c:v>347.04756447660657</c:v>
                </c:pt>
                <c:pt idx="291">
                  <c:v>387.02201818791258</c:v>
                </c:pt>
                <c:pt idx="292">
                  <c:v>373.99722251237165</c:v>
                </c:pt>
                <c:pt idx="293">
                  <c:v>362.30442564382298</c:v>
                </c:pt>
                <c:pt idx="294">
                  <c:v>357.39399837052406</c:v>
                </c:pt>
                <c:pt idx="295">
                  <c:v>364.08676745096568</c:v>
                </c:pt>
                <c:pt idx="296">
                  <c:v>202.29544232573622</c:v>
                </c:pt>
                <c:pt idx="297">
                  <c:v>328.91608416018619</c:v>
                </c:pt>
                <c:pt idx="298">
                  <c:v>347.39199384612078</c:v>
                </c:pt>
                <c:pt idx="299">
                  <c:v>361.40706477778633</c:v>
                </c:pt>
                <c:pt idx="300">
                  <c:v>367.01516151852309</c:v>
                </c:pt>
                <c:pt idx="301">
                  <c:v>364.9043948961114</c:v>
                </c:pt>
                <c:pt idx="302">
                  <c:v>354.22362864729519</c:v>
                </c:pt>
                <c:pt idx="303">
                  <c:v>348.94279549010554</c:v>
                </c:pt>
                <c:pt idx="304">
                  <c:v>359.75870371927715</c:v>
                </c:pt>
                <c:pt idx="305">
                  <c:v>336.09139612959382</c:v>
                </c:pt>
                <c:pt idx="306">
                  <c:v>353.52469872358915</c:v>
                </c:pt>
                <c:pt idx="307">
                  <c:v>350.53005328563245</c:v>
                </c:pt>
                <c:pt idx="308">
                  <c:v>358.31339351564122</c:v>
                </c:pt>
                <c:pt idx="309">
                  <c:v>354.60039208426866</c:v>
                </c:pt>
                <c:pt idx="310">
                  <c:v>345.43480016458079</c:v>
                </c:pt>
                <c:pt idx="311">
                  <c:v>334.25503327487445</c:v>
                </c:pt>
                <c:pt idx="312">
                  <c:v>341.66404671298875</c:v>
                </c:pt>
                <c:pt idx="313">
                  <c:v>343.84963803766942</c:v>
                </c:pt>
                <c:pt idx="314">
                  <c:v>347.53032015913521</c:v>
                </c:pt>
                <c:pt idx="315">
                  <c:v>310.45195167120642</c:v>
                </c:pt>
                <c:pt idx="316">
                  <c:v>351.9387872452121</c:v>
                </c:pt>
                <c:pt idx="317">
                  <c:v>340.30374451779915</c:v>
                </c:pt>
                <c:pt idx="318">
                  <c:v>306.77506412065429</c:v>
                </c:pt>
                <c:pt idx="319">
                  <c:v>24.23758664137214</c:v>
                </c:pt>
                <c:pt idx="320">
                  <c:v>151.29781275918151</c:v>
                </c:pt>
                <c:pt idx="321">
                  <c:v>282.800702637906</c:v>
                </c:pt>
                <c:pt idx="322">
                  <c:v>330.84234372390023</c:v>
                </c:pt>
                <c:pt idx="323">
                  <c:v>328.94401912902504</c:v>
                </c:pt>
                <c:pt idx="324">
                  <c:v>334.31518791068834</c:v>
                </c:pt>
                <c:pt idx="325">
                  <c:v>332.49966213858505</c:v>
                </c:pt>
                <c:pt idx="326">
                  <c:v>333.40563696132983</c:v>
                </c:pt>
                <c:pt idx="327">
                  <c:v>334.37495530292517</c:v>
                </c:pt>
                <c:pt idx="328">
                  <c:v>326.08539947416585</c:v>
                </c:pt>
                <c:pt idx="329">
                  <c:v>327.89382309828068</c:v>
                </c:pt>
                <c:pt idx="330">
                  <c:v>309.29598935774271</c:v>
                </c:pt>
                <c:pt idx="331">
                  <c:v>343.17847522772303</c:v>
                </c:pt>
                <c:pt idx="332">
                  <c:v>333.12845183642764</c:v>
                </c:pt>
                <c:pt idx="333">
                  <c:v>325.12899288309791</c:v>
                </c:pt>
                <c:pt idx="334">
                  <c:v>409.36196568857832</c:v>
                </c:pt>
                <c:pt idx="335">
                  <c:v>506.33863280675422</c:v>
                </c:pt>
                <c:pt idx="336">
                  <c:v>339.14860467476427</c:v>
                </c:pt>
                <c:pt idx="337">
                  <c:v>335.41791228210963</c:v>
                </c:pt>
                <c:pt idx="338">
                  <c:v>342.8657316978838</c:v>
                </c:pt>
                <c:pt idx="339">
                  <c:v>322.71336550960035</c:v>
                </c:pt>
                <c:pt idx="340">
                  <c:v>318.17644880594298</c:v>
                </c:pt>
                <c:pt idx="341">
                  <c:v>320.40694239183097</c:v>
                </c:pt>
                <c:pt idx="342">
                  <c:v>316.58912769824792</c:v>
                </c:pt>
                <c:pt idx="343">
                  <c:v>316.64255940291639</c:v>
                </c:pt>
                <c:pt idx="344">
                  <c:v>312.20297366893629</c:v>
                </c:pt>
                <c:pt idx="345">
                  <c:v>324.60714182053317</c:v>
                </c:pt>
                <c:pt idx="346">
                  <c:v>322.59783288742</c:v>
                </c:pt>
                <c:pt idx="347">
                  <c:v>299.43208257039095</c:v>
                </c:pt>
                <c:pt idx="348">
                  <c:v>313.27140653151542</c:v>
                </c:pt>
                <c:pt idx="349">
                  <c:v>317.14080427490438</c:v>
                </c:pt>
                <c:pt idx="350">
                  <c:v>321.90362430546111</c:v>
                </c:pt>
                <c:pt idx="351">
                  <c:v>316.43490228274572</c:v>
                </c:pt>
                <c:pt idx="352">
                  <c:v>328.10382513928448</c:v>
                </c:pt>
                <c:pt idx="353">
                  <c:v>325.94500523043848</c:v>
                </c:pt>
                <c:pt idx="354">
                  <c:v>321.87884894166604</c:v>
                </c:pt>
                <c:pt idx="355">
                  <c:v>315.36524100858577</c:v>
                </c:pt>
                <c:pt idx="356">
                  <c:v>363.40593021802846</c:v>
                </c:pt>
                <c:pt idx="357">
                  <c:v>383.45682811193569</c:v>
                </c:pt>
                <c:pt idx="358">
                  <c:v>315.5866617954436</c:v>
                </c:pt>
                <c:pt idx="359">
                  <c:v>314.95079947052022</c:v>
                </c:pt>
                <c:pt idx="360">
                  <c:v>316.47000683808454</c:v>
                </c:pt>
                <c:pt idx="361">
                  <c:v>316.41540508778098</c:v>
                </c:pt>
                <c:pt idx="362">
                  <c:v>310.93176406253878</c:v>
                </c:pt>
                <c:pt idx="363">
                  <c:v>377.4348353856156</c:v>
                </c:pt>
                <c:pt idx="364">
                  <c:v>508.54480383443052</c:v>
                </c:pt>
                <c:pt idx="365">
                  <c:v>1626.9131510883394</c:v>
                </c:pt>
                <c:pt idx="366">
                  <c:v>366.1923336443657</c:v>
                </c:pt>
                <c:pt idx="367">
                  <c:v>366.32061184752621</c:v>
                </c:pt>
                <c:pt idx="368">
                  <c:v>373.10781271947747</c:v>
                </c:pt>
                <c:pt idx="369">
                  <c:v>372.65409704078888</c:v>
                </c:pt>
                <c:pt idx="370">
                  <c:v>63.244498171710696</c:v>
                </c:pt>
                <c:pt idx="371">
                  <c:v>31.454895058243245</c:v>
                </c:pt>
                <c:pt idx="372">
                  <c:v>316.58084594276187</c:v>
                </c:pt>
                <c:pt idx="373">
                  <c:v>348.57132848025321</c:v>
                </c:pt>
                <c:pt idx="374">
                  <c:v>340.64310765060202</c:v>
                </c:pt>
                <c:pt idx="375">
                  <c:v>356.88680757489431</c:v>
                </c:pt>
                <c:pt idx="376">
                  <c:v>327.20818156355125</c:v>
                </c:pt>
                <c:pt idx="377">
                  <c:v>343.77429343241067</c:v>
                </c:pt>
                <c:pt idx="378">
                  <c:v>343.33391051527661</c:v>
                </c:pt>
                <c:pt idx="379">
                  <c:v>344.26713415189948</c:v>
                </c:pt>
                <c:pt idx="380">
                  <c:v>344.08645157524643</c:v>
                </c:pt>
                <c:pt idx="381">
                  <c:v>335.53871371161785</c:v>
                </c:pt>
                <c:pt idx="382">
                  <c:v>327.84068099170645</c:v>
                </c:pt>
                <c:pt idx="383">
                  <c:v>342.02577093770702</c:v>
                </c:pt>
                <c:pt idx="384">
                  <c:v>332.49175990876137</c:v>
                </c:pt>
                <c:pt idx="385">
                  <c:v>339.93024920820261</c:v>
                </c:pt>
                <c:pt idx="386">
                  <c:v>340.84079956534896</c:v>
                </c:pt>
                <c:pt idx="387">
                  <c:v>332.09956630679153</c:v>
                </c:pt>
                <c:pt idx="388">
                  <c:v>337.05972234107981</c:v>
                </c:pt>
                <c:pt idx="389">
                  <c:v>349.30680424400373</c:v>
                </c:pt>
                <c:pt idx="390">
                  <c:v>321.8256816548103</c:v>
                </c:pt>
                <c:pt idx="391">
                  <c:v>337.89607370759285</c:v>
                </c:pt>
                <c:pt idx="392">
                  <c:v>341.42186482371363</c:v>
                </c:pt>
                <c:pt idx="393">
                  <c:v>334.75005762465878</c:v>
                </c:pt>
                <c:pt idx="394">
                  <c:v>316.43692604114062</c:v>
                </c:pt>
                <c:pt idx="395">
                  <c:v>323.90512337052814</c:v>
                </c:pt>
                <c:pt idx="396">
                  <c:v>341.8559406098226</c:v>
                </c:pt>
                <c:pt idx="397">
                  <c:v>336.33874260671291</c:v>
                </c:pt>
                <c:pt idx="398">
                  <c:v>344.09239601810384</c:v>
                </c:pt>
                <c:pt idx="399">
                  <c:v>332.77208188899931</c:v>
                </c:pt>
                <c:pt idx="400">
                  <c:v>338.53250464161852</c:v>
                </c:pt>
                <c:pt idx="401">
                  <c:v>333.18284678991949</c:v>
                </c:pt>
                <c:pt idx="402">
                  <c:v>330.33355958448567</c:v>
                </c:pt>
                <c:pt idx="403">
                  <c:v>336.42450882574542</c:v>
                </c:pt>
                <c:pt idx="404">
                  <c:v>343.19087364681167</c:v>
                </c:pt>
                <c:pt idx="405">
                  <c:v>344.6061096480646</c:v>
                </c:pt>
                <c:pt idx="406">
                  <c:v>341.34200315033286</c:v>
                </c:pt>
                <c:pt idx="407">
                  <c:v>343.77974176091152</c:v>
                </c:pt>
                <c:pt idx="408">
                  <c:v>354.56912920378034</c:v>
                </c:pt>
                <c:pt idx="409">
                  <c:v>340.96731947118963</c:v>
                </c:pt>
                <c:pt idx="410">
                  <c:v>346.92353703682397</c:v>
                </c:pt>
                <c:pt idx="411">
                  <c:v>348.47087415276604</c:v>
                </c:pt>
                <c:pt idx="412">
                  <c:v>367.49510090472313</c:v>
                </c:pt>
                <c:pt idx="413">
                  <c:v>362.10513792802158</c:v>
                </c:pt>
                <c:pt idx="414">
                  <c:v>387.6307346128109</c:v>
                </c:pt>
                <c:pt idx="415">
                  <c:v>398.16564013804663</c:v>
                </c:pt>
                <c:pt idx="416">
                  <c:v>407.14599882352064</c:v>
                </c:pt>
                <c:pt idx="417">
                  <c:v>393.95889894571741</c:v>
                </c:pt>
                <c:pt idx="418">
                  <c:v>370.55467933253243</c:v>
                </c:pt>
                <c:pt idx="419">
                  <c:v>376.66099786136039</c:v>
                </c:pt>
                <c:pt idx="420">
                  <c:v>369.97660572118974</c:v>
                </c:pt>
                <c:pt idx="421">
                  <c:v>366.79685805983934</c:v>
                </c:pt>
                <c:pt idx="422">
                  <c:v>370.91587706021278</c:v>
                </c:pt>
                <c:pt idx="423">
                  <c:v>365.92123390324133</c:v>
                </c:pt>
                <c:pt idx="424">
                  <c:v>357.39366395984928</c:v>
                </c:pt>
                <c:pt idx="425">
                  <c:v>367.20897531526617</c:v>
                </c:pt>
                <c:pt idx="426">
                  <c:v>359.5998695563747</c:v>
                </c:pt>
                <c:pt idx="427">
                  <c:v>359.44742839213336</c:v>
                </c:pt>
                <c:pt idx="428">
                  <c:v>353.7808704637697</c:v>
                </c:pt>
                <c:pt idx="429">
                  <c:v>355.68145799297491</c:v>
                </c:pt>
                <c:pt idx="430">
                  <c:v>354.08646184216957</c:v>
                </c:pt>
                <c:pt idx="431">
                  <c:v>347.76541382484794</c:v>
                </c:pt>
                <c:pt idx="432">
                  <c:v>337.22911693970542</c:v>
                </c:pt>
                <c:pt idx="433">
                  <c:v>355.32924868843708</c:v>
                </c:pt>
                <c:pt idx="434">
                  <c:v>359.28933172598624</c:v>
                </c:pt>
                <c:pt idx="435">
                  <c:v>359.64164951879047</c:v>
                </c:pt>
                <c:pt idx="436">
                  <c:v>363.45388286723323</c:v>
                </c:pt>
                <c:pt idx="437">
                  <c:v>367.73695315575213</c:v>
                </c:pt>
                <c:pt idx="438">
                  <c:v>361.40243947356419</c:v>
                </c:pt>
                <c:pt idx="439">
                  <c:v>364.00877448507492</c:v>
                </c:pt>
                <c:pt idx="440">
                  <c:v>354.83829818901376</c:v>
                </c:pt>
                <c:pt idx="441">
                  <c:v>229.57508709502574</c:v>
                </c:pt>
                <c:pt idx="442">
                  <c:v>350.99516223375554</c:v>
                </c:pt>
                <c:pt idx="443">
                  <c:v>355.08954306655437</c:v>
                </c:pt>
                <c:pt idx="444">
                  <c:v>355.09746339553135</c:v>
                </c:pt>
                <c:pt idx="445">
                  <c:v>349.1847611220951</c:v>
                </c:pt>
                <c:pt idx="446">
                  <c:v>356.8273121125265</c:v>
                </c:pt>
                <c:pt idx="447">
                  <c:v>377.27054275327419</c:v>
                </c:pt>
                <c:pt idx="448">
                  <c:v>376.56415685887373</c:v>
                </c:pt>
                <c:pt idx="449">
                  <c:v>380.18831549830878</c:v>
                </c:pt>
                <c:pt idx="450">
                  <c:v>363.38952262999112</c:v>
                </c:pt>
                <c:pt idx="451">
                  <c:v>355.38039616479529</c:v>
                </c:pt>
                <c:pt idx="452">
                  <c:v>348.41170561069242</c:v>
                </c:pt>
                <c:pt idx="453">
                  <c:v>64.016534654598061</c:v>
                </c:pt>
                <c:pt idx="454">
                  <c:v>0</c:v>
                </c:pt>
                <c:pt idx="455">
                  <c:v>75.701765059500048</c:v>
                </c:pt>
                <c:pt idx="456">
                  <c:v>318.83816483328798</c:v>
                </c:pt>
                <c:pt idx="457">
                  <c:v>369.36491318012537</c:v>
                </c:pt>
                <c:pt idx="458">
                  <c:v>365.08630230064483</c:v>
                </c:pt>
                <c:pt idx="459">
                  <c:v>380.00300743666241</c:v>
                </c:pt>
                <c:pt idx="460">
                  <c:v>373.22470186119261</c:v>
                </c:pt>
                <c:pt idx="461">
                  <c:v>374.52232465793821</c:v>
                </c:pt>
                <c:pt idx="462">
                  <c:v>365.08431987360609</c:v>
                </c:pt>
                <c:pt idx="463">
                  <c:v>365.73900160652181</c:v>
                </c:pt>
                <c:pt idx="464">
                  <c:v>376.72278970231446</c:v>
                </c:pt>
                <c:pt idx="465">
                  <c:v>380.41730843493082</c:v>
                </c:pt>
                <c:pt idx="466">
                  <c:v>387.19063017819985</c:v>
                </c:pt>
                <c:pt idx="467">
                  <c:v>492.26656936470732</c:v>
                </c:pt>
                <c:pt idx="468">
                  <c:v>1658.8064246274539</c:v>
                </c:pt>
                <c:pt idx="469">
                  <c:v>342.73139928733156</c:v>
                </c:pt>
                <c:pt idx="470">
                  <c:v>338.80215650904785</c:v>
                </c:pt>
                <c:pt idx="471">
                  <c:v>350.64752616793589</c:v>
                </c:pt>
                <c:pt idx="472">
                  <c:v>360.61024357518801</c:v>
                </c:pt>
                <c:pt idx="473">
                  <c:v>373.09970615769174</c:v>
                </c:pt>
                <c:pt idx="474">
                  <c:v>357.0979186836293</c:v>
                </c:pt>
                <c:pt idx="475">
                  <c:v>339.44653829772113</c:v>
                </c:pt>
                <c:pt idx="476">
                  <c:v>340.64251092160276</c:v>
                </c:pt>
                <c:pt idx="477">
                  <c:v>353.78168094095389</c:v>
                </c:pt>
                <c:pt idx="478">
                  <c:v>338.17559940447342</c:v>
                </c:pt>
                <c:pt idx="479">
                  <c:v>342.86134876577239</c:v>
                </c:pt>
                <c:pt idx="480">
                  <c:v>354.95032085166122</c:v>
                </c:pt>
                <c:pt idx="481">
                  <c:v>361.9526012306676</c:v>
                </c:pt>
                <c:pt idx="482">
                  <c:v>358.9520133117187</c:v>
                </c:pt>
                <c:pt idx="483">
                  <c:v>366.00667528161853</c:v>
                </c:pt>
                <c:pt idx="484">
                  <c:v>331.82349206714423</c:v>
                </c:pt>
                <c:pt idx="485">
                  <c:v>372.92443980756929</c:v>
                </c:pt>
                <c:pt idx="486">
                  <c:v>351.43548108467212</c:v>
                </c:pt>
                <c:pt idx="487">
                  <c:v>358.18350531478239</c:v>
                </c:pt>
                <c:pt idx="488">
                  <c:v>350.1011857010987</c:v>
                </c:pt>
                <c:pt idx="489">
                  <c:v>349.11748526938811</c:v>
                </c:pt>
                <c:pt idx="490">
                  <c:v>364.37802158073396</c:v>
                </c:pt>
                <c:pt idx="491">
                  <c:v>359.73726392005142</c:v>
                </c:pt>
                <c:pt idx="492">
                  <c:v>365.20433911130891</c:v>
                </c:pt>
                <c:pt idx="493">
                  <c:v>476.91906481069287</c:v>
                </c:pt>
                <c:pt idx="494">
                  <c:v>593.3493473104611</c:v>
                </c:pt>
                <c:pt idx="495">
                  <c:v>1214.2692572280787</c:v>
                </c:pt>
                <c:pt idx="496">
                  <c:v>1505.2078861953989</c:v>
                </c:pt>
                <c:pt idx="497">
                  <c:v>0</c:v>
                </c:pt>
                <c:pt idx="498">
                  <c:v>11316.420766194698</c:v>
                </c:pt>
                <c:pt idx="499">
                  <c:v>358.01196207231186</c:v>
                </c:pt>
                <c:pt idx="500">
                  <c:v>342.34019861409922</c:v>
                </c:pt>
                <c:pt idx="501">
                  <c:v>350.21904916339031</c:v>
                </c:pt>
                <c:pt idx="502">
                  <c:v>346.71635897722479</c:v>
                </c:pt>
                <c:pt idx="503">
                  <c:v>335.48770411709029</c:v>
                </c:pt>
                <c:pt idx="504">
                  <c:v>353.71877207831955</c:v>
                </c:pt>
                <c:pt idx="505">
                  <c:v>351.39619784801567</c:v>
                </c:pt>
                <c:pt idx="506">
                  <c:v>641.23583569015864</c:v>
                </c:pt>
                <c:pt idx="507">
                  <c:v>351.63912497113404</c:v>
                </c:pt>
                <c:pt idx="508">
                  <c:v>369.07807264703212</c:v>
                </c:pt>
                <c:pt idx="509">
                  <c:v>347.92189429660237</c:v>
                </c:pt>
                <c:pt idx="510">
                  <c:v>332.17865718040275</c:v>
                </c:pt>
                <c:pt idx="511">
                  <c:v>343.00928614684119</c:v>
                </c:pt>
                <c:pt idx="512">
                  <c:v>352.76872065598923</c:v>
                </c:pt>
                <c:pt idx="513">
                  <c:v>347.98351516284811</c:v>
                </c:pt>
                <c:pt idx="514">
                  <c:v>354.29068803649193</c:v>
                </c:pt>
                <c:pt idx="515">
                  <c:v>344.40533501617404</c:v>
                </c:pt>
                <c:pt idx="516">
                  <c:v>343.16770453656414</c:v>
                </c:pt>
                <c:pt idx="517">
                  <c:v>349.39433825125678</c:v>
                </c:pt>
                <c:pt idx="518">
                  <c:v>350.34827927677907</c:v>
                </c:pt>
                <c:pt idx="519">
                  <c:v>343.31935707382758</c:v>
                </c:pt>
                <c:pt idx="520">
                  <c:v>341.9869211879971</c:v>
                </c:pt>
                <c:pt idx="521">
                  <c:v>347.74054220292697</c:v>
                </c:pt>
                <c:pt idx="522">
                  <c:v>350.09506657684716</c:v>
                </c:pt>
                <c:pt idx="523">
                  <c:v>349.7545349249487</c:v>
                </c:pt>
                <c:pt idx="524">
                  <c:v>320.52675484821594</c:v>
                </c:pt>
                <c:pt idx="525">
                  <c:v>336.82883013991409</c:v>
                </c:pt>
                <c:pt idx="526">
                  <c:v>273.31964005733658</c:v>
                </c:pt>
                <c:pt idx="527">
                  <c:v>356.26023266947641</c:v>
                </c:pt>
                <c:pt idx="528">
                  <c:v>355.21505993144297</c:v>
                </c:pt>
                <c:pt idx="529">
                  <c:v>368.23996154529806</c:v>
                </c:pt>
                <c:pt idx="530">
                  <c:v>363.44930048389961</c:v>
                </c:pt>
                <c:pt idx="531">
                  <c:v>387.38989281426382</c:v>
                </c:pt>
                <c:pt idx="532">
                  <c:v>363.20886600470465</c:v>
                </c:pt>
                <c:pt idx="533">
                  <c:v>375.47363088414085</c:v>
                </c:pt>
                <c:pt idx="534">
                  <c:v>356.87643744265785</c:v>
                </c:pt>
                <c:pt idx="535">
                  <c:v>355.52290112424282</c:v>
                </c:pt>
                <c:pt idx="536">
                  <c:v>357.28201411231515</c:v>
                </c:pt>
                <c:pt idx="537">
                  <c:v>366.76979148036139</c:v>
                </c:pt>
                <c:pt idx="538">
                  <c:v>370.37578991099349</c:v>
                </c:pt>
                <c:pt idx="539">
                  <c:v>370.95706643407112</c:v>
                </c:pt>
                <c:pt idx="540">
                  <c:v>370.94040932555259</c:v>
                </c:pt>
                <c:pt idx="541">
                  <c:v>375.98574700468095</c:v>
                </c:pt>
                <c:pt idx="542">
                  <c:v>389.68579109696162</c:v>
                </c:pt>
                <c:pt idx="543">
                  <c:v>384.63559917071331</c:v>
                </c:pt>
                <c:pt idx="544">
                  <c:v>396.88599643024457</c:v>
                </c:pt>
                <c:pt idx="545">
                  <c:v>369.04184255495085</c:v>
                </c:pt>
                <c:pt idx="546">
                  <c:v>374.87677114294956</c:v>
                </c:pt>
                <c:pt idx="547">
                  <c:v>370.98570016823425</c:v>
                </c:pt>
                <c:pt idx="548">
                  <c:v>367.86157655021469</c:v>
                </c:pt>
                <c:pt idx="549">
                  <c:v>368.49194799683829</c:v>
                </c:pt>
                <c:pt idx="550">
                  <c:v>346.4315533678037</c:v>
                </c:pt>
                <c:pt idx="551">
                  <c:v>344.47767796267408</c:v>
                </c:pt>
                <c:pt idx="552">
                  <c:v>338.55773966694153</c:v>
                </c:pt>
                <c:pt idx="553">
                  <c:v>334.70450918589057</c:v>
                </c:pt>
                <c:pt idx="554">
                  <c:v>342.97793067966228</c:v>
                </c:pt>
                <c:pt idx="555">
                  <c:v>358.54102620967245</c:v>
                </c:pt>
                <c:pt idx="556">
                  <c:v>365.74071664018487</c:v>
                </c:pt>
                <c:pt idx="557">
                  <c:v>364.95994451615798</c:v>
                </c:pt>
                <c:pt idx="558">
                  <c:v>350.11711875676212</c:v>
                </c:pt>
                <c:pt idx="559">
                  <c:v>350.63553468564101</c:v>
                </c:pt>
                <c:pt idx="560">
                  <c:v>351.97267047223971</c:v>
                </c:pt>
                <c:pt idx="561">
                  <c:v>351.51078196698137</c:v>
                </c:pt>
                <c:pt idx="562">
                  <c:v>369.36743547528812</c:v>
                </c:pt>
                <c:pt idx="563">
                  <c:v>367.07706375490363</c:v>
                </c:pt>
                <c:pt idx="564">
                  <c:v>378.28315878474967</c:v>
                </c:pt>
                <c:pt idx="565">
                  <c:v>350.1670485661009</c:v>
                </c:pt>
                <c:pt idx="566">
                  <c:v>351.47220813748874</c:v>
                </c:pt>
                <c:pt idx="567">
                  <c:v>374.17824445204303</c:v>
                </c:pt>
                <c:pt idx="568">
                  <c:v>383.67010323915252</c:v>
                </c:pt>
                <c:pt idx="569">
                  <c:v>391.41310191981285</c:v>
                </c:pt>
                <c:pt idx="570">
                  <c:v>494.24345248444598</c:v>
                </c:pt>
                <c:pt idx="571">
                  <c:v>395.16501920230019</c:v>
                </c:pt>
                <c:pt idx="572">
                  <c:v>400.1274808562755</c:v>
                </c:pt>
                <c:pt idx="573">
                  <c:v>371.88900189295572</c:v>
                </c:pt>
                <c:pt idx="574">
                  <c:v>373.81606650679169</c:v>
                </c:pt>
                <c:pt idx="575">
                  <c:v>364.70923052543344</c:v>
                </c:pt>
                <c:pt idx="576">
                  <c:v>372.21353402442446</c:v>
                </c:pt>
                <c:pt idx="577">
                  <c:v>385.76133898440219</c:v>
                </c:pt>
                <c:pt idx="578">
                  <c:v>381.58689126815625</c:v>
                </c:pt>
                <c:pt idx="579">
                  <c:v>397.12025851334238</c:v>
                </c:pt>
                <c:pt idx="580">
                  <c:v>399.02734114260596</c:v>
                </c:pt>
                <c:pt idx="581">
                  <c:v>410.65683243631992</c:v>
                </c:pt>
                <c:pt idx="582">
                  <c:v>392.96164598708617</c:v>
                </c:pt>
                <c:pt idx="583">
                  <c:v>369.15065739532349</c:v>
                </c:pt>
                <c:pt idx="584">
                  <c:v>386.01798844419949</c:v>
                </c:pt>
                <c:pt idx="585">
                  <c:v>388.52720818926571</c:v>
                </c:pt>
                <c:pt idx="586">
                  <c:v>394.96022787709694</c:v>
                </c:pt>
                <c:pt idx="587">
                  <c:v>372.71687949552825</c:v>
                </c:pt>
                <c:pt idx="588">
                  <c:v>372.356336026549</c:v>
                </c:pt>
                <c:pt idx="589">
                  <c:v>375.62588420927557</c:v>
                </c:pt>
                <c:pt idx="590">
                  <c:v>234.51212534739554</c:v>
                </c:pt>
                <c:pt idx="591">
                  <c:v>377.01011447387248</c:v>
                </c:pt>
                <c:pt idx="592">
                  <c:v>377.31204513947324</c:v>
                </c:pt>
                <c:pt idx="593">
                  <c:v>357.89273531162644</c:v>
                </c:pt>
                <c:pt idx="594">
                  <c:v>367.45874000797335</c:v>
                </c:pt>
                <c:pt idx="595">
                  <c:v>373.39660908024831</c:v>
                </c:pt>
                <c:pt idx="596">
                  <c:v>364.75680476601144</c:v>
                </c:pt>
                <c:pt idx="597">
                  <c:v>351.45192749511608</c:v>
                </c:pt>
                <c:pt idx="598">
                  <c:v>0.28313893092797177</c:v>
                </c:pt>
                <c:pt idx="599">
                  <c:v>0</c:v>
                </c:pt>
                <c:pt idx="600">
                  <c:v>114.69151730197487</c:v>
                </c:pt>
                <c:pt idx="601">
                  <c:v>107.77057637947594</c:v>
                </c:pt>
                <c:pt idx="602">
                  <c:v>228.7908049501695</c:v>
                </c:pt>
                <c:pt idx="603">
                  <c:v>286.9579768556867</c:v>
                </c:pt>
                <c:pt idx="604">
                  <c:v>336.01774991420604</c:v>
                </c:pt>
                <c:pt idx="605">
                  <c:v>326.23919747704929</c:v>
                </c:pt>
                <c:pt idx="606">
                  <c:v>335.93275187318477</c:v>
                </c:pt>
                <c:pt idx="607">
                  <c:v>378.20765741974202</c:v>
                </c:pt>
                <c:pt idx="608">
                  <c:v>340.50565422529843</c:v>
                </c:pt>
                <c:pt idx="609">
                  <c:v>342.28244688255057</c:v>
                </c:pt>
                <c:pt idx="610">
                  <c:v>351.43589447760166</c:v>
                </c:pt>
                <c:pt idx="611">
                  <c:v>347.88862745375138</c:v>
                </c:pt>
                <c:pt idx="612">
                  <c:v>343.03136224456614</c:v>
                </c:pt>
                <c:pt idx="613">
                  <c:v>309.08614945336325</c:v>
                </c:pt>
                <c:pt idx="614">
                  <c:v>354.32123238641714</c:v>
                </c:pt>
                <c:pt idx="615">
                  <c:v>359.41446655454445</c:v>
                </c:pt>
                <c:pt idx="616">
                  <c:v>394.59206950298358</c:v>
                </c:pt>
                <c:pt idx="617">
                  <c:v>409.13765394635857</c:v>
                </c:pt>
                <c:pt idx="618">
                  <c:v>386.48800012630528</c:v>
                </c:pt>
                <c:pt idx="619">
                  <c:v>388.1002274100249</c:v>
                </c:pt>
                <c:pt idx="620">
                  <c:v>386.56247430616969</c:v>
                </c:pt>
                <c:pt idx="621">
                  <c:v>394.99831738978651</c:v>
                </c:pt>
                <c:pt idx="622">
                  <c:v>359.48076289525471</c:v>
                </c:pt>
                <c:pt idx="623">
                  <c:v>383.21220807357128</c:v>
                </c:pt>
                <c:pt idx="624">
                  <c:v>388.87287969901666</c:v>
                </c:pt>
                <c:pt idx="625">
                  <c:v>418.37927444870138</c:v>
                </c:pt>
                <c:pt idx="626">
                  <c:v>437.23990998563869</c:v>
                </c:pt>
                <c:pt idx="627">
                  <c:v>442.4688415197644</c:v>
                </c:pt>
                <c:pt idx="628">
                  <c:v>66.335924657456857</c:v>
                </c:pt>
                <c:pt idx="629">
                  <c:v>310.19851552016456</c:v>
                </c:pt>
                <c:pt idx="630">
                  <c:v>327.17693873902255</c:v>
                </c:pt>
                <c:pt idx="631">
                  <c:v>324.17123131809745</c:v>
                </c:pt>
                <c:pt idx="632">
                  <c:v>315.40775927505933</c:v>
                </c:pt>
                <c:pt idx="633">
                  <c:v>314.92137430251313</c:v>
                </c:pt>
                <c:pt idx="634">
                  <c:v>311.03647933882399</c:v>
                </c:pt>
                <c:pt idx="635">
                  <c:v>319.40459794769436</c:v>
                </c:pt>
                <c:pt idx="636">
                  <c:v>317.89935956047901</c:v>
                </c:pt>
                <c:pt idx="637">
                  <c:v>336.52231908219221</c:v>
                </c:pt>
                <c:pt idx="638">
                  <c:v>413.05242129426625</c:v>
                </c:pt>
                <c:pt idx="639">
                  <c:v>474.74699724989608</c:v>
                </c:pt>
                <c:pt idx="640">
                  <c:v>527.29287805246179</c:v>
                </c:pt>
                <c:pt idx="641">
                  <c:v>1523.4718574762298</c:v>
                </c:pt>
                <c:pt idx="642">
                  <c:v>0</c:v>
                </c:pt>
                <c:pt idx="643">
                  <c:v>1881.172954195524</c:v>
                </c:pt>
                <c:pt idx="644">
                  <c:v>402.62807287865672</c:v>
                </c:pt>
                <c:pt idx="645">
                  <c:v>386.99240485783554</c:v>
                </c:pt>
                <c:pt idx="646">
                  <c:v>392.638825847627</c:v>
                </c:pt>
                <c:pt idx="647">
                  <c:v>413.39509860901666</c:v>
                </c:pt>
                <c:pt idx="648">
                  <c:v>385.56008921633099</c:v>
                </c:pt>
                <c:pt idx="649">
                  <c:v>361.51415764787976</c:v>
                </c:pt>
                <c:pt idx="650">
                  <c:v>382.86343142424226</c:v>
                </c:pt>
                <c:pt idx="651">
                  <c:v>368.1323632190967</c:v>
                </c:pt>
                <c:pt idx="652">
                  <c:v>372.50194039983671</c:v>
                </c:pt>
                <c:pt idx="653">
                  <c:v>360.36319971294381</c:v>
                </c:pt>
                <c:pt idx="654">
                  <c:v>355.80474996374454</c:v>
                </c:pt>
                <c:pt idx="655">
                  <c:v>565.93690117164181</c:v>
                </c:pt>
                <c:pt idx="656">
                  <c:v>367.53487821906452</c:v>
                </c:pt>
                <c:pt idx="657">
                  <c:v>364.79737155355434</c:v>
                </c:pt>
                <c:pt idx="658">
                  <c:v>370.43606614360942</c:v>
                </c:pt>
                <c:pt idx="659">
                  <c:v>385.03425400263353</c:v>
                </c:pt>
                <c:pt idx="660">
                  <c:v>372.8894837461981</c:v>
                </c:pt>
                <c:pt idx="661">
                  <c:v>385.30476632185201</c:v>
                </c:pt>
                <c:pt idx="662">
                  <c:v>360.75351860163386</c:v>
                </c:pt>
                <c:pt idx="663">
                  <c:v>360.58647461006814</c:v>
                </c:pt>
                <c:pt idx="664">
                  <c:v>357.00262235880979</c:v>
                </c:pt>
                <c:pt idx="665">
                  <c:v>351.75009790566338</c:v>
                </c:pt>
                <c:pt idx="666">
                  <c:v>367.97464848089317</c:v>
                </c:pt>
                <c:pt idx="667">
                  <c:v>362.35393540107901</c:v>
                </c:pt>
                <c:pt idx="668">
                  <c:v>354.70112945309177</c:v>
                </c:pt>
                <c:pt idx="669">
                  <c:v>372.47590994296007</c:v>
                </c:pt>
                <c:pt idx="670">
                  <c:v>344.36393330447623</c:v>
                </c:pt>
                <c:pt idx="671">
                  <c:v>364.90086060228123</c:v>
                </c:pt>
                <c:pt idx="672">
                  <c:v>353.91532400562556</c:v>
                </c:pt>
                <c:pt idx="673">
                  <c:v>342.93018088428903</c:v>
                </c:pt>
                <c:pt idx="674">
                  <c:v>355.68025866460215</c:v>
                </c:pt>
                <c:pt idx="675">
                  <c:v>341.37591317619734</c:v>
                </c:pt>
                <c:pt idx="676">
                  <c:v>348.44115141366075</c:v>
                </c:pt>
                <c:pt idx="677">
                  <c:v>339.42574574902625</c:v>
                </c:pt>
                <c:pt idx="678">
                  <c:v>324.94472742254175</c:v>
                </c:pt>
                <c:pt idx="679">
                  <c:v>344.52575901357062</c:v>
                </c:pt>
                <c:pt idx="680">
                  <c:v>399.79996985214302</c:v>
                </c:pt>
                <c:pt idx="681">
                  <c:v>400.06635615613095</c:v>
                </c:pt>
                <c:pt idx="682">
                  <c:v>398.0087082981064</c:v>
                </c:pt>
                <c:pt idx="683">
                  <c:v>377.25094405040778</c:v>
                </c:pt>
                <c:pt idx="684">
                  <c:v>419.81767078743081</c:v>
                </c:pt>
                <c:pt idx="685">
                  <c:v>368.4866317493109</c:v>
                </c:pt>
                <c:pt idx="686">
                  <c:v>392.06657813043239</c:v>
                </c:pt>
                <c:pt idx="687">
                  <c:v>347.0887643644507</c:v>
                </c:pt>
                <c:pt idx="688">
                  <c:v>328.61650280151355</c:v>
                </c:pt>
                <c:pt idx="689">
                  <c:v>333.56170242955335</c:v>
                </c:pt>
                <c:pt idx="690">
                  <c:v>332.24354275701984</c:v>
                </c:pt>
                <c:pt idx="691">
                  <c:v>329.52218845700969</c:v>
                </c:pt>
                <c:pt idx="692">
                  <c:v>340.17858511538964</c:v>
                </c:pt>
                <c:pt idx="693">
                  <c:v>342.32482516739515</c:v>
                </c:pt>
                <c:pt idx="694">
                  <c:v>336.9637803602904</c:v>
                </c:pt>
                <c:pt idx="695">
                  <c:v>333.92575780086224</c:v>
                </c:pt>
                <c:pt idx="696">
                  <c:v>330.27930153737822</c:v>
                </c:pt>
                <c:pt idx="697">
                  <c:v>350.61538959433659</c:v>
                </c:pt>
                <c:pt idx="698">
                  <c:v>348.32779443057996</c:v>
                </c:pt>
                <c:pt idx="699">
                  <c:v>343.77641900095097</c:v>
                </c:pt>
                <c:pt idx="700">
                  <c:v>347.12513742553568</c:v>
                </c:pt>
                <c:pt idx="701">
                  <c:v>366.47812882256807</c:v>
                </c:pt>
                <c:pt idx="702">
                  <c:v>370.5385527373187</c:v>
                </c:pt>
                <c:pt idx="703">
                  <c:v>335.83702865615436</c:v>
                </c:pt>
                <c:pt idx="704">
                  <c:v>329.22111871692039</c:v>
                </c:pt>
                <c:pt idx="705">
                  <c:v>326.38844841089372</c:v>
                </c:pt>
                <c:pt idx="706">
                  <c:v>345.72750723393727</c:v>
                </c:pt>
                <c:pt idx="707">
                  <c:v>330.37981962926216</c:v>
                </c:pt>
                <c:pt idx="708">
                  <c:v>364.87964674024272</c:v>
                </c:pt>
                <c:pt idx="709">
                  <c:v>356.01610097360646</c:v>
                </c:pt>
                <c:pt idx="710">
                  <c:v>339.31736667597767</c:v>
                </c:pt>
                <c:pt idx="711">
                  <c:v>335.47630889006109</c:v>
                </c:pt>
                <c:pt idx="712">
                  <c:v>354.4231619054591</c:v>
                </c:pt>
                <c:pt idx="713">
                  <c:v>339.97498696123785</c:v>
                </c:pt>
                <c:pt idx="714">
                  <c:v>335.80649534252427</c:v>
                </c:pt>
                <c:pt idx="715">
                  <c:v>332.34548735777878</c:v>
                </c:pt>
                <c:pt idx="716">
                  <c:v>326.33982790877343</c:v>
                </c:pt>
                <c:pt idx="717">
                  <c:v>337.25150394949787</c:v>
                </c:pt>
                <c:pt idx="718">
                  <c:v>332.17421372809156</c:v>
                </c:pt>
                <c:pt idx="719">
                  <c:v>345.69297267911116</c:v>
                </c:pt>
                <c:pt idx="720">
                  <c:v>351.36224811307613</c:v>
                </c:pt>
                <c:pt idx="721">
                  <c:v>338.2282889920973</c:v>
                </c:pt>
                <c:pt idx="722">
                  <c:v>344.06328325988517</c:v>
                </c:pt>
                <c:pt idx="723">
                  <c:v>356.7039290356459</c:v>
                </c:pt>
                <c:pt idx="724">
                  <c:v>402.77551158019787</c:v>
                </c:pt>
                <c:pt idx="725">
                  <c:v>2672.2996481294922</c:v>
                </c:pt>
                <c:pt idx="726">
                  <c:v>1747.6101716864957</c:v>
                </c:pt>
                <c:pt idx="727">
                  <c:v>363.41483308887348</c:v>
                </c:pt>
                <c:pt idx="728">
                  <c:v>352.53877507271949</c:v>
                </c:pt>
                <c:pt idx="729">
                  <c:v>351.43957223867329</c:v>
                </c:pt>
                <c:pt idx="730">
                  <c:v>351.38662093141374</c:v>
                </c:pt>
                <c:pt idx="731">
                  <c:v>335.68565548394417</c:v>
                </c:pt>
                <c:pt idx="732">
                  <c:v>357.59301860000909</c:v>
                </c:pt>
                <c:pt idx="733">
                  <c:v>345.5791601471272</c:v>
                </c:pt>
                <c:pt idx="734">
                  <c:v>346.31333467665723</c:v>
                </c:pt>
                <c:pt idx="735">
                  <c:v>337.3121701782444</c:v>
                </c:pt>
                <c:pt idx="736">
                  <c:v>347.97691352283351</c:v>
                </c:pt>
                <c:pt idx="737">
                  <c:v>340.10617220941816</c:v>
                </c:pt>
                <c:pt idx="738">
                  <c:v>329.94456126493367</c:v>
                </c:pt>
                <c:pt idx="739">
                  <c:v>333.04552083961585</c:v>
                </c:pt>
                <c:pt idx="740">
                  <c:v>316.81717619493963</c:v>
                </c:pt>
                <c:pt idx="741">
                  <c:v>277.49829494463455</c:v>
                </c:pt>
                <c:pt idx="742">
                  <c:v>315.26426964253034</c:v>
                </c:pt>
                <c:pt idx="743">
                  <c:v>343.79931877212226</c:v>
                </c:pt>
                <c:pt idx="744">
                  <c:v>345.75247833091902</c:v>
                </c:pt>
                <c:pt idx="745">
                  <c:v>345.08896959407264</c:v>
                </c:pt>
                <c:pt idx="746">
                  <c:v>346.85140392019582</c:v>
                </c:pt>
                <c:pt idx="747">
                  <c:v>347.84018526026097</c:v>
                </c:pt>
                <c:pt idx="748">
                  <c:v>340.51782096418816</c:v>
                </c:pt>
                <c:pt idx="749">
                  <c:v>355.67470834991002</c:v>
                </c:pt>
                <c:pt idx="750">
                  <c:v>330.04791740473337</c:v>
                </c:pt>
                <c:pt idx="751">
                  <c:v>331.02823886542768</c:v>
                </c:pt>
                <c:pt idx="752">
                  <c:v>347.58440955658705</c:v>
                </c:pt>
                <c:pt idx="753">
                  <c:v>348.19201241888976</c:v>
                </c:pt>
                <c:pt idx="754">
                  <c:v>349.27799938743755</c:v>
                </c:pt>
                <c:pt idx="755">
                  <c:v>332.68948818387764</c:v>
                </c:pt>
                <c:pt idx="756">
                  <c:v>355.33497640133299</c:v>
                </c:pt>
                <c:pt idx="757">
                  <c:v>347.01296660870963</c:v>
                </c:pt>
                <c:pt idx="758">
                  <c:v>355.63821818867359</c:v>
                </c:pt>
                <c:pt idx="759">
                  <c:v>343.74342499788776</c:v>
                </c:pt>
                <c:pt idx="760">
                  <c:v>343.18237375040781</c:v>
                </c:pt>
                <c:pt idx="761">
                  <c:v>360.10646848951905</c:v>
                </c:pt>
                <c:pt idx="762">
                  <c:v>365.14486372920459</c:v>
                </c:pt>
                <c:pt idx="763">
                  <c:v>360.45880091851916</c:v>
                </c:pt>
                <c:pt idx="764">
                  <c:v>358.51261098475817</c:v>
                </c:pt>
                <c:pt idx="765">
                  <c:v>369.89702448298948</c:v>
                </c:pt>
                <c:pt idx="766">
                  <c:v>352.98871331365001</c:v>
                </c:pt>
                <c:pt idx="767">
                  <c:v>378.48735625752812</c:v>
                </c:pt>
                <c:pt idx="768">
                  <c:v>367.00700284929627</c:v>
                </c:pt>
                <c:pt idx="769">
                  <c:v>363.57156752876989</c:v>
                </c:pt>
                <c:pt idx="770">
                  <c:v>367.46074877269291</c:v>
                </c:pt>
                <c:pt idx="771">
                  <c:v>364.63828837087567</c:v>
                </c:pt>
                <c:pt idx="772">
                  <c:v>366.19821288503641</c:v>
                </c:pt>
                <c:pt idx="773">
                  <c:v>352.38177547291531</c:v>
                </c:pt>
                <c:pt idx="774">
                  <c:v>348.87611007477176</c:v>
                </c:pt>
                <c:pt idx="775">
                  <c:v>350.79614154664483</c:v>
                </c:pt>
                <c:pt idx="776">
                  <c:v>355.39198280003984</c:v>
                </c:pt>
                <c:pt idx="777">
                  <c:v>363.93032044411439</c:v>
                </c:pt>
                <c:pt idx="778">
                  <c:v>353.89470286598288</c:v>
                </c:pt>
                <c:pt idx="779">
                  <c:v>349.98319699997251</c:v>
                </c:pt>
                <c:pt idx="780">
                  <c:v>348.02795538245527</c:v>
                </c:pt>
                <c:pt idx="781">
                  <c:v>351.7392443910511</c:v>
                </c:pt>
                <c:pt idx="782">
                  <c:v>355.24503984448796</c:v>
                </c:pt>
                <c:pt idx="783">
                  <c:v>335.42605293429006</c:v>
                </c:pt>
                <c:pt idx="784">
                  <c:v>361.76221526183633</c:v>
                </c:pt>
                <c:pt idx="785">
                  <c:v>340.06259825206803</c:v>
                </c:pt>
                <c:pt idx="786">
                  <c:v>370.76448569904841</c:v>
                </c:pt>
                <c:pt idx="787">
                  <c:v>377.82255044680039</c:v>
                </c:pt>
                <c:pt idx="788">
                  <c:v>415.47828714916352</c:v>
                </c:pt>
                <c:pt idx="789">
                  <c:v>1179.3179669305125</c:v>
                </c:pt>
                <c:pt idx="790">
                  <c:v>359.91147268744356</c:v>
                </c:pt>
                <c:pt idx="791">
                  <c:v>345.96103703394834</c:v>
                </c:pt>
                <c:pt idx="792">
                  <c:v>359.45571415908546</c:v>
                </c:pt>
                <c:pt idx="793">
                  <c:v>370.45161570866765</c:v>
                </c:pt>
                <c:pt idx="794">
                  <c:v>365.0406841539081</c:v>
                </c:pt>
                <c:pt idx="795">
                  <c:v>71.602671717716007</c:v>
                </c:pt>
                <c:pt idx="796">
                  <c:v>104.82203822768749</c:v>
                </c:pt>
                <c:pt idx="797">
                  <c:v>379.91980498091624</c:v>
                </c:pt>
                <c:pt idx="798">
                  <c:v>373.74126928096126</c:v>
                </c:pt>
                <c:pt idx="799">
                  <c:v>339.10721666399945</c:v>
                </c:pt>
                <c:pt idx="800">
                  <c:v>385.77829391201175</c:v>
                </c:pt>
                <c:pt idx="801">
                  <c:v>369.73535848800287</c:v>
                </c:pt>
                <c:pt idx="802">
                  <c:v>382.67723497949379</c:v>
                </c:pt>
                <c:pt idx="803">
                  <c:v>389.6918827329452</c:v>
                </c:pt>
                <c:pt idx="804">
                  <c:v>383.3535720042106</c:v>
                </c:pt>
                <c:pt idx="805">
                  <c:v>407.79417404989988</c:v>
                </c:pt>
                <c:pt idx="806">
                  <c:v>396.74767437722346</c:v>
                </c:pt>
                <c:pt idx="807">
                  <c:v>384.03353936090372</c:v>
                </c:pt>
                <c:pt idx="808">
                  <c:v>370.63815178761229</c:v>
                </c:pt>
                <c:pt idx="809">
                  <c:v>378.2596661878577</c:v>
                </c:pt>
                <c:pt idx="810">
                  <c:v>382.08199675523394</c:v>
                </c:pt>
                <c:pt idx="811">
                  <c:v>374.6734077493864</c:v>
                </c:pt>
                <c:pt idx="812">
                  <c:v>386.765634781605</c:v>
                </c:pt>
                <c:pt idx="813">
                  <c:v>405.27610938618267</c:v>
                </c:pt>
                <c:pt idx="814">
                  <c:v>397.89338627518754</c:v>
                </c:pt>
                <c:pt idx="815">
                  <c:v>398.70765251718177</c:v>
                </c:pt>
                <c:pt idx="816">
                  <c:v>390.54140145195038</c:v>
                </c:pt>
                <c:pt idx="817">
                  <c:v>371.97306981134773</c:v>
                </c:pt>
                <c:pt idx="818">
                  <c:v>374.21347053434766</c:v>
                </c:pt>
                <c:pt idx="819">
                  <c:v>379.12726376197855</c:v>
                </c:pt>
                <c:pt idx="820">
                  <c:v>375.62679039751839</c:v>
                </c:pt>
                <c:pt idx="821">
                  <c:v>387.9345511810485</c:v>
                </c:pt>
                <c:pt idx="822">
                  <c:v>382.67809571471997</c:v>
                </c:pt>
                <c:pt idx="823">
                  <c:v>383.72738257721164</c:v>
                </c:pt>
                <c:pt idx="824">
                  <c:v>385.66071310877078</c:v>
                </c:pt>
                <c:pt idx="825">
                  <c:v>399.03580810799497</c:v>
                </c:pt>
                <c:pt idx="826">
                  <c:v>382.220126688969</c:v>
                </c:pt>
                <c:pt idx="827">
                  <c:v>377.28827172734191</c:v>
                </c:pt>
                <c:pt idx="828">
                  <c:v>244.15101208862072</c:v>
                </c:pt>
                <c:pt idx="829">
                  <c:v>358.67005110197925</c:v>
                </c:pt>
                <c:pt idx="830">
                  <c:v>407.74645731395003</c:v>
                </c:pt>
                <c:pt idx="831">
                  <c:v>414.51922347797023</c:v>
                </c:pt>
                <c:pt idx="832">
                  <c:v>381.10062884332456</c:v>
                </c:pt>
                <c:pt idx="833">
                  <c:v>404.73632800111221</c:v>
                </c:pt>
                <c:pt idx="834">
                  <c:v>396.91771124717945</c:v>
                </c:pt>
                <c:pt idx="835">
                  <c:v>370.46916237259308</c:v>
                </c:pt>
                <c:pt idx="836">
                  <c:v>376.35125568490378</c:v>
                </c:pt>
                <c:pt idx="837">
                  <c:v>368.88382653767047</c:v>
                </c:pt>
                <c:pt idx="838">
                  <c:v>361.04295454582893</c:v>
                </c:pt>
                <c:pt idx="839">
                  <c:v>366.63671884796815</c:v>
                </c:pt>
                <c:pt idx="840">
                  <c:v>367.08627874282229</c:v>
                </c:pt>
                <c:pt idx="841">
                  <c:v>365.782124987119</c:v>
                </c:pt>
                <c:pt idx="842">
                  <c:v>365.33279105203667</c:v>
                </c:pt>
                <c:pt idx="843">
                  <c:v>363.33394002655132</c:v>
                </c:pt>
                <c:pt idx="844">
                  <c:v>368.33669576699168</c:v>
                </c:pt>
                <c:pt idx="845">
                  <c:v>360.13146812590054</c:v>
                </c:pt>
                <c:pt idx="846">
                  <c:v>377.55262978525707</c:v>
                </c:pt>
                <c:pt idx="847">
                  <c:v>349.91509453852774</c:v>
                </c:pt>
                <c:pt idx="848">
                  <c:v>346.59264059034052</c:v>
                </c:pt>
                <c:pt idx="849">
                  <c:v>355.86235244290185</c:v>
                </c:pt>
                <c:pt idx="850">
                  <c:v>357.61491528428058</c:v>
                </c:pt>
                <c:pt idx="851">
                  <c:v>354.02537982155047</c:v>
                </c:pt>
                <c:pt idx="852">
                  <c:v>375.74432500170673</c:v>
                </c:pt>
                <c:pt idx="853">
                  <c:v>366.75057231534265</c:v>
                </c:pt>
                <c:pt idx="854">
                  <c:v>364.05929449986741</c:v>
                </c:pt>
                <c:pt idx="855">
                  <c:v>360.31800277593487</c:v>
                </c:pt>
                <c:pt idx="856">
                  <c:v>378.18844197586554</c:v>
                </c:pt>
                <c:pt idx="857">
                  <c:v>372.33811091193803</c:v>
                </c:pt>
                <c:pt idx="858">
                  <c:v>374.7173055009373</c:v>
                </c:pt>
                <c:pt idx="859">
                  <c:v>381.51524055058815</c:v>
                </c:pt>
                <c:pt idx="860">
                  <c:v>452.99991479941559</c:v>
                </c:pt>
                <c:pt idx="861">
                  <c:v>828.75275679294089</c:v>
                </c:pt>
                <c:pt idx="862">
                  <c:v>1020.0422995727218</c:v>
                </c:pt>
                <c:pt idx="863">
                  <c:v>359.53484915568805</c:v>
                </c:pt>
                <c:pt idx="864">
                  <c:v>468.3410324904234</c:v>
                </c:pt>
                <c:pt idx="865">
                  <c:v>616.60959662322648</c:v>
                </c:pt>
                <c:pt idx="866">
                  <c:v>380.41528623609992</c:v>
                </c:pt>
                <c:pt idx="867">
                  <c:v>387.27353018774301</c:v>
                </c:pt>
                <c:pt idx="868">
                  <c:v>416.84897990084045</c:v>
                </c:pt>
                <c:pt idx="869">
                  <c:v>37.137981853669423</c:v>
                </c:pt>
                <c:pt idx="870">
                  <c:v>18.033588212834392</c:v>
                </c:pt>
                <c:pt idx="871">
                  <c:v>345.3714504530659</c:v>
                </c:pt>
                <c:pt idx="872">
                  <c:v>352.83163776248887</c:v>
                </c:pt>
                <c:pt idx="873">
                  <c:v>362.26125330798715</c:v>
                </c:pt>
                <c:pt idx="874">
                  <c:v>361.16988847891588</c:v>
                </c:pt>
                <c:pt idx="875">
                  <c:v>365.09397384807693</c:v>
                </c:pt>
                <c:pt idx="876">
                  <c:v>359.21112454650427</c:v>
                </c:pt>
                <c:pt idx="877">
                  <c:v>361.68435176381547</c:v>
                </c:pt>
                <c:pt idx="878">
                  <c:v>356.9753520086482</c:v>
                </c:pt>
                <c:pt idx="879">
                  <c:v>356.81666626371452</c:v>
                </c:pt>
                <c:pt idx="880">
                  <c:v>355.59510938499335</c:v>
                </c:pt>
                <c:pt idx="881">
                  <c:v>364.09848015269637</c:v>
                </c:pt>
                <c:pt idx="882">
                  <c:v>363.43043574162073</c:v>
                </c:pt>
                <c:pt idx="883">
                  <c:v>363.73841529898812</c:v>
                </c:pt>
                <c:pt idx="884">
                  <c:v>373.58351883284308</c:v>
                </c:pt>
                <c:pt idx="885">
                  <c:v>365.58672975124813</c:v>
                </c:pt>
                <c:pt idx="886">
                  <c:v>376.26091333322813</c:v>
                </c:pt>
                <c:pt idx="887">
                  <c:v>357.95079647536244</c:v>
                </c:pt>
                <c:pt idx="888">
                  <c:v>344.32667173293504</c:v>
                </c:pt>
                <c:pt idx="889">
                  <c:v>343.62210913876186</c:v>
                </c:pt>
                <c:pt idx="890">
                  <c:v>348.19556329884887</c:v>
                </c:pt>
                <c:pt idx="891">
                  <c:v>349.35536917366534</c:v>
                </c:pt>
                <c:pt idx="892">
                  <c:v>355.78922874704392</c:v>
                </c:pt>
                <c:pt idx="893">
                  <c:v>354.42501285851023</c:v>
                </c:pt>
                <c:pt idx="894">
                  <c:v>342.23991405532462</c:v>
                </c:pt>
                <c:pt idx="895">
                  <c:v>345.52943660934193</c:v>
                </c:pt>
                <c:pt idx="896">
                  <c:v>360.3006984918963</c:v>
                </c:pt>
                <c:pt idx="897">
                  <c:v>344.47685546017101</c:v>
                </c:pt>
                <c:pt idx="898">
                  <c:v>335.47400101085225</c:v>
                </c:pt>
                <c:pt idx="899">
                  <c:v>332.04910563577425</c:v>
                </c:pt>
                <c:pt idx="900">
                  <c:v>338.0419272466392</c:v>
                </c:pt>
                <c:pt idx="901">
                  <c:v>321.92758885821496</c:v>
                </c:pt>
                <c:pt idx="902">
                  <c:v>341.87741897981266</c:v>
                </c:pt>
                <c:pt idx="903">
                  <c:v>329.43653413269618</c:v>
                </c:pt>
                <c:pt idx="904">
                  <c:v>321.88418696458518</c:v>
                </c:pt>
                <c:pt idx="905">
                  <c:v>343.40574374636628</c:v>
                </c:pt>
                <c:pt idx="906">
                  <c:v>338.35101230291173</c:v>
                </c:pt>
                <c:pt idx="907">
                  <c:v>336.60477967644732</c:v>
                </c:pt>
                <c:pt idx="908">
                  <c:v>350.45662910826087</c:v>
                </c:pt>
                <c:pt idx="909">
                  <c:v>388.57534500021694</c:v>
                </c:pt>
                <c:pt idx="910">
                  <c:v>350.1300103285148</c:v>
                </c:pt>
                <c:pt idx="911">
                  <c:v>355.86872375669316</c:v>
                </c:pt>
                <c:pt idx="912">
                  <c:v>347.18452663730301</c:v>
                </c:pt>
                <c:pt idx="913">
                  <c:v>324.872804580793</c:v>
                </c:pt>
                <c:pt idx="914">
                  <c:v>344.13264322388773</c:v>
                </c:pt>
                <c:pt idx="915">
                  <c:v>388.63512426023487</c:v>
                </c:pt>
                <c:pt idx="916">
                  <c:v>364.65429758015131</c:v>
                </c:pt>
                <c:pt idx="917">
                  <c:v>337.1969911119624</c:v>
                </c:pt>
                <c:pt idx="918">
                  <c:v>375.83614279121832</c:v>
                </c:pt>
                <c:pt idx="919">
                  <c:v>372.76385295685139</c:v>
                </c:pt>
                <c:pt idx="920">
                  <c:v>386.26279474638642</c:v>
                </c:pt>
                <c:pt idx="921">
                  <c:v>383.47020826022185</c:v>
                </c:pt>
                <c:pt idx="922">
                  <c:v>395.31350404274093</c:v>
                </c:pt>
                <c:pt idx="923">
                  <c:v>382.78016141333438</c:v>
                </c:pt>
                <c:pt idx="924">
                  <c:v>363.29486843502366</c:v>
                </c:pt>
                <c:pt idx="925">
                  <c:v>387.85447030305392</c:v>
                </c:pt>
                <c:pt idx="926">
                  <c:v>342.10122164133918</c:v>
                </c:pt>
                <c:pt idx="927">
                  <c:v>334.15625323159622</c:v>
                </c:pt>
                <c:pt idx="928">
                  <c:v>355.39809062251749</c:v>
                </c:pt>
                <c:pt idx="929">
                  <c:v>373.07794162312831</c:v>
                </c:pt>
                <c:pt idx="930">
                  <c:v>378.32054080110612</c:v>
                </c:pt>
                <c:pt idx="931">
                  <c:v>379.92716063862702</c:v>
                </c:pt>
                <c:pt idx="932">
                  <c:v>375.61137370192915</c:v>
                </c:pt>
                <c:pt idx="933">
                  <c:v>365.73452070957808</c:v>
                </c:pt>
                <c:pt idx="934">
                  <c:v>371.34520338212457</c:v>
                </c:pt>
                <c:pt idx="935">
                  <c:v>360.46369428918837</c:v>
                </c:pt>
                <c:pt idx="936">
                  <c:v>359.28426418996156</c:v>
                </c:pt>
                <c:pt idx="937">
                  <c:v>369.37426809321857</c:v>
                </c:pt>
                <c:pt idx="938">
                  <c:v>379.61989940955516</c:v>
                </c:pt>
                <c:pt idx="939">
                  <c:v>350.48965411778568</c:v>
                </c:pt>
                <c:pt idx="940">
                  <c:v>343.88591863250383</c:v>
                </c:pt>
                <c:pt idx="941">
                  <c:v>351.85554753483802</c:v>
                </c:pt>
                <c:pt idx="942">
                  <c:v>351.9779736162385</c:v>
                </c:pt>
                <c:pt idx="943">
                  <c:v>351.32361807022045</c:v>
                </c:pt>
                <c:pt idx="944">
                  <c:v>349.58759615049098</c:v>
                </c:pt>
                <c:pt idx="945">
                  <c:v>352.2152227738278</c:v>
                </c:pt>
                <c:pt idx="946">
                  <c:v>355.42080101016847</c:v>
                </c:pt>
                <c:pt idx="947">
                  <c:v>348.45964235154224</c:v>
                </c:pt>
                <c:pt idx="948">
                  <c:v>352.82363904094461</c:v>
                </c:pt>
                <c:pt idx="949">
                  <c:v>356.96194369243318</c:v>
                </c:pt>
                <c:pt idx="950">
                  <c:v>360.16521046887294</c:v>
                </c:pt>
                <c:pt idx="951">
                  <c:v>363.05205518887129</c:v>
                </c:pt>
                <c:pt idx="952">
                  <c:v>351.77697572541371</c:v>
                </c:pt>
                <c:pt idx="953">
                  <c:v>356.44371540371628</c:v>
                </c:pt>
                <c:pt idx="954">
                  <c:v>376.44212995009701</c:v>
                </c:pt>
                <c:pt idx="955">
                  <c:v>440.61205791489834</c:v>
                </c:pt>
                <c:pt idx="956">
                  <c:v>2763.3934085195929</c:v>
                </c:pt>
                <c:pt idx="957">
                  <c:v>1943.1216145025317</c:v>
                </c:pt>
                <c:pt idx="958">
                  <c:v>376.38670821508555</c:v>
                </c:pt>
                <c:pt idx="959">
                  <c:v>358.23005005488625</c:v>
                </c:pt>
                <c:pt idx="960">
                  <c:v>352.8452965602242</c:v>
                </c:pt>
                <c:pt idx="961">
                  <c:v>244.92129502485756</c:v>
                </c:pt>
                <c:pt idx="962">
                  <c:v>310.97283294278424</c:v>
                </c:pt>
                <c:pt idx="963">
                  <c:v>372.79385028603195</c:v>
                </c:pt>
                <c:pt idx="964">
                  <c:v>128.79471751674561</c:v>
                </c:pt>
                <c:pt idx="965">
                  <c:v>162.79075721579147</c:v>
                </c:pt>
                <c:pt idx="966">
                  <c:v>301.96827114923872</c:v>
                </c:pt>
                <c:pt idx="967">
                  <c:v>346.22754102005507</c:v>
                </c:pt>
                <c:pt idx="968">
                  <c:v>351.31127662590535</c:v>
                </c:pt>
                <c:pt idx="969">
                  <c:v>361.13678616851604</c:v>
                </c:pt>
                <c:pt idx="970">
                  <c:v>341.64554390641695</c:v>
                </c:pt>
                <c:pt idx="971">
                  <c:v>352.14365222491466</c:v>
                </c:pt>
                <c:pt idx="972">
                  <c:v>347.91997694057045</c:v>
                </c:pt>
                <c:pt idx="973">
                  <c:v>343.69234672711383</c:v>
                </c:pt>
                <c:pt idx="974">
                  <c:v>356.19611394853536</c:v>
                </c:pt>
                <c:pt idx="975">
                  <c:v>356.03046554087814</c:v>
                </c:pt>
                <c:pt idx="976">
                  <c:v>349.48604607692522</c:v>
                </c:pt>
                <c:pt idx="977">
                  <c:v>354.00111113281963</c:v>
                </c:pt>
                <c:pt idx="978">
                  <c:v>355.59254597092661</c:v>
                </c:pt>
                <c:pt idx="979">
                  <c:v>353.05645431463353</c:v>
                </c:pt>
                <c:pt idx="980">
                  <c:v>354.26419856580753</c:v>
                </c:pt>
                <c:pt idx="981">
                  <c:v>346.14006659405044</c:v>
                </c:pt>
                <c:pt idx="982">
                  <c:v>355.49135569703191</c:v>
                </c:pt>
                <c:pt idx="983">
                  <c:v>350.16163085244881</c:v>
                </c:pt>
                <c:pt idx="984">
                  <c:v>359.03977197306796</c:v>
                </c:pt>
                <c:pt idx="985">
                  <c:v>356.42752448392122</c:v>
                </c:pt>
                <c:pt idx="986">
                  <c:v>366.69800966288329</c:v>
                </c:pt>
                <c:pt idx="987">
                  <c:v>355.90358460742959</c:v>
                </c:pt>
                <c:pt idx="988">
                  <c:v>343.78588178967493</c:v>
                </c:pt>
                <c:pt idx="989">
                  <c:v>344.87650857757762</c:v>
                </c:pt>
                <c:pt idx="990">
                  <c:v>338.02118692142255</c:v>
                </c:pt>
                <c:pt idx="991">
                  <c:v>336.44944308954769</c:v>
                </c:pt>
                <c:pt idx="992">
                  <c:v>357.3090993147124</c:v>
                </c:pt>
                <c:pt idx="993">
                  <c:v>356.82725895884454</c:v>
                </c:pt>
                <c:pt idx="994">
                  <c:v>389.53929782522073</c:v>
                </c:pt>
                <c:pt idx="995">
                  <c:v>362.05706161223543</c:v>
                </c:pt>
                <c:pt idx="996">
                  <c:v>363.19939058576011</c:v>
                </c:pt>
                <c:pt idx="997">
                  <c:v>418.49246917152232</c:v>
                </c:pt>
                <c:pt idx="998">
                  <c:v>579.88654140562517</c:v>
                </c:pt>
                <c:pt idx="999">
                  <c:v>408.39090609794096</c:v>
                </c:pt>
                <c:pt idx="1000">
                  <c:v>395.91856186275965</c:v>
                </c:pt>
                <c:pt idx="1001">
                  <c:v>406.06177457963202</c:v>
                </c:pt>
                <c:pt idx="1002">
                  <c:v>371.50648446047688</c:v>
                </c:pt>
                <c:pt idx="1003">
                  <c:v>386.68927275225911</c:v>
                </c:pt>
                <c:pt idx="1004">
                  <c:v>392.8095604131845</c:v>
                </c:pt>
                <c:pt idx="1005">
                  <c:v>397.09470814107095</c:v>
                </c:pt>
                <c:pt idx="1006">
                  <c:v>404.17708105340319</c:v>
                </c:pt>
                <c:pt idx="1007">
                  <c:v>389.00410310272315</c:v>
                </c:pt>
                <c:pt idx="1008">
                  <c:v>399.97229943609949</c:v>
                </c:pt>
                <c:pt idx="1009">
                  <c:v>386.6740746257247</c:v>
                </c:pt>
                <c:pt idx="1010">
                  <c:v>370.88855475904035</c:v>
                </c:pt>
                <c:pt idx="1011">
                  <c:v>371.73200232938609</c:v>
                </c:pt>
                <c:pt idx="1012">
                  <c:v>380.71223899228073</c:v>
                </c:pt>
                <c:pt idx="1013">
                  <c:v>368.72652712788295</c:v>
                </c:pt>
                <c:pt idx="1014">
                  <c:v>375.15175412999662</c:v>
                </c:pt>
                <c:pt idx="1015">
                  <c:v>374.98682877647389</c:v>
                </c:pt>
                <c:pt idx="1016">
                  <c:v>380.72017517740267</c:v>
                </c:pt>
                <c:pt idx="1017">
                  <c:v>388.24895638067801</c:v>
                </c:pt>
                <c:pt idx="1018">
                  <c:v>382.82369075155532</c:v>
                </c:pt>
                <c:pt idx="1019">
                  <c:v>370.14275570233576</c:v>
                </c:pt>
                <c:pt idx="1020">
                  <c:v>376.47923585305466</c:v>
                </c:pt>
                <c:pt idx="1021">
                  <c:v>373.27421823995314</c:v>
                </c:pt>
                <c:pt idx="1022">
                  <c:v>376.58450963450093</c:v>
                </c:pt>
                <c:pt idx="1023">
                  <c:v>412.18840980425892</c:v>
                </c:pt>
                <c:pt idx="1024">
                  <c:v>378.86862309330763</c:v>
                </c:pt>
                <c:pt idx="1025">
                  <c:v>382.92737658547549</c:v>
                </c:pt>
                <c:pt idx="1026">
                  <c:v>399.13132399200316</c:v>
                </c:pt>
                <c:pt idx="1027">
                  <c:v>428.23825592755139</c:v>
                </c:pt>
                <c:pt idx="1028">
                  <c:v>425.89418039149842</c:v>
                </c:pt>
                <c:pt idx="1029">
                  <c:v>420.2828371335483</c:v>
                </c:pt>
                <c:pt idx="1030">
                  <c:v>1012.1885904345506</c:v>
                </c:pt>
                <c:pt idx="1031">
                  <c:v>2066.9402517967851</c:v>
                </c:pt>
                <c:pt idx="1032">
                  <c:v>393.34602550433459</c:v>
                </c:pt>
                <c:pt idx="1033">
                  <c:v>381.34486501249671</c:v>
                </c:pt>
                <c:pt idx="1034">
                  <c:v>379.35311004996845</c:v>
                </c:pt>
                <c:pt idx="1035">
                  <c:v>377.32799569933582</c:v>
                </c:pt>
                <c:pt idx="1036">
                  <c:v>412.52344899977913</c:v>
                </c:pt>
                <c:pt idx="1037">
                  <c:v>97.103022774876848</c:v>
                </c:pt>
                <c:pt idx="1038">
                  <c:v>318.28830280732376</c:v>
                </c:pt>
                <c:pt idx="1039">
                  <c:v>355.9627986367654</c:v>
                </c:pt>
                <c:pt idx="1040">
                  <c:v>363.49041151698361</c:v>
                </c:pt>
                <c:pt idx="1041">
                  <c:v>378.83726375907577</c:v>
                </c:pt>
                <c:pt idx="1042">
                  <c:v>376.89919118056736</c:v>
                </c:pt>
                <c:pt idx="1043">
                  <c:v>435.10513934202373</c:v>
                </c:pt>
                <c:pt idx="1044">
                  <c:v>366.59586457333535</c:v>
                </c:pt>
                <c:pt idx="1045">
                  <c:v>350.88491323190073</c:v>
                </c:pt>
                <c:pt idx="1046">
                  <c:v>353.2005998460458</c:v>
                </c:pt>
                <c:pt idx="1047">
                  <c:v>346.16939284012938</c:v>
                </c:pt>
                <c:pt idx="1048">
                  <c:v>355.47859654051621</c:v>
                </c:pt>
                <c:pt idx="1049">
                  <c:v>350.5453142382745</c:v>
                </c:pt>
                <c:pt idx="1050">
                  <c:v>354.99775875671122</c:v>
                </c:pt>
                <c:pt idx="1051">
                  <c:v>352.66220244364018</c:v>
                </c:pt>
                <c:pt idx="1052">
                  <c:v>354.76488147665299</c:v>
                </c:pt>
                <c:pt idx="1053">
                  <c:v>366.20297261196868</c:v>
                </c:pt>
                <c:pt idx="1054">
                  <c:v>397.52370948413562</c:v>
                </c:pt>
                <c:pt idx="1055">
                  <c:v>402.07443167607602</c:v>
                </c:pt>
                <c:pt idx="1056">
                  <c:v>384.798056957212</c:v>
                </c:pt>
                <c:pt idx="1057">
                  <c:v>375.21345927146092</c:v>
                </c:pt>
                <c:pt idx="1058">
                  <c:v>382.01008438784203</c:v>
                </c:pt>
                <c:pt idx="1059">
                  <c:v>364.19599314250172</c:v>
                </c:pt>
                <c:pt idx="1060">
                  <c:v>367.10249868914008</c:v>
                </c:pt>
                <c:pt idx="1061">
                  <c:v>373.52565846435078</c:v>
                </c:pt>
                <c:pt idx="1062">
                  <c:v>384.54959665777363</c:v>
                </c:pt>
                <c:pt idx="1063">
                  <c:v>386.65601198664456</c:v>
                </c:pt>
                <c:pt idx="1064">
                  <c:v>388.14744034170906</c:v>
                </c:pt>
                <c:pt idx="1065">
                  <c:v>396.72111881460359</c:v>
                </c:pt>
                <c:pt idx="1066">
                  <c:v>395.61796246538154</c:v>
                </c:pt>
                <c:pt idx="1067">
                  <c:v>392.25190968507627</c:v>
                </c:pt>
                <c:pt idx="1068">
                  <c:v>380.61780463219799</c:v>
                </c:pt>
                <c:pt idx="1069">
                  <c:v>378.8031934147196</c:v>
                </c:pt>
                <c:pt idx="1070">
                  <c:v>386.01716204563655</c:v>
                </c:pt>
                <c:pt idx="1071">
                  <c:v>399.29231892089035</c:v>
                </c:pt>
                <c:pt idx="1072">
                  <c:v>376.33614256673707</c:v>
                </c:pt>
                <c:pt idx="1073">
                  <c:v>377.66883787492475</c:v>
                </c:pt>
                <c:pt idx="1074">
                  <c:v>361.03776822143891</c:v>
                </c:pt>
                <c:pt idx="1075">
                  <c:v>385.3535349764598</c:v>
                </c:pt>
                <c:pt idx="1076">
                  <c:v>419.37551076779204</c:v>
                </c:pt>
                <c:pt idx="1077">
                  <c:v>380.60974541204132</c:v>
                </c:pt>
                <c:pt idx="1078">
                  <c:v>382.39554406382285</c:v>
                </c:pt>
                <c:pt idx="1079">
                  <c:v>381.72020978941214</c:v>
                </c:pt>
                <c:pt idx="1080">
                  <c:v>380.71974388604031</c:v>
                </c:pt>
                <c:pt idx="1081">
                  <c:v>386.68504877342014</c:v>
                </c:pt>
                <c:pt idx="1082">
                  <c:v>376.08163923760532</c:v>
                </c:pt>
                <c:pt idx="1083">
                  <c:v>385.87334528493358</c:v>
                </c:pt>
                <c:pt idx="1084">
                  <c:v>486.23491824576092</c:v>
                </c:pt>
                <c:pt idx="1085">
                  <c:v>505.83533130697117</c:v>
                </c:pt>
                <c:pt idx="1086">
                  <c:v>411.2195252279671</c:v>
                </c:pt>
                <c:pt idx="1087">
                  <c:v>410.05553977571975</c:v>
                </c:pt>
                <c:pt idx="1088">
                  <c:v>390.22377336838724</c:v>
                </c:pt>
                <c:pt idx="1089">
                  <c:v>377.81275211523234</c:v>
                </c:pt>
                <c:pt idx="1090">
                  <c:v>372.4554183276685</c:v>
                </c:pt>
                <c:pt idx="1091">
                  <c:v>375.83639364357862</c:v>
                </c:pt>
                <c:pt idx="1092">
                  <c:v>373.51110036451553</c:v>
                </c:pt>
                <c:pt idx="1093">
                  <c:v>370.05385790814256</c:v>
                </c:pt>
                <c:pt idx="1094">
                  <c:v>375.37487276373452</c:v>
                </c:pt>
                <c:pt idx="1095">
                  <c:v>374.66614197773782</c:v>
                </c:pt>
              </c:numCache>
            </c:numRef>
          </c:xVal>
          <c:yVal>
            <c:numRef>
              <c:f>'Parameters ranges for ANN step1'!$AW$3:$AW$1131</c:f>
              <c:numCache>
                <c:formatCode>0.0000</c:formatCode>
                <c:ptCount val="1129"/>
                <c:pt idx="0">
                  <c:v>651.13081002894523</c:v>
                </c:pt>
                <c:pt idx="1">
                  <c:v>650.94665425079825</c:v>
                </c:pt>
                <c:pt idx="2">
                  <c:v>619.00755324179613</c:v>
                </c:pt>
                <c:pt idx="3">
                  <c:v>623.45703516178628</c:v>
                </c:pt>
                <c:pt idx="4">
                  <c:v>634.95266671420575</c:v>
                </c:pt>
                <c:pt idx="5">
                  <c:v>642.51898371690368</c:v>
                </c:pt>
                <c:pt idx="6">
                  <c:v>667.75034092122257</c:v>
                </c:pt>
                <c:pt idx="7">
                  <c:v>639.41716543601149</c:v>
                </c:pt>
                <c:pt idx="8">
                  <c:v>667.71774707511884</c:v>
                </c:pt>
                <c:pt idx="9">
                  <c:v>641.40040562474655</c:v>
                </c:pt>
                <c:pt idx="10">
                  <c:v>632.92741920641402</c:v>
                </c:pt>
                <c:pt idx="11">
                  <c:v>631.17583705295317</c:v>
                </c:pt>
                <c:pt idx="12">
                  <c:v>636.58654242827765</c:v>
                </c:pt>
                <c:pt idx="13">
                  <c:v>675.86721121503172</c:v>
                </c:pt>
                <c:pt idx="14">
                  <c:v>642.5420726836353</c:v>
                </c:pt>
                <c:pt idx="15">
                  <c:v>626.54936169236771</c:v>
                </c:pt>
                <c:pt idx="16">
                  <c:v>628.23656864340194</c:v>
                </c:pt>
                <c:pt idx="17">
                  <c:v>663.00701006051338</c:v>
                </c:pt>
                <c:pt idx="18">
                  <c:v>684.5596839355054</c:v>
                </c:pt>
                <c:pt idx="19">
                  <c:v>628.12145240323537</c:v>
                </c:pt>
                <c:pt idx="20">
                  <c:v>633.16058553924825</c:v>
                </c:pt>
                <c:pt idx="21">
                  <c:v>637.43355707088165</c:v>
                </c:pt>
                <c:pt idx="22">
                  <c:v>639.67492114477136</c:v>
                </c:pt>
                <c:pt idx="23">
                  <c:v>641.34102846382268</c:v>
                </c:pt>
                <c:pt idx="24">
                  <c:v>634.17171904416193</c:v>
                </c:pt>
                <c:pt idx="25">
                  <c:v>649.56195895128701</c:v>
                </c:pt>
                <c:pt idx="26">
                  <c:v>677.70531549797556</c:v>
                </c:pt>
                <c:pt idx="27">
                  <c:v>644.34209185706936</c:v>
                </c:pt>
                <c:pt idx="28">
                  <c:v>643.81239555251227</c:v>
                </c:pt>
                <c:pt idx="29">
                  <c:v>644.70658195110718</c:v>
                </c:pt>
                <c:pt idx="30">
                  <c:v>650.60028131688364</c:v>
                </c:pt>
                <c:pt idx="31">
                  <c:v>636.48730295791245</c:v>
                </c:pt>
                <c:pt idx="32">
                  <c:v>667.9569700443908</c:v>
                </c:pt>
                <c:pt idx="33">
                  <c:v>662.96969748815525</c:v>
                </c:pt>
                <c:pt idx="34">
                  <c:v>662.80271686483638</c:v>
                </c:pt>
                <c:pt idx="35">
                  <c:v>703.76653209409403</c:v>
                </c:pt>
                <c:pt idx="36">
                  <c:v>658.10427022905264</c:v>
                </c:pt>
                <c:pt idx="37">
                  <c:v>675.71098600685866</c:v>
                </c:pt>
                <c:pt idx="38">
                  <c:v>652.92507640237648</c:v>
                </c:pt>
                <c:pt idx="39">
                  <c:v>651.60438730308817</c:v>
                </c:pt>
                <c:pt idx="40">
                  <c:v>648.31445665551939</c:v>
                </c:pt>
                <c:pt idx="41">
                  <c:v>666.70332799780863</c:v>
                </c:pt>
                <c:pt idx="42">
                  <c:v>705.8502328139773</c:v>
                </c:pt>
                <c:pt idx="43">
                  <c:v>736.94228141389158</c:v>
                </c:pt>
                <c:pt idx="44">
                  <c:v>740.7476782508154</c:v>
                </c:pt>
                <c:pt idx="45">
                  <c:v>1116.1156829024385</c:v>
                </c:pt>
                <c:pt idx="46">
                  <c:v>831.99123434184389</c:v>
                </c:pt>
                <c:pt idx="47">
                  <c:v>748.42276704902656</c:v>
                </c:pt>
                <c:pt idx="48">
                  <c:v>701.37358937764861</c:v>
                </c:pt>
                <c:pt idx="49">
                  <c:v>650.13080227823923</c:v>
                </c:pt>
                <c:pt idx="50">
                  <c:v>716.3549903350247</c:v>
                </c:pt>
                <c:pt idx="51">
                  <c:v>658.40591341486311</c:v>
                </c:pt>
                <c:pt idx="52">
                  <c:v>648.85518754511236</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620.46536679776989</c:v>
                </c:pt>
                <c:pt idx="65">
                  <c:v>637.95605646373485</c:v>
                </c:pt>
                <c:pt idx="66">
                  <c:v>637.66071668053814</c:v>
                </c:pt>
                <c:pt idx="67">
                  <c:v>649.35064779921106</c:v>
                </c:pt>
                <c:pt idx="68">
                  <c:v>692.63946147009949</c:v>
                </c:pt>
                <c:pt idx="69">
                  <c:v>677.14711168578037</c:v>
                </c:pt>
                <c:pt idx="70">
                  <c:v>650.10461703244482</c:v>
                </c:pt>
                <c:pt idx="71">
                  <c:v>656.66457759248544</c:v>
                </c:pt>
                <c:pt idx="72">
                  <c:v>648.66295753038651</c:v>
                </c:pt>
                <c:pt idx="73">
                  <c:v>627.05675033785133</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629.93059061979716</c:v>
                </c:pt>
                <c:pt idx="88">
                  <c:v>627.3075280395384</c:v>
                </c:pt>
                <c:pt idx="89">
                  <c:v>635.82704622214044</c:v>
                </c:pt>
                <c:pt idx="90">
                  <c:v>629.92758465377642</c:v>
                </c:pt>
                <c:pt idx="91">
                  <c:v>637.49203076118818</c:v>
                </c:pt>
                <c:pt idx="92">
                  <c:v>636.34648418759139</c:v>
                </c:pt>
                <c:pt idx="93">
                  <c:v>629.07633582760309</c:v>
                </c:pt>
                <c:pt idx="94">
                  <c:v>644.70107130548524</c:v>
                </c:pt>
                <c:pt idx="95">
                  <c:v>641.75267803002316</c:v>
                </c:pt>
                <c:pt idx="96">
                  <c:v>633.42795933485024</c:v>
                </c:pt>
                <c:pt idx="97">
                  <c:v>636.66631036630122</c:v>
                </c:pt>
                <c:pt idx="98">
                  <c:v>624.68444112921736</c:v>
                </c:pt>
                <c:pt idx="99">
                  <c:v>652.87513228630928</c:v>
                </c:pt>
                <c:pt idx="100">
                  <c:v>675.78717228660855</c:v>
                </c:pt>
                <c:pt idx="101">
                  <c:v>643.16130040117207</c:v>
                </c:pt>
                <c:pt idx="102">
                  <c:v>640.52921795157772</c:v>
                </c:pt>
                <c:pt idx="103">
                  <c:v>638.39213832309463</c:v>
                </c:pt>
                <c:pt idx="104">
                  <c:v>658.7003367630208</c:v>
                </c:pt>
                <c:pt idx="105">
                  <c:v>668.30277528808642</c:v>
                </c:pt>
                <c:pt idx="106">
                  <c:v>660.28791552081827</c:v>
                </c:pt>
                <c:pt idx="107">
                  <c:v>646.30886074291379</c:v>
                </c:pt>
                <c:pt idx="108">
                  <c:v>646.2788998304427</c:v>
                </c:pt>
                <c:pt idx="109">
                  <c:v>662.90827024602549</c:v>
                </c:pt>
                <c:pt idx="110">
                  <c:v>642.85534871225502</c:v>
                </c:pt>
                <c:pt idx="111">
                  <c:v>643.20820078990801</c:v>
                </c:pt>
                <c:pt idx="112">
                  <c:v>666.30648367488959</c:v>
                </c:pt>
                <c:pt idx="113">
                  <c:v>708.3866724545926</c:v>
                </c:pt>
                <c:pt idx="114">
                  <c:v>672.29183854321457</c:v>
                </c:pt>
                <c:pt idx="115">
                  <c:v>647.29094192330751</c:v>
                </c:pt>
                <c:pt idx="116">
                  <c:v>652.94792159515259</c:v>
                </c:pt>
                <c:pt idx="117">
                  <c:v>693.14347601606937</c:v>
                </c:pt>
                <c:pt idx="118">
                  <c:v>654.84034167087282</c:v>
                </c:pt>
                <c:pt idx="119">
                  <c:v>670.57474724265387</c:v>
                </c:pt>
                <c:pt idx="120">
                  <c:v>639.94411039056479</c:v>
                </c:pt>
                <c:pt idx="121">
                  <c:v>668.84934202688135</c:v>
                </c:pt>
                <c:pt idx="122">
                  <c:v>683.50337488138064</c:v>
                </c:pt>
                <c:pt idx="123">
                  <c:v>700.45089977347573</c:v>
                </c:pt>
                <c:pt idx="124">
                  <c:v>691.96276571151634</c:v>
                </c:pt>
                <c:pt idx="125">
                  <c:v>666.90494792100401</c:v>
                </c:pt>
                <c:pt idx="126">
                  <c:v>656.86417471732477</c:v>
                </c:pt>
                <c:pt idx="127">
                  <c:v>641.37646961964447</c:v>
                </c:pt>
                <c:pt idx="128">
                  <c:v>639.24550278583104</c:v>
                </c:pt>
                <c:pt idx="129">
                  <c:v>644.41969145752273</c:v>
                </c:pt>
                <c:pt idx="130">
                  <c:v>647.10561551275146</c:v>
                </c:pt>
                <c:pt idx="131">
                  <c:v>658.86334385986254</c:v>
                </c:pt>
                <c:pt idx="132">
                  <c:v>665.32539921347961</c:v>
                </c:pt>
                <c:pt idx="133">
                  <c:v>665.24540993277083</c:v>
                </c:pt>
                <c:pt idx="134">
                  <c:v>690.25381490129962</c:v>
                </c:pt>
                <c:pt idx="135">
                  <c:v>687.36377857127013</c:v>
                </c:pt>
                <c:pt idx="136">
                  <c:v>659.513004423182</c:v>
                </c:pt>
                <c:pt idx="137">
                  <c:v>657.44721786946297</c:v>
                </c:pt>
                <c:pt idx="138">
                  <c:v>652.73968588320633</c:v>
                </c:pt>
                <c:pt idx="139">
                  <c:v>638.44938442567548</c:v>
                </c:pt>
                <c:pt idx="140">
                  <c:v>663.34223926869572</c:v>
                </c:pt>
                <c:pt idx="141">
                  <c:v>714.55735773282527</c:v>
                </c:pt>
                <c:pt idx="142">
                  <c:v>839.95188314072084</c:v>
                </c:pt>
                <c:pt idx="143">
                  <c:v>914.22038469286224</c:v>
                </c:pt>
                <c:pt idx="144">
                  <c:v>1492.1952981574664</c:v>
                </c:pt>
                <c:pt idx="145">
                  <c:v>7417.4918551058327</c:v>
                </c:pt>
                <c:pt idx="146">
                  <c:v>0</c:v>
                </c:pt>
                <c:pt idx="147">
                  <c:v>0</c:v>
                </c:pt>
                <c:pt idx="148">
                  <c:v>0</c:v>
                </c:pt>
                <c:pt idx="149">
                  <c:v>1201.5855366373034</c:v>
                </c:pt>
                <c:pt idx="150">
                  <c:v>761.15549762124806</c:v>
                </c:pt>
                <c:pt idx="151">
                  <c:v>658.09677072497129</c:v>
                </c:pt>
                <c:pt idx="152">
                  <c:v>625.8507361357066</c:v>
                </c:pt>
                <c:pt idx="153">
                  <c:v>620.91348022745103</c:v>
                </c:pt>
                <c:pt idx="154">
                  <c:v>621.98094252129295</c:v>
                </c:pt>
                <c:pt idx="155">
                  <c:v>629.4022711565334</c:v>
                </c:pt>
                <c:pt idx="156">
                  <c:v>631.49284042079364</c:v>
                </c:pt>
                <c:pt idx="157">
                  <c:v>628.49265299838987</c:v>
                </c:pt>
                <c:pt idx="158">
                  <c:v>642.77729609791527</c:v>
                </c:pt>
                <c:pt idx="159">
                  <c:v>639.9059560974955</c:v>
                </c:pt>
                <c:pt idx="160">
                  <c:v>644.35599011780562</c:v>
                </c:pt>
                <c:pt idx="161">
                  <c:v>658.94515287543913</c:v>
                </c:pt>
                <c:pt idx="162">
                  <c:v>672.07135681636339</c:v>
                </c:pt>
                <c:pt idx="163">
                  <c:v>633.24097076886426</c:v>
                </c:pt>
                <c:pt idx="164">
                  <c:v>625.56330938819804</c:v>
                </c:pt>
                <c:pt idx="165">
                  <c:v>627.92954147107798</c:v>
                </c:pt>
                <c:pt idx="166">
                  <c:v>643.06399690782121</c:v>
                </c:pt>
                <c:pt idx="167">
                  <c:v>640.8321753601407</c:v>
                </c:pt>
                <c:pt idx="168">
                  <c:v>644.25309043116056</c:v>
                </c:pt>
                <c:pt idx="169">
                  <c:v>633.92832474883471</c:v>
                </c:pt>
                <c:pt idx="170">
                  <c:v>650.00242322002714</c:v>
                </c:pt>
                <c:pt idx="171">
                  <c:v>667.65886520028812</c:v>
                </c:pt>
                <c:pt idx="172">
                  <c:v>653.53721119848581</c:v>
                </c:pt>
                <c:pt idx="173">
                  <c:v>661.23989835287239</c:v>
                </c:pt>
                <c:pt idx="174">
                  <c:v>661.61219635426369</c:v>
                </c:pt>
                <c:pt idx="175">
                  <c:v>654.57531708376007</c:v>
                </c:pt>
                <c:pt idx="176">
                  <c:v>689.45928083178103</c:v>
                </c:pt>
                <c:pt idx="177">
                  <c:v>699.0846576339452</c:v>
                </c:pt>
                <c:pt idx="178">
                  <c:v>659.69024944766431</c:v>
                </c:pt>
                <c:pt idx="179">
                  <c:v>677.29838090057251</c:v>
                </c:pt>
                <c:pt idx="180">
                  <c:v>649.59490598985644</c:v>
                </c:pt>
                <c:pt idx="181">
                  <c:v>631.73192746151005</c:v>
                </c:pt>
                <c:pt idx="182">
                  <c:v>649.62900111500642</c:v>
                </c:pt>
                <c:pt idx="183">
                  <c:v>640.03267202294808</c:v>
                </c:pt>
                <c:pt idx="184">
                  <c:v>647.3114016238892</c:v>
                </c:pt>
                <c:pt idx="185">
                  <c:v>646.23387094578425</c:v>
                </c:pt>
                <c:pt idx="186">
                  <c:v>651.98133014390078</c:v>
                </c:pt>
                <c:pt idx="187">
                  <c:v>650.01329950993306</c:v>
                </c:pt>
                <c:pt idx="188">
                  <c:v>648.15149420223804</c:v>
                </c:pt>
                <c:pt idx="189">
                  <c:v>646.32329267922501</c:v>
                </c:pt>
                <c:pt idx="190">
                  <c:v>646.41369334717183</c:v>
                </c:pt>
                <c:pt idx="191">
                  <c:v>649.912065659326</c:v>
                </c:pt>
                <c:pt idx="192">
                  <c:v>649.34051784989833</c:v>
                </c:pt>
                <c:pt idx="193">
                  <c:v>647.04547834760217</c:v>
                </c:pt>
                <c:pt idx="194">
                  <c:v>652.68980268213738</c:v>
                </c:pt>
                <c:pt idx="195">
                  <c:v>654.82799479460937</c:v>
                </c:pt>
                <c:pt idx="196">
                  <c:v>648.30804555933719</c:v>
                </c:pt>
                <c:pt idx="197">
                  <c:v>643.54144645452629</c:v>
                </c:pt>
                <c:pt idx="198">
                  <c:v>641.1678004767117</c:v>
                </c:pt>
                <c:pt idx="199">
                  <c:v>642.12035667315888</c:v>
                </c:pt>
                <c:pt idx="200">
                  <c:v>651.69839345557091</c:v>
                </c:pt>
                <c:pt idx="201">
                  <c:v>644.71559996365704</c:v>
                </c:pt>
                <c:pt idx="202">
                  <c:v>647.0831798200237</c:v>
                </c:pt>
                <c:pt idx="203">
                  <c:v>647.68392742089782</c:v>
                </c:pt>
                <c:pt idx="204">
                  <c:v>642.79352954013916</c:v>
                </c:pt>
                <c:pt idx="205">
                  <c:v>641.43268395580208</c:v>
                </c:pt>
                <c:pt idx="206">
                  <c:v>665.75128668257162</c:v>
                </c:pt>
                <c:pt idx="207">
                  <c:v>654.67408236940116</c:v>
                </c:pt>
                <c:pt idx="208">
                  <c:v>635.28484727909927</c:v>
                </c:pt>
                <c:pt idx="209">
                  <c:v>650.70071935349154</c:v>
                </c:pt>
                <c:pt idx="210">
                  <c:v>629.9100782307155</c:v>
                </c:pt>
                <c:pt idx="211">
                  <c:v>638.79581031304269</c:v>
                </c:pt>
                <c:pt idx="212">
                  <c:v>638.67435999506301</c:v>
                </c:pt>
                <c:pt idx="213">
                  <c:v>649.666823136895</c:v>
                </c:pt>
                <c:pt idx="214">
                  <c:v>673.14758875958773</c:v>
                </c:pt>
                <c:pt idx="215">
                  <c:v>648.28063368841629</c:v>
                </c:pt>
                <c:pt idx="216">
                  <c:v>634.12647014694437</c:v>
                </c:pt>
                <c:pt idx="217">
                  <c:v>644.26213216077667</c:v>
                </c:pt>
                <c:pt idx="218">
                  <c:v>639.3600872107138</c:v>
                </c:pt>
                <c:pt idx="219">
                  <c:v>721.05147392806282</c:v>
                </c:pt>
                <c:pt idx="220">
                  <c:v>633.72598175712051</c:v>
                </c:pt>
                <c:pt idx="221">
                  <c:v>637.58730964095184</c:v>
                </c:pt>
                <c:pt idx="222">
                  <c:v>632.55658276321071</c:v>
                </c:pt>
                <c:pt idx="223">
                  <c:v>638.26227262443217</c:v>
                </c:pt>
                <c:pt idx="224">
                  <c:v>624.06656731298597</c:v>
                </c:pt>
                <c:pt idx="225">
                  <c:v>614.13102617787297</c:v>
                </c:pt>
                <c:pt idx="226">
                  <c:v>649.63899390320887</c:v>
                </c:pt>
                <c:pt idx="227">
                  <c:v>627.16200197296189</c:v>
                </c:pt>
                <c:pt idx="228">
                  <c:v>635.20122503257801</c:v>
                </c:pt>
                <c:pt idx="229">
                  <c:v>632.57638442355221</c:v>
                </c:pt>
                <c:pt idx="230">
                  <c:v>660.44888295370913</c:v>
                </c:pt>
                <c:pt idx="231">
                  <c:v>637.11391931878643</c:v>
                </c:pt>
                <c:pt idx="232">
                  <c:v>645.48315775417598</c:v>
                </c:pt>
                <c:pt idx="233">
                  <c:v>651.45099997201635</c:v>
                </c:pt>
                <c:pt idx="234">
                  <c:v>637.98007100427583</c:v>
                </c:pt>
                <c:pt idx="235">
                  <c:v>651.63839647592886</c:v>
                </c:pt>
                <c:pt idx="236">
                  <c:v>646.99751717664446</c:v>
                </c:pt>
                <c:pt idx="237">
                  <c:v>645.00870901838493</c:v>
                </c:pt>
                <c:pt idx="238">
                  <c:v>648.48052782974082</c:v>
                </c:pt>
                <c:pt idx="239">
                  <c:v>646.35868550678606</c:v>
                </c:pt>
                <c:pt idx="240">
                  <c:v>692.93407250423627</c:v>
                </c:pt>
                <c:pt idx="241">
                  <c:v>696.46690251425287</c:v>
                </c:pt>
                <c:pt idx="242">
                  <c:v>701.53389344072957</c:v>
                </c:pt>
                <c:pt idx="243">
                  <c:v>690.43754669280611</c:v>
                </c:pt>
                <c:pt idx="244">
                  <c:v>689.72297826119518</c:v>
                </c:pt>
                <c:pt idx="245">
                  <c:v>790.49840665131762</c:v>
                </c:pt>
                <c:pt idx="246">
                  <c:v>920.71158132060611</c:v>
                </c:pt>
                <c:pt idx="247">
                  <c:v>909.5537449972137</c:v>
                </c:pt>
                <c:pt idx="248">
                  <c:v>884.20459584286709</c:v>
                </c:pt>
                <c:pt idx="249">
                  <c:v>828.74746167748685</c:v>
                </c:pt>
                <c:pt idx="250">
                  <c:v>844.37993073785958</c:v>
                </c:pt>
                <c:pt idx="251">
                  <c:v>739.36482951126709</c:v>
                </c:pt>
                <c:pt idx="252">
                  <c:v>693.57160466543928</c:v>
                </c:pt>
                <c:pt idx="253">
                  <c:v>732.11705116895553</c:v>
                </c:pt>
                <c:pt idx="254">
                  <c:v>730.72952411971369</c:v>
                </c:pt>
                <c:pt idx="255">
                  <c:v>780.39448621332917</c:v>
                </c:pt>
                <c:pt idx="256">
                  <c:v>665.8519571989043</c:v>
                </c:pt>
                <c:pt idx="257">
                  <c:v>642.12522197079863</c:v>
                </c:pt>
                <c:pt idx="258">
                  <c:v>678.86300858730192</c:v>
                </c:pt>
                <c:pt idx="259">
                  <c:v>894.88218592873875</c:v>
                </c:pt>
                <c:pt idx="260">
                  <c:v>856.42360465956926</c:v>
                </c:pt>
                <c:pt idx="261">
                  <c:v>710.32958248323314</c:v>
                </c:pt>
                <c:pt idx="262">
                  <c:v>707.59229574222491</c:v>
                </c:pt>
                <c:pt idx="263">
                  <c:v>739.63351675175613</c:v>
                </c:pt>
                <c:pt idx="264">
                  <c:v>697.85169806780482</c:v>
                </c:pt>
                <c:pt idx="265">
                  <c:v>654.64563310752862</c:v>
                </c:pt>
                <c:pt idx="266">
                  <c:v>672.86130055012677</c:v>
                </c:pt>
                <c:pt idx="267">
                  <c:v>709.75949176362849</c:v>
                </c:pt>
                <c:pt idx="268">
                  <c:v>634.90396163894798</c:v>
                </c:pt>
                <c:pt idx="269">
                  <c:v>653.52921877547874</c:v>
                </c:pt>
                <c:pt idx="270">
                  <c:v>660.92107774066199</c:v>
                </c:pt>
                <c:pt idx="271">
                  <c:v>675.44722315050694</c:v>
                </c:pt>
                <c:pt idx="272">
                  <c:v>649.2542952634567</c:v>
                </c:pt>
                <c:pt idx="273">
                  <c:v>637.37805795348049</c:v>
                </c:pt>
                <c:pt idx="274">
                  <c:v>650.49958806320308</c:v>
                </c:pt>
                <c:pt idx="275">
                  <c:v>663.48346621210658</c:v>
                </c:pt>
                <c:pt idx="276">
                  <c:v>651.23209109427535</c:v>
                </c:pt>
                <c:pt idx="277">
                  <c:v>659.66671311373625</c:v>
                </c:pt>
                <c:pt idx="278">
                  <c:v>686.97736317562533</c:v>
                </c:pt>
                <c:pt idx="279">
                  <c:v>650.13753060812439</c:v>
                </c:pt>
                <c:pt idx="280">
                  <c:v>630.05500784369497</c:v>
                </c:pt>
                <c:pt idx="281">
                  <c:v>640.1823016411098</c:v>
                </c:pt>
                <c:pt idx="282">
                  <c:v>633.44658651945213</c:v>
                </c:pt>
                <c:pt idx="283">
                  <c:v>631.93600543589571</c:v>
                </c:pt>
                <c:pt idx="284">
                  <c:v>630.54867615316925</c:v>
                </c:pt>
                <c:pt idx="285">
                  <c:v>637.66387559303519</c:v>
                </c:pt>
                <c:pt idx="286">
                  <c:v>634.68354931299461</c:v>
                </c:pt>
                <c:pt idx="287">
                  <c:v>642.05518742555648</c:v>
                </c:pt>
                <c:pt idx="288">
                  <c:v>651.94390601452233</c:v>
                </c:pt>
                <c:pt idx="289">
                  <c:v>651.25928601394389</c:v>
                </c:pt>
                <c:pt idx="290">
                  <c:v>650.91610376053757</c:v>
                </c:pt>
                <c:pt idx="291">
                  <c:v>697.72303476133857</c:v>
                </c:pt>
                <c:pt idx="292">
                  <c:v>668.77103159935609</c:v>
                </c:pt>
                <c:pt idx="293">
                  <c:v>660.83855405537327</c:v>
                </c:pt>
                <c:pt idx="294">
                  <c:v>654.06881596209178</c:v>
                </c:pt>
                <c:pt idx="295">
                  <c:v>662.87162720261063</c:v>
                </c:pt>
                <c:pt idx="296">
                  <c:v>661.58360805851703</c:v>
                </c:pt>
                <c:pt idx="297">
                  <c:v>674.08173457444968</c:v>
                </c:pt>
                <c:pt idx="298">
                  <c:v>646.21537255496685</c:v>
                </c:pt>
                <c:pt idx="299">
                  <c:v>679.46005238493603</c:v>
                </c:pt>
                <c:pt idx="300">
                  <c:v>686.68625635698299</c:v>
                </c:pt>
                <c:pt idx="301">
                  <c:v>671.90600282687103</c:v>
                </c:pt>
                <c:pt idx="302">
                  <c:v>651.09255572886593</c:v>
                </c:pt>
                <c:pt idx="303">
                  <c:v>638.94559044865628</c:v>
                </c:pt>
                <c:pt idx="304">
                  <c:v>653.43749693382244</c:v>
                </c:pt>
                <c:pt idx="305">
                  <c:v>637.9118555061234</c:v>
                </c:pt>
                <c:pt idx="306">
                  <c:v>643.4777086872391</c:v>
                </c:pt>
                <c:pt idx="307">
                  <c:v>645.76304378820157</c:v>
                </c:pt>
                <c:pt idx="308">
                  <c:v>654.40119748705774</c:v>
                </c:pt>
                <c:pt idx="309">
                  <c:v>654.77676309733454</c:v>
                </c:pt>
                <c:pt idx="310">
                  <c:v>642.8578604705076</c:v>
                </c:pt>
                <c:pt idx="311">
                  <c:v>642.3971267990986</c:v>
                </c:pt>
                <c:pt idx="312">
                  <c:v>653.62723110420688</c:v>
                </c:pt>
                <c:pt idx="313">
                  <c:v>657.42888173333972</c:v>
                </c:pt>
                <c:pt idx="314">
                  <c:v>662.62434489856082</c:v>
                </c:pt>
                <c:pt idx="315">
                  <c:v>647.86094946601554</c:v>
                </c:pt>
                <c:pt idx="316">
                  <c:v>660.67891018098726</c:v>
                </c:pt>
                <c:pt idx="317">
                  <c:v>663.62202378115069</c:v>
                </c:pt>
                <c:pt idx="318">
                  <c:v>648.94076166140792</c:v>
                </c:pt>
                <c:pt idx="319">
                  <c:v>641.09228554261074</c:v>
                </c:pt>
                <c:pt idx="320">
                  <c:v>649.35116115196911</c:v>
                </c:pt>
                <c:pt idx="321">
                  <c:v>647.83433090734013</c:v>
                </c:pt>
                <c:pt idx="322">
                  <c:v>648.16040409691993</c:v>
                </c:pt>
                <c:pt idx="323">
                  <c:v>652.04562267486119</c:v>
                </c:pt>
                <c:pt idx="324">
                  <c:v>642.23907522674801</c:v>
                </c:pt>
                <c:pt idx="325">
                  <c:v>639.79995763166949</c:v>
                </c:pt>
                <c:pt idx="326">
                  <c:v>631.68646672105285</c:v>
                </c:pt>
                <c:pt idx="327">
                  <c:v>634.88958530944876</c:v>
                </c:pt>
                <c:pt idx="328">
                  <c:v>631.23088829103472</c:v>
                </c:pt>
                <c:pt idx="329">
                  <c:v>639.73738142978937</c:v>
                </c:pt>
                <c:pt idx="330">
                  <c:v>640.52566472499814</c:v>
                </c:pt>
                <c:pt idx="331">
                  <c:v>648.04876896061944</c:v>
                </c:pt>
                <c:pt idx="332">
                  <c:v>647.84593781998171</c:v>
                </c:pt>
                <c:pt idx="333">
                  <c:v>642.23773343597225</c:v>
                </c:pt>
                <c:pt idx="334">
                  <c:v>758.60433332250057</c:v>
                </c:pt>
                <c:pt idx="335">
                  <c:v>737.99426839161424</c:v>
                </c:pt>
                <c:pt idx="336">
                  <c:v>652.21612085092931</c:v>
                </c:pt>
                <c:pt idx="337">
                  <c:v>638.41484854960163</c:v>
                </c:pt>
                <c:pt idx="338">
                  <c:v>637.1935148217184</c:v>
                </c:pt>
                <c:pt idx="339">
                  <c:v>630.80148743363998</c:v>
                </c:pt>
                <c:pt idx="340">
                  <c:v>628.93795840116934</c:v>
                </c:pt>
                <c:pt idx="341">
                  <c:v>622.96613787876993</c:v>
                </c:pt>
                <c:pt idx="342">
                  <c:v>627.8534464427363</c:v>
                </c:pt>
                <c:pt idx="343">
                  <c:v>632.87787083109356</c:v>
                </c:pt>
                <c:pt idx="344">
                  <c:v>635.45316328963463</c:v>
                </c:pt>
                <c:pt idx="345">
                  <c:v>640.09069639160259</c:v>
                </c:pt>
                <c:pt idx="346">
                  <c:v>635.29097467074905</c:v>
                </c:pt>
                <c:pt idx="347">
                  <c:v>629.35782472002927</c:v>
                </c:pt>
                <c:pt idx="348">
                  <c:v>636.36251211400042</c:v>
                </c:pt>
                <c:pt idx="349">
                  <c:v>633.76743870825987</c:v>
                </c:pt>
                <c:pt idx="350">
                  <c:v>636.2192778361773</c:v>
                </c:pt>
                <c:pt idx="351">
                  <c:v>624.10549869746603</c:v>
                </c:pt>
                <c:pt idx="352">
                  <c:v>635.48321089705041</c:v>
                </c:pt>
                <c:pt idx="353">
                  <c:v>638.97656144089524</c:v>
                </c:pt>
                <c:pt idx="354">
                  <c:v>638.28598536885238</c:v>
                </c:pt>
                <c:pt idx="355">
                  <c:v>636.51997506898556</c:v>
                </c:pt>
                <c:pt idx="356">
                  <c:v>684.91108754387938</c:v>
                </c:pt>
                <c:pt idx="357">
                  <c:v>654.98633490139321</c:v>
                </c:pt>
                <c:pt idx="358">
                  <c:v>631.27703745600638</c:v>
                </c:pt>
                <c:pt idx="359">
                  <c:v>636.3794482059152</c:v>
                </c:pt>
                <c:pt idx="360">
                  <c:v>630.67098085061366</c:v>
                </c:pt>
                <c:pt idx="361">
                  <c:v>632.0262541061312</c:v>
                </c:pt>
                <c:pt idx="362">
                  <c:v>634.11540602889374</c:v>
                </c:pt>
                <c:pt idx="363">
                  <c:v>724.87365059427179</c:v>
                </c:pt>
                <c:pt idx="364">
                  <c:v>913.71948615034228</c:v>
                </c:pt>
                <c:pt idx="365">
                  <c:v>864.71845565776198</c:v>
                </c:pt>
                <c:pt idx="366">
                  <c:v>629.66804582324562</c:v>
                </c:pt>
                <c:pt idx="367">
                  <c:v>634.95603487613687</c:v>
                </c:pt>
                <c:pt idx="368">
                  <c:v>623.46981229834751</c:v>
                </c:pt>
                <c:pt idx="369">
                  <c:v>621.33664391589241</c:v>
                </c:pt>
                <c:pt idx="370">
                  <c:v>615.71458413329594</c:v>
                </c:pt>
                <c:pt idx="371">
                  <c:v>619.43048479649326</c:v>
                </c:pt>
                <c:pt idx="372">
                  <c:v>615.44704542249042</c:v>
                </c:pt>
                <c:pt idx="373">
                  <c:v>623.88792738248037</c:v>
                </c:pt>
                <c:pt idx="374">
                  <c:v>625.22645971420252</c:v>
                </c:pt>
                <c:pt idx="375">
                  <c:v>644.75992140093285</c:v>
                </c:pt>
                <c:pt idx="376">
                  <c:v>633.51967836344761</c:v>
                </c:pt>
                <c:pt idx="377">
                  <c:v>629.66715142273097</c:v>
                </c:pt>
                <c:pt idx="378">
                  <c:v>627.22374046018467</c:v>
                </c:pt>
                <c:pt idx="379">
                  <c:v>628.87946698833719</c:v>
                </c:pt>
                <c:pt idx="380">
                  <c:v>620.56528983339467</c:v>
                </c:pt>
                <c:pt idx="381">
                  <c:v>613.30341178206311</c:v>
                </c:pt>
                <c:pt idx="382">
                  <c:v>622.44936034198122</c:v>
                </c:pt>
                <c:pt idx="383">
                  <c:v>631.28637547682399</c:v>
                </c:pt>
                <c:pt idx="384">
                  <c:v>630.98815182576629</c:v>
                </c:pt>
                <c:pt idx="385">
                  <c:v>625.25343946860903</c:v>
                </c:pt>
                <c:pt idx="386">
                  <c:v>626.12283369193017</c:v>
                </c:pt>
                <c:pt idx="387">
                  <c:v>629.41914564058879</c:v>
                </c:pt>
                <c:pt idx="388">
                  <c:v>629.76154134682884</c:v>
                </c:pt>
                <c:pt idx="389">
                  <c:v>629.62344284960909</c:v>
                </c:pt>
                <c:pt idx="390">
                  <c:v>625.56086499627042</c:v>
                </c:pt>
                <c:pt idx="391">
                  <c:v>618.97012634947521</c:v>
                </c:pt>
                <c:pt idx="392">
                  <c:v>624.39864918374155</c:v>
                </c:pt>
                <c:pt idx="393">
                  <c:v>620.96702390766382</c:v>
                </c:pt>
                <c:pt idx="394">
                  <c:v>622.25713973862105</c:v>
                </c:pt>
                <c:pt idx="395">
                  <c:v>625.65220365520543</c:v>
                </c:pt>
                <c:pt idx="396">
                  <c:v>633.81876553241318</c:v>
                </c:pt>
                <c:pt idx="397">
                  <c:v>623.91967569890301</c:v>
                </c:pt>
                <c:pt idx="398">
                  <c:v>632.89539565713312</c:v>
                </c:pt>
                <c:pt idx="399">
                  <c:v>626.85254372412044</c:v>
                </c:pt>
                <c:pt idx="400">
                  <c:v>637.31725434998111</c:v>
                </c:pt>
                <c:pt idx="401">
                  <c:v>631.42855829197072</c:v>
                </c:pt>
                <c:pt idx="402">
                  <c:v>640.01782818390438</c:v>
                </c:pt>
                <c:pt idx="403">
                  <c:v>639.72186494881589</c:v>
                </c:pt>
                <c:pt idx="404">
                  <c:v>640.35035192703356</c:v>
                </c:pt>
                <c:pt idx="405">
                  <c:v>644.26299509916464</c:v>
                </c:pt>
                <c:pt idx="406">
                  <c:v>629.7130779596647</c:v>
                </c:pt>
                <c:pt idx="407">
                  <c:v>630.68386707896343</c:v>
                </c:pt>
                <c:pt idx="408">
                  <c:v>644.71324015192999</c:v>
                </c:pt>
                <c:pt idx="409">
                  <c:v>630.13869025875545</c:v>
                </c:pt>
                <c:pt idx="410">
                  <c:v>634.32598491970941</c:v>
                </c:pt>
                <c:pt idx="411">
                  <c:v>625.79326343549053</c:v>
                </c:pt>
                <c:pt idx="412">
                  <c:v>635.52166971464624</c:v>
                </c:pt>
                <c:pt idx="413">
                  <c:v>629.8666552551033</c:v>
                </c:pt>
                <c:pt idx="414">
                  <c:v>630.10523901702209</c:v>
                </c:pt>
                <c:pt idx="415">
                  <c:v>641.11908514445508</c:v>
                </c:pt>
                <c:pt idx="416">
                  <c:v>647.08528468696716</c:v>
                </c:pt>
                <c:pt idx="417">
                  <c:v>635.30229618832038</c:v>
                </c:pt>
                <c:pt idx="418">
                  <c:v>623.74226691483523</c:v>
                </c:pt>
                <c:pt idx="419">
                  <c:v>639.07449011698611</c:v>
                </c:pt>
                <c:pt idx="420">
                  <c:v>639.13774764667789</c:v>
                </c:pt>
                <c:pt idx="421">
                  <c:v>639.30643784022129</c:v>
                </c:pt>
                <c:pt idx="422">
                  <c:v>648.93419387121128</c:v>
                </c:pt>
                <c:pt idx="423">
                  <c:v>644.14886673118485</c:v>
                </c:pt>
                <c:pt idx="424">
                  <c:v>637.57735125851252</c:v>
                </c:pt>
                <c:pt idx="425">
                  <c:v>648.2421424759026</c:v>
                </c:pt>
                <c:pt idx="426">
                  <c:v>634.85750762244356</c:v>
                </c:pt>
                <c:pt idx="427">
                  <c:v>626.99112111756074</c:v>
                </c:pt>
                <c:pt idx="428">
                  <c:v>627.20425403413731</c:v>
                </c:pt>
                <c:pt idx="429">
                  <c:v>639.2509079190271</c:v>
                </c:pt>
                <c:pt idx="430">
                  <c:v>636.1118570065903</c:v>
                </c:pt>
                <c:pt idx="431">
                  <c:v>636.05922984179222</c:v>
                </c:pt>
                <c:pt idx="432">
                  <c:v>625.0791642671154</c:v>
                </c:pt>
                <c:pt idx="433">
                  <c:v>636.43918097927656</c:v>
                </c:pt>
                <c:pt idx="434">
                  <c:v>636.78134088189984</c:v>
                </c:pt>
                <c:pt idx="435">
                  <c:v>632.29542974655374</c:v>
                </c:pt>
                <c:pt idx="436">
                  <c:v>637.42184141481289</c:v>
                </c:pt>
                <c:pt idx="437">
                  <c:v>641.98076796774137</c:v>
                </c:pt>
                <c:pt idx="438">
                  <c:v>644.10266201930426</c:v>
                </c:pt>
                <c:pt idx="439">
                  <c:v>649.67080824742357</c:v>
                </c:pt>
                <c:pt idx="440">
                  <c:v>635.36684747289303</c:v>
                </c:pt>
                <c:pt idx="441">
                  <c:v>656.52542998010654</c:v>
                </c:pt>
                <c:pt idx="442">
                  <c:v>633.99731513093218</c:v>
                </c:pt>
                <c:pt idx="443">
                  <c:v>637.96877342886319</c:v>
                </c:pt>
                <c:pt idx="444">
                  <c:v>633.78148842810822</c:v>
                </c:pt>
                <c:pt idx="445">
                  <c:v>627.03228712613009</c:v>
                </c:pt>
                <c:pt idx="446">
                  <c:v>630.60152536028465</c:v>
                </c:pt>
                <c:pt idx="447">
                  <c:v>637.93431492649802</c:v>
                </c:pt>
                <c:pt idx="448">
                  <c:v>644.09634538249611</c:v>
                </c:pt>
                <c:pt idx="449">
                  <c:v>650.05982399999345</c:v>
                </c:pt>
                <c:pt idx="450">
                  <c:v>636.00092932297343</c:v>
                </c:pt>
                <c:pt idx="451">
                  <c:v>633.18405623098852</c:v>
                </c:pt>
                <c:pt idx="452">
                  <c:v>624.38028232392571</c:v>
                </c:pt>
                <c:pt idx="453">
                  <c:v>638.96672281974918</c:v>
                </c:pt>
                <c:pt idx="454">
                  <c:v>634.54371453939882</c:v>
                </c:pt>
                <c:pt idx="455">
                  <c:v>621.95676500198908</c:v>
                </c:pt>
                <c:pt idx="456">
                  <c:v>633.3190515031597</c:v>
                </c:pt>
                <c:pt idx="457">
                  <c:v>654.02845751153063</c:v>
                </c:pt>
                <c:pt idx="458">
                  <c:v>632.86187791438726</c:v>
                </c:pt>
                <c:pt idx="459">
                  <c:v>640.36998554495835</c:v>
                </c:pt>
                <c:pt idx="460">
                  <c:v>629.36472018872087</c:v>
                </c:pt>
                <c:pt idx="461">
                  <c:v>634.80695922346604</c:v>
                </c:pt>
                <c:pt idx="462">
                  <c:v>625.93219091766309</c:v>
                </c:pt>
                <c:pt idx="463">
                  <c:v>618.66181885323647</c:v>
                </c:pt>
                <c:pt idx="464">
                  <c:v>625.82901119111796</c:v>
                </c:pt>
                <c:pt idx="465">
                  <c:v>624.25302378489368</c:v>
                </c:pt>
                <c:pt idx="466">
                  <c:v>639.55706581944537</c:v>
                </c:pt>
                <c:pt idx="467">
                  <c:v>811.06651274502428</c:v>
                </c:pt>
                <c:pt idx="468">
                  <c:v>1056.4586067330986</c:v>
                </c:pt>
                <c:pt idx="469">
                  <c:v>639.8031674767866</c:v>
                </c:pt>
                <c:pt idx="470">
                  <c:v>636.72102210454091</c:v>
                </c:pt>
                <c:pt idx="471">
                  <c:v>629.62149056647843</c:v>
                </c:pt>
                <c:pt idx="472">
                  <c:v>637.30905859707207</c:v>
                </c:pt>
                <c:pt idx="473">
                  <c:v>636.01776953777437</c:v>
                </c:pt>
                <c:pt idx="474">
                  <c:v>634.5252496001109</c:v>
                </c:pt>
                <c:pt idx="475">
                  <c:v>642.66510897280716</c:v>
                </c:pt>
                <c:pt idx="476">
                  <c:v>641.41598858932298</c:v>
                </c:pt>
                <c:pt idx="477">
                  <c:v>645.5409021594171</c:v>
                </c:pt>
                <c:pt idx="478">
                  <c:v>632.60065102204021</c:v>
                </c:pt>
                <c:pt idx="479">
                  <c:v>637.14836092507937</c:v>
                </c:pt>
                <c:pt idx="480">
                  <c:v>650.45653008403974</c:v>
                </c:pt>
                <c:pt idx="481">
                  <c:v>659.20219267320499</c:v>
                </c:pt>
                <c:pt idx="482">
                  <c:v>660.40421137183637</c:v>
                </c:pt>
                <c:pt idx="483">
                  <c:v>663.43157585821768</c:v>
                </c:pt>
                <c:pt idx="484">
                  <c:v>649.78070173977744</c:v>
                </c:pt>
                <c:pt idx="485">
                  <c:v>653.34828512685453</c:v>
                </c:pt>
                <c:pt idx="486">
                  <c:v>633.23395185151571</c:v>
                </c:pt>
                <c:pt idx="487">
                  <c:v>648.5117247049393</c:v>
                </c:pt>
                <c:pt idx="488">
                  <c:v>642.20504802840026</c:v>
                </c:pt>
                <c:pt idx="489">
                  <c:v>643.87883949443949</c:v>
                </c:pt>
                <c:pt idx="490">
                  <c:v>640.99439206672605</c:v>
                </c:pt>
                <c:pt idx="491">
                  <c:v>634.75320108826577</c:v>
                </c:pt>
                <c:pt idx="492">
                  <c:v>679.2506902197498</c:v>
                </c:pt>
                <c:pt idx="493">
                  <c:v>886.31798964149368</c:v>
                </c:pt>
                <c:pt idx="494">
                  <c:v>976.71009101406605</c:v>
                </c:pt>
                <c:pt idx="495">
                  <c:v>1172.2222409006183</c:v>
                </c:pt>
                <c:pt idx="496">
                  <c:v>1207.0167680667305</c:v>
                </c:pt>
                <c:pt idx="497">
                  <c:v>0</c:v>
                </c:pt>
                <c:pt idx="498">
                  <c:v>0</c:v>
                </c:pt>
                <c:pt idx="499">
                  <c:v>636.67173709633448</c:v>
                </c:pt>
                <c:pt idx="500">
                  <c:v>630.16637942907334</c:v>
                </c:pt>
                <c:pt idx="501">
                  <c:v>634.8194973051518</c:v>
                </c:pt>
                <c:pt idx="502">
                  <c:v>638.46316060639754</c:v>
                </c:pt>
                <c:pt idx="503">
                  <c:v>628.58210875461305</c:v>
                </c:pt>
                <c:pt idx="504">
                  <c:v>646.68964272716141</c:v>
                </c:pt>
                <c:pt idx="505">
                  <c:v>625.80620579895617</c:v>
                </c:pt>
                <c:pt idx="506">
                  <c:v>811.64736025875709</c:v>
                </c:pt>
                <c:pt idx="507">
                  <c:v>640.67036302370536</c:v>
                </c:pt>
                <c:pt idx="508">
                  <c:v>647.24839390503303</c:v>
                </c:pt>
                <c:pt idx="509">
                  <c:v>624.9969083359299</c:v>
                </c:pt>
                <c:pt idx="510">
                  <c:v>621.5031425990137</c:v>
                </c:pt>
                <c:pt idx="511">
                  <c:v>631.93551449459119</c:v>
                </c:pt>
                <c:pt idx="512">
                  <c:v>642.30140410802426</c:v>
                </c:pt>
                <c:pt idx="513">
                  <c:v>633.11978984538598</c:v>
                </c:pt>
                <c:pt idx="514">
                  <c:v>634.36246053600473</c:v>
                </c:pt>
                <c:pt idx="515">
                  <c:v>636.16453656020462</c:v>
                </c:pt>
                <c:pt idx="516">
                  <c:v>629.66534517558728</c:v>
                </c:pt>
                <c:pt idx="517">
                  <c:v>629.67438631324183</c:v>
                </c:pt>
                <c:pt idx="518">
                  <c:v>636.40028169372545</c:v>
                </c:pt>
                <c:pt idx="519">
                  <c:v>628.84501609077108</c:v>
                </c:pt>
                <c:pt idx="520">
                  <c:v>631.46973421976816</c:v>
                </c:pt>
                <c:pt idx="521">
                  <c:v>621.95528386126739</c:v>
                </c:pt>
                <c:pt idx="522">
                  <c:v>630.55023538486125</c:v>
                </c:pt>
                <c:pt idx="523">
                  <c:v>631.72597603892461</c:v>
                </c:pt>
                <c:pt idx="524">
                  <c:v>638.59697565680881</c:v>
                </c:pt>
                <c:pt idx="525">
                  <c:v>640.64738441383736</c:v>
                </c:pt>
                <c:pt idx="526">
                  <c:v>642.13488956652247</c:v>
                </c:pt>
                <c:pt idx="527">
                  <c:v>666.55614432146911</c:v>
                </c:pt>
                <c:pt idx="528">
                  <c:v>648.20942333807079</c:v>
                </c:pt>
                <c:pt idx="529">
                  <c:v>654.57038138379005</c:v>
                </c:pt>
                <c:pt idx="530">
                  <c:v>651.11854680355725</c:v>
                </c:pt>
                <c:pt idx="531">
                  <c:v>653.65269461077844</c:v>
                </c:pt>
                <c:pt idx="532">
                  <c:v>652.00627861736143</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715.19738206676607</c:v>
                </c:pt>
                <c:pt idx="543">
                  <c:v>684.94197442265147</c:v>
                </c:pt>
                <c:pt idx="544">
                  <c:v>711.83071298596531</c:v>
                </c:pt>
                <c:pt idx="545">
                  <c:v>657.30067741039602</c:v>
                </c:pt>
                <c:pt idx="546">
                  <c:v>653.48691283906373</c:v>
                </c:pt>
                <c:pt idx="547">
                  <c:v>652.39814030438038</c:v>
                </c:pt>
                <c:pt idx="548">
                  <c:v>634.53641684726324</c:v>
                </c:pt>
                <c:pt idx="549">
                  <c:v>648.73937517374884</c:v>
                </c:pt>
                <c:pt idx="550">
                  <c:v>639.62956482822676</c:v>
                </c:pt>
                <c:pt idx="551">
                  <c:v>625.05971230816817</c:v>
                </c:pt>
                <c:pt idx="552">
                  <c:v>634.77795136327927</c:v>
                </c:pt>
                <c:pt idx="553">
                  <c:v>637.90655233063126</c:v>
                </c:pt>
                <c:pt idx="554">
                  <c:v>631.66149188505153</c:v>
                </c:pt>
                <c:pt idx="555">
                  <c:v>647.1636677566737</c:v>
                </c:pt>
                <c:pt idx="556">
                  <c:v>642.7266379350948</c:v>
                </c:pt>
                <c:pt idx="557">
                  <c:v>638.70523348421113</c:v>
                </c:pt>
                <c:pt idx="558">
                  <c:v>632.37210997868124</c:v>
                </c:pt>
                <c:pt idx="559">
                  <c:v>629.0121989569268</c:v>
                </c:pt>
                <c:pt idx="560">
                  <c:v>638.43878377892122</c:v>
                </c:pt>
                <c:pt idx="561">
                  <c:v>638.9857825073932</c:v>
                </c:pt>
                <c:pt idx="562">
                  <c:v>655.27959087979309</c:v>
                </c:pt>
                <c:pt idx="563">
                  <c:v>630.56425913940893</c:v>
                </c:pt>
                <c:pt idx="564">
                  <c:v>664.62545748874152</c:v>
                </c:pt>
                <c:pt idx="565">
                  <c:v>648.94571962144391</c:v>
                </c:pt>
                <c:pt idx="566">
                  <c:v>629.61200173568579</c:v>
                </c:pt>
                <c:pt idx="567">
                  <c:v>640.55148170921723</c:v>
                </c:pt>
                <c:pt idx="568">
                  <c:v>691.27126521618561</c:v>
                </c:pt>
                <c:pt idx="569">
                  <c:v>682.45562231920803</c:v>
                </c:pt>
                <c:pt idx="570">
                  <c:v>853.12366935921239</c:v>
                </c:pt>
                <c:pt idx="571">
                  <c:v>723.19199540603734</c:v>
                </c:pt>
                <c:pt idx="572">
                  <c:v>734.50637193673799</c:v>
                </c:pt>
                <c:pt idx="573">
                  <c:v>673.64153684308042</c:v>
                </c:pt>
                <c:pt idx="574">
                  <c:v>657.02606251614566</c:v>
                </c:pt>
                <c:pt idx="575">
                  <c:v>629.03948343204104</c:v>
                </c:pt>
                <c:pt idx="576">
                  <c:v>643.20019842889906</c:v>
                </c:pt>
                <c:pt idx="577">
                  <c:v>645.43385463452387</c:v>
                </c:pt>
                <c:pt idx="578">
                  <c:v>626.79242968996266</c:v>
                </c:pt>
                <c:pt idx="579">
                  <c:v>644.38502376147562</c:v>
                </c:pt>
                <c:pt idx="580">
                  <c:v>665.47573030739704</c:v>
                </c:pt>
                <c:pt idx="581">
                  <c:v>682.89127914114738</c:v>
                </c:pt>
                <c:pt idx="582">
                  <c:v>635.90134324196458</c:v>
                </c:pt>
                <c:pt idx="583">
                  <c:v>627.05780071593495</c:v>
                </c:pt>
                <c:pt idx="584">
                  <c:v>650.44489738411289</c:v>
                </c:pt>
                <c:pt idx="585">
                  <c:v>664.70646335381844</c:v>
                </c:pt>
                <c:pt idx="586">
                  <c:v>692.23329803394154</c:v>
                </c:pt>
                <c:pt idx="587">
                  <c:v>655.5326863874551</c:v>
                </c:pt>
                <c:pt idx="588">
                  <c:v>647.26622980838329</c:v>
                </c:pt>
                <c:pt idx="589">
                  <c:v>651.73587746264025</c:v>
                </c:pt>
                <c:pt idx="590">
                  <c:v>653.49968021509369</c:v>
                </c:pt>
                <c:pt idx="591">
                  <c:v>652.01387799941165</c:v>
                </c:pt>
                <c:pt idx="592">
                  <c:v>651.88078916170946</c:v>
                </c:pt>
                <c:pt idx="593">
                  <c:v>648.32267610962333</c:v>
                </c:pt>
                <c:pt idx="594">
                  <c:v>628.45633789635724</c:v>
                </c:pt>
                <c:pt idx="595">
                  <c:v>636.9054104068739</c:v>
                </c:pt>
                <c:pt idx="596">
                  <c:v>637.56867056480598</c:v>
                </c:pt>
                <c:pt idx="597">
                  <c:v>640.49374131020716</c:v>
                </c:pt>
                <c:pt idx="598">
                  <c:v>643.8745642295612</c:v>
                </c:pt>
                <c:pt idx="599">
                  <c:v>654.40600826896809</c:v>
                </c:pt>
                <c:pt idx="600">
                  <c:v>664.48761283362262</c:v>
                </c:pt>
                <c:pt idx="601">
                  <c:v>680.59277192306638</c:v>
                </c:pt>
                <c:pt idx="602">
                  <c:v>644.59449497063508</c:v>
                </c:pt>
                <c:pt idx="603">
                  <c:v>662.70028527149373</c:v>
                </c:pt>
                <c:pt idx="604">
                  <c:v>655.96421653234472</c:v>
                </c:pt>
                <c:pt idx="605">
                  <c:v>630.66381435215226</c:v>
                </c:pt>
                <c:pt idx="606">
                  <c:v>633.68355672693235</c:v>
                </c:pt>
                <c:pt idx="607">
                  <c:v>716.70270660108872</c:v>
                </c:pt>
                <c:pt idx="608">
                  <c:v>639.78039349163134</c:v>
                </c:pt>
                <c:pt idx="609">
                  <c:v>640.24386883970681</c:v>
                </c:pt>
                <c:pt idx="610">
                  <c:v>667.69981806174212</c:v>
                </c:pt>
                <c:pt idx="611">
                  <c:v>644.04057027964495</c:v>
                </c:pt>
                <c:pt idx="612">
                  <c:v>644.65626328836743</c:v>
                </c:pt>
                <c:pt idx="613">
                  <c:v>637.87536833300942</c:v>
                </c:pt>
                <c:pt idx="614">
                  <c:v>629.96558164830901</c:v>
                </c:pt>
                <c:pt idx="615">
                  <c:v>645.95479927898043</c:v>
                </c:pt>
                <c:pt idx="616">
                  <c:v>653.77036805692035</c:v>
                </c:pt>
                <c:pt idx="617">
                  <c:v>666.91584782465225</c:v>
                </c:pt>
                <c:pt idx="618">
                  <c:v>635.53980104452455</c:v>
                </c:pt>
                <c:pt idx="619">
                  <c:v>639.88500851262472</c:v>
                </c:pt>
                <c:pt idx="620">
                  <c:v>634.42276950581311</c:v>
                </c:pt>
                <c:pt idx="621">
                  <c:v>683.0887265384157</c:v>
                </c:pt>
                <c:pt idx="622">
                  <c:v>652.32652083968685</c:v>
                </c:pt>
                <c:pt idx="623">
                  <c:v>690.39637797786497</c:v>
                </c:pt>
                <c:pt idx="624">
                  <c:v>685.98244520258595</c:v>
                </c:pt>
                <c:pt idx="625">
                  <c:v>754.4142716719499</c:v>
                </c:pt>
                <c:pt idx="626">
                  <c:v>786.71512737342323</c:v>
                </c:pt>
                <c:pt idx="627">
                  <c:v>798.77778844915792</c:v>
                </c:pt>
                <c:pt idx="628">
                  <c:v>810.32217828775697</c:v>
                </c:pt>
                <c:pt idx="629">
                  <c:v>704.67901363892008</c:v>
                </c:pt>
                <c:pt idx="630">
                  <c:v>661.89458027743319</c:v>
                </c:pt>
                <c:pt idx="631">
                  <c:v>654.86592375433668</c:v>
                </c:pt>
                <c:pt idx="632">
                  <c:v>637.46438210177723</c:v>
                </c:pt>
                <c:pt idx="633">
                  <c:v>640.42760693668049</c:v>
                </c:pt>
                <c:pt idx="634">
                  <c:v>627.52732744551281</c:v>
                </c:pt>
                <c:pt idx="635">
                  <c:v>643.63120700815102</c:v>
                </c:pt>
                <c:pt idx="636">
                  <c:v>652.69655705155549</c:v>
                </c:pt>
                <c:pt idx="637">
                  <c:v>646.16171593250226</c:v>
                </c:pt>
                <c:pt idx="638">
                  <c:v>665.18550997315447</c:v>
                </c:pt>
                <c:pt idx="639">
                  <c:v>758.74730170434611</c:v>
                </c:pt>
                <c:pt idx="640">
                  <c:v>822.44831436652532</c:v>
                </c:pt>
                <c:pt idx="641">
                  <c:v>1261.0911769349004</c:v>
                </c:pt>
                <c:pt idx="642">
                  <c:v>0</c:v>
                </c:pt>
                <c:pt idx="643">
                  <c:v>828.08171567042245</c:v>
                </c:pt>
                <c:pt idx="644">
                  <c:v>707.58788258168443</c:v>
                </c:pt>
                <c:pt idx="645">
                  <c:v>687.61878066923077</c:v>
                </c:pt>
                <c:pt idx="646">
                  <c:v>687.91637222826239</c:v>
                </c:pt>
                <c:pt idx="647">
                  <c:v>683.43988500072032</c:v>
                </c:pt>
                <c:pt idx="648">
                  <c:v>689.03529414439129</c:v>
                </c:pt>
                <c:pt idx="649">
                  <c:v>657.71217533382037</c:v>
                </c:pt>
                <c:pt idx="650">
                  <c:v>676.2278958381354</c:v>
                </c:pt>
                <c:pt idx="651">
                  <c:v>652.95804292859066</c:v>
                </c:pt>
                <c:pt idx="652">
                  <c:v>652.61129464931571</c:v>
                </c:pt>
                <c:pt idx="653">
                  <c:v>642.46657746610867</c:v>
                </c:pt>
                <c:pt idx="654">
                  <c:v>639.5261080886047</c:v>
                </c:pt>
                <c:pt idx="655">
                  <c:v>746.27092881457975</c:v>
                </c:pt>
                <c:pt idx="656">
                  <c:v>652.74883608855976</c:v>
                </c:pt>
                <c:pt idx="657">
                  <c:v>653.93188881424862</c:v>
                </c:pt>
                <c:pt idx="658">
                  <c:v>641.57764335932359</c:v>
                </c:pt>
                <c:pt idx="659">
                  <c:v>667.07103711908883</c:v>
                </c:pt>
                <c:pt idx="660">
                  <c:v>635.74087443314033</c:v>
                </c:pt>
                <c:pt idx="661">
                  <c:v>659.33677284052976</c:v>
                </c:pt>
                <c:pt idx="662">
                  <c:v>628.71288680353143</c:v>
                </c:pt>
                <c:pt idx="663">
                  <c:v>632.1854901677325</c:v>
                </c:pt>
                <c:pt idx="664">
                  <c:v>632.85537156823489</c:v>
                </c:pt>
                <c:pt idx="665">
                  <c:v>626.83406989959269</c:v>
                </c:pt>
                <c:pt idx="666">
                  <c:v>650.83463480543901</c:v>
                </c:pt>
                <c:pt idx="667">
                  <c:v>646.53783166891128</c:v>
                </c:pt>
                <c:pt idx="668">
                  <c:v>646.06434369842884</c:v>
                </c:pt>
                <c:pt idx="669">
                  <c:v>674.86017720906659</c:v>
                </c:pt>
                <c:pt idx="670">
                  <c:v>615.378454243904</c:v>
                </c:pt>
                <c:pt idx="671">
                  <c:v>645.24024064891</c:v>
                </c:pt>
                <c:pt idx="672">
                  <c:v>637.00165996054886</c:v>
                </c:pt>
                <c:pt idx="673">
                  <c:v>632.13083239462105</c:v>
                </c:pt>
                <c:pt idx="674">
                  <c:v>643.15535693603499</c:v>
                </c:pt>
                <c:pt idx="675">
                  <c:v>635.17226950327392</c:v>
                </c:pt>
                <c:pt idx="676">
                  <c:v>639.38234749970252</c:v>
                </c:pt>
                <c:pt idx="677">
                  <c:v>643.62360948252751</c:v>
                </c:pt>
                <c:pt idx="678">
                  <c:v>631.25056168909407</c:v>
                </c:pt>
                <c:pt idx="679">
                  <c:v>660.32153586101674</c:v>
                </c:pt>
                <c:pt idx="680">
                  <c:v>642.87386193673615</c:v>
                </c:pt>
                <c:pt idx="681">
                  <c:v>659.46217633788228</c:v>
                </c:pt>
                <c:pt idx="682">
                  <c:v>664.78260188824743</c:v>
                </c:pt>
                <c:pt idx="683">
                  <c:v>636.79362423364853</c:v>
                </c:pt>
                <c:pt idx="684">
                  <c:v>697.83425344730927</c:v>
                </c:pt>
                <c:pt idx="685">
                  <c:v>633.9185207340031</c:v>
                </c:pt>
                <c:pt idx="686">
                  <c:v>649.56197137716708</c:v>
                </c:pt>
                <c:pt idx="687">
                  <c:v>646.17537546842823</c:v>
                </c:pt>
                <c:pt idx="688">
                  <c:v>639.80171917145992</c:v>
                </c:pt>
                <c:pt idx="689">
                  <c:v>644.76660597211662</c:v>
                </c:pt>
                <c:pt idx="690">
                  <c:v>642.74171767962059</c:v>
                </c:pt>
                <c:pt idx="691">
                  <c:v>630.40804200047296</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678.92415934889027</c:v>
                </c:pt>
                <c:pt idx="702">
                  <c:v>685.44461053521695</c:v>
                </c:pt>
                <c:pt idx="703">
                  <c:v>632.87204071018755</c:v>
                </c:pt>
                <c:pt idx="704">
                  <c:v>630.36064908934804</c:v>
                </c:pt>
                <c:pt idx="705">
                  <c:v>632.53681181989737</c:v>
                </c:pt>
                <c:pt idx="706">
                  <c:v>656.9535815132291</c:v>
                </c:pt>
                <c:pt idx="707">
                  <c:v>632.75963376253651</c:v>
                </c:pt>
                <c:pt idx="708">
                  <c:v>674.33414222274143</c:v>
                </c:pt>
                <c:pt idx="709">
                  <c:v>658.54245025634214</c:v>
                </c:pt>
                <c:pt idx="710">
                  <c:v>633.52211723669348</c:v>
                </c:pt>
                <c:pt idx="711">
                  <c:v>629.41094012343524</c:v>
                </c:pt>
                <c:pt idx="712">
                  <c:v>674.70396199879735</c:v>
                </c:pt>
                <c:pt idx="713">
                  <c:v>637.83806397165404</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714.99700373816177</c:v>
                </c:pt>
                <c:pt idx="725">
                  <c:v>1407.1171469188741</c:v>
                </c:pt>
                <c:pt idx="726">
                  <c:v>789.81962907060586</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637.11554618622438</c:v>
                </c:pt>
                <c:pt idx="741">
                  <c:v>644.09618135351695</c:v>
                </c:pt>
                <c:pt idx="742">
                  <c:v>664.55859232434705</c:v>
                </c:pt>
                <c:pt idx="743">
                  <c:v>638.78623097214984</c:v>
                </c:pt>
                <c:pt idx="744">
                  <c:v>637.91635051527282</c:v>
                </c:pt>
                <c:pt idx="745">
                  <c:v>629.07726686565707</c:v>
                </c:pt>
                <c:pt idx="746">
                  <c:v>627.60017331832705</c:v>
                </c:pt>
                <c:pt idx="747">
                  <c:v>633.52661390066532</c:v>
                </c:pt>
                <c:pt idx="748">
                  <c:v>637.30498583286135</c:v>
                </c:pt>
                <c:pt idx="749">
                  <c:v>640.8326027475299</c:v>
                </c:pt>
                <c:pt idx="750">
                  <c:v>634.75507736959719</c:v>
                </c:pt>
                <c:pt idx="751">
                  <c:v>644.90692215740944</c:v>
                </c:pt>
                <c:pt idx="752">
                  <c:v>626.56294852875567</c:v>
                </c:pt>
                <c:pt idx="753">
                  <c:v>649.59976845573681</c:v>
                </c:pt>
                <c:pt idx="754">
                  <c:v>641.92660180983216</c:v>
                </c:pt>
                <c:pt idx="755">
                  <c:v>632.40378758685881</c:v>
                </c:pt>
                <c:pt idx="756">
                  <c:v>633.15806171959935</c:v>
                </c:pt>
                <c:pt idx="757">
                  <c:v>633.23916301913505</c:v>
                </c:pt>
                <c:pt idx="758">
                  <c:v>642.76752739835626</c:v>
                </c:pt>
                <c:pt idx="759">
                  <c:v>641.35203080732265</c:v>
                </c:pt>
                <c:pt idx="760">
                  <c:v>637.0670833037542</c:v>
                </c:pt>
                <c:pt idx="761">
                  <c:v>649.20079124058782</c:v>
                </c:pt>
                <c:pt idx="762">
                  <c:v>650.89478215273903</c:v>
                </c:pt>
                <c:pt idx="763">
                  <c:v>637.55085108761727</c:v>
                </c:pt>
                <c:pt idx="764">
                  <c:v>636.0472283113811</c:v>
                </c:pt>
                <c:pt idx="765">
                  <c:v>661.91899521242351</c:v>
                </c:pt>
                <c:pt idx="766">
                  <c:v>640.05334315086589</c:v>
                </c:pt>
                <c:pt idx="767">
                  <c:v>648.57836981689127</c:v>
                </c:pt>
                <c:pt idx="768">
                  <c:v>633.46189341775266</c:v>
                </c:pt>
                <c:pt idx="769">
                  <c:v>639.9572665444249</c:v>
                </c:pt>
                <c:pt idx="770">
                  <c:v>652.32243761158145</c:v>
                </c:pt>
                <c:pt idx="771">
                  <c:v>640.71228158006807</c:v>
                </c:pt>
                <c:pt idx="772">
                  <c:v>633.96653945446849</c:v>
                </c:pt>
                <c:pt idx="773">
                  <c:v>631.51910317311638</c:v>
                </c:pt>
                <c:pt idx="774">
                  <c:v>630.22492326091901</c:v>
                </c:pt>
                <c:pt idx="775">
                  <c:v>631.64135588637896</c:v>
                </c:pt>
                <c:pt idx="776">
                  <c:v>626.24771362622153</c:v>
                </c:pt>
                <c:pt idx="777">
                  <c:v>629.94602275710508</c:v>
                </c:pt>
                <c:pt idx="778">
                  <c:v>626.6170917158621</c:v>
                </c:pt>
                <c:pt idx="779">
                  <c:v>619.93647953954508</c:v>
                </c:pt>
                <c:pt idx="780">
                  <c:v>623.91210442550664</c:v>
                </c:pt>
                <c:pt idx="781">
                  <c:v>629.22599380603822</c:v>
                </c:pt>
                <c:pt idx="782">
                  <c:v>628.58207907890255</c:v>
                </c:pt>
                <c:pt idx="783">
                  <c:v>627.52909012794726</c:v>
                </c:pt>
                <c:pt idx="784">
                  <c:v>641.83396379368219</c:v>
                </c:pt>
                <c:pt idx="785">
                  <c:v>647.50361843161897</c:v>
                </c:pt>
                <c:pt idx="786">
                  <c:v>639.28406887679864</c:v>
                </c:pt>
                <c:pt idx="787">
                  <c:v>640.04710414509532</c:v>
                </c:pt>
                <c:pt idx="788">
                  <c:v>706.82497069657563</c:v>
                </c:pt>
                <c:pt idx="789">
                  <c:v>798.30276925732244</c:v>
                </c:pt>
                <c:pt idx="790">
                  <c:v>640.50894701974141</c:v>
                </c:pt>
                <c:pt idx="791">
                  <c:v>632.76387503777153</c:v>
                </c:pt>
                <c:pt idx="792">
                  <c:v>637.87225450862275</c:v>
                </c:pt>
                <c:pt idx="793">
                  <c:v>640.93878889844882</c:v>
                </c:pt>
                <c:pt idx="794">
                  <c:v>634.46495761747678</c:v>
                </c:pt>
                <c:pt idx="795">
                  <c:v>634.33201904400096</c:v>
                </c:pt>
                <c:pt idx="796">
                  <c:v>640.42715706307672</c:v>
                </c:pt>
                <c:pt idx="797">
                  <c:v>641.2392574711414</c:v>
                </c:pt>
                <c:pt idx="798">
                  <c:v>638.17704961752395</c:v>
                </c:pt>
                <c:pt idx="799">
                  <c:v>639.19858405013201</c:v>
                </c:pt>
                <c:pt idx="800">
                  <c:v>650.61243704255287</c:v>
                </c:pt>
                <c:pt idx="801">
                  <c:v>634.35072150399651</c:v>
                </c:pt>
                <c:pt idx="802">
                  <c:v>655.1571853611614</c:v>
                </c:pt>
                <c:pt idx="803">
                  <c:v>663.34935973990048</c:v>
                </c:pt>
                <c:pt idx="804">
                  <c:v>647.38288500374404</c:v>
                </c:pt>
                <c:pt idx="805">
                  <c:v>668.11962963015776</c:v>
                </c:pt>
                <c:pt idx="806">
                  <c:v>662.26512743975945</c:v>
                </c:pt>
                <c:pt idx="807">
                  <c:v>638.9766776243066</c:v>
                </c:pt>
                <c:pt idx="808">
                  <c:v>647.68675407770081</c:v>
                </c:pt>
                <c:pt idx="809">
                  <c:v>653.82020576024161</c:v>
                </c:pt>
                <c:pt idx="810">
                  <c:v>663.94747595966953</c:v>
                </c:pt>
                <c:pt idx="811">
                  <c:v>651.85924305144761</c:v>
                </c:pt>
                <c:pt idx="812">
                  <c:v>660.68811362821975</c:v>
                </c:pt>
                <c:pt idx="813">
                  <c:v>667.47444106969897</c:v>
                </c:pt>
                <c:pt idx="814">
                  <c:v>662.21799281269364</c:v>
                </c:pt>
                <c:pt idx="815">
                  <c:v>660.91035336689538</c:v>
                </c:pt>
                <c:pt idx="816">
                  <c:v>657.03389587002323</c:v>
                </c:pt>
                <c:pt idx="817">
                  <c:v>640.22966553447156</c:v>
                </c:pt>
                <c:pt idx="818">
                  <c:v>641.15820834645228</c:v>
                </c:pt>
                <c:pt idx="819">
                  <c:v>644.70313790466639</c:v>
                </c:pt>
                <c:pt idx="820">
                  <c:v>649.7899913481009</c:v>
                </c:pt>
                <c:pt idx="821">
                  <c:v>652.32347530221546</c:v>
                </c:pt>
                <c:pt idx="822">
                  <c:v>648.14359057076035</c:v>
                </c:pt>
                <c:pt idx="823">
                  <c:v>661.65742065662505</c:v>
                </c:pt>
                <c:pt idx="824">
                  <c:v>663.36219812708487</c:v>
                </c:pt>
                <c:pt idx="825">
                  <c:v>687.43641453236569</c:v>
                </c:pt>
                <c:pt idx="826">
                  <c:v>676.14639830032525</c:v>
                </c:pt>
                <c:pt idx="827">
                  <c:v>677.24067651511461</c:v>
                </c:pt>
                <c:pt idx="828">
                  <c:v>684.23107132562984</c:v>
                </c:pt>
                <c:pt idx="829">
                  <c:v>695.9036411082875</c:v>
                </c:pt>
                <c:pt idx="830">
                  <c:v>712.41839348711392</c:v>
                </c:pt>
                <c:pt idx="831">
                  <c:v>722.80544153716573</c:v>
                </c:pt>
                <c:pt idx="832">
                  <c:v>675.79624293306347</c:v>
                </c:pt>
                <c:pt idx="833">
                  <c:v>704.19406563304312</c:v>
                </c:pt>
                <c:pt idx="834">
                  <c:v>692.88494269571356</c:v>
                </c:pt>
                <c:pt idx="835">
                  <c:v>652.47017190657925</c:v>
                </c:pt>
                <c:pt idx="836">
                  <c:v>653.24066994164696</c:v>
                </c:pt>
                <c:pt idx="837">
                  <c:v>638.35951454757117</c:v>
                </c:pt>
                <c:pt idx="838">
                  <c:v>636.52970060829841</c:v>
                </c:pt>
                <c:pt idx="839">
                  <c:v>642.35186499816723</c:v>
                </c:pt>
                <c:pt idx="840">
                  <c:v>640.80903568210488</c:v>
                </c:pt>
                <c:pt idx="841">
                  <c:v>640.74202272080936</c:v>
                </c:pt>
                <c:pt idx="842">
                  <c:v>638.28861540083949</c:v>
                </c:pt>
                <c:pt idx="843">
                  <c:v>640.07843042212721</c:v>
                </c:pt>
                <c:pt idx="844">
                  <c:v>648.41900268586051</c:v>
                </c:pt>
                <c:pt idx="845">
                  <c:v>642.40758041924812</c:v>
                </c:pt>
                <c:pt idx="846">
                  <c:v>683.49594052483565</c:v>
                </c:pt>
                <c:pt idx="847">
                  <c:v>646.41601050813244</c:v>
                </c:pt>
                <c:pt idx="848">
                  <c:v>632.60267153116251</c:v>
                </c:pt>
                <c:pt idx="849">
                  <c:v>662.5597716938604</c:v>
                </c:pt>
                <c:pt idx="850">
                  <c:v>651.49905138007557</c:v>
                </c:pt>
                <c:pt idx="851">
                  <c:v>639.03388934515363</c:v>
                </c:pt>
                <c:pt idx="852">
                  <c:v>679.80039446293188</c:v>
                </c:pt>
                <c:pt idx="853">
                  <c:v>651.15126658836596</c:v>
                </c:pt>
                <c:pt idx="854">
                  <c:v>659.26962894880717</c:v>
                </c:pt>
                <c:pt idx="855">
                  <c:v>652.87264254806792</c:v>
                </c:pt>
                <c:pt idx="856">
                  <c:v>668.82570345983095</c:v>
                </c:pt>
                <c:pt idx="857">
                  <c:v>663.48324506057736</c:v>
                </c:pt>
                <c:pt idx="858">
                  <c:v>676.91870961852646</c:v>
                </c:pt>
                <c:pt idx="859">
                  <c:v>697.14815620719105</c:v>
                </c:pt>
                <c:pt idx="860">
                  <c:v>795.49700755971332</c:v>
                </c:pt>
                <c:pt idx="861">
                  <c:v>951.64677820772454</c:v>
                </c:pt>
                <c:pt idx="862">
                  <c:v>708.08826153880545</c:v>
                </c:pt>
                <c:pt idx="863">
                  <c:v>643.36972153481713</c:v>
                </c:pt>
                <c:pt idx="864">
                  <c:v>788.35302082532996</c:v>
                </c:pt>
                <c:pt idx="865">
                  <c:v>851.58014342334798</c:v>
                </c:pt>
                <c:pt idx="866">
                  <c:v>640.97322491908483</c:v>
                </c:pt>
                <c:pt idx="867">
                  <c:v>665.5867391355464</c:v>
                </c:pt>
                <c:pt idx="868">
                  <c:v>678.70892626918055</c:v>
                </c:pt>
                <c:pt idx="869">
                  <c:v>681.9943299704837</c:v>
                </c:pt>
                <c:pt idx="870">
                  <c:v>639.88680341011536</c:v>
                </c:pt>
                <c:pt idx="871">
                  <c:v>652.63492640939296</c:v>
                </c:pt>
                <c:pt idx="872">
                  <c:v>636.93163104145992</c:v>
                </c:pt>
                <c:pt idx="873">
                  <c:v>639.67264394910853</c:v>
                </c:pt>
                <c:pt idx="874">
                  <c:v>642.82365219148312</c:v>
                </c:pt>
                <c:pt idx="875">
                  <c:v>640.6522742048935</c:v>
                </c:pt>
                <c:pt idx="876">
                  <c:v>634.83117880253064</c:v>
                </c:pt>
                <c:pt idx="877">
                  <c:v>634.89808629845152</c:v>
                </c:pt>
                <c:pt idx="878">
                  <c:v>638.03421356656736</c:v>
                </c:pt>
                <c:pt idx="879">
                  <c:v>644.36455388421291</c:v>
                </c:pt>
                <c:pt idx="880">
                  <c:v>640.35742867554461</c:v>
                </c:pt>
                <c:pt idx="881">
                  <c:v>647.94318184973167</c:v>
                </c:pt>
                <c:pt idx="882">
                  <c:v>654.62650857940969</c:v>
                </c:pt>
                <c:pt idx="883">
                  <c:v>642.37465353393475</c:v>
                </c:pt>
                <c:pt idx="884">
                  <c:v>657.0305237188029</c:v>
                </c:pt>
                <c:pt idx="885">
                  <c:v>658.15562353221071</c:v>
                </c:pt>
                <c:pt idx="886">
                  <c:v>680.59943883835444</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637.22519873190174</c:v>
                </c:pt>
                <c:pt idx="896">
                  <c:v>637.12534468456147</c:v>
                </c:pt>
                <c:pt idx="897">
                  <c:v>638.60042120820833</c:v>
                </c:pt>
                <c:pt idx="898">
                  <c:v>641.04513380119181</c:v>
                </c:pt>
                <c:pt idx="899">
                  <c:v>642.24709945326902</c:v>
                </c:pt>
                <c:pt idx="900">
                  <c:v>655.32163037108512</c:v>
                </c:pt>
                <c:pt idx="901">
                  <c:v>665.94152868946026</c:v>
                </c:pt>
                <c:pt idx="902">
                  <c:v>660.98226762149625</c:v>
                </c:pt>
                <c:pt idx="903">
                  <c:v>647.35909855173145</c:v>
                </c:pt>
                <c:pt idx="904">
                  <c:v>646.70127137956831</c:v>
                </c:pt>
                <c:pt idx="905">
                  <c:v>656.28081566491073</c:v>
                </c:pt>
                <c:pt idx="906">
                  <c:v>651.0110639060706</c:v>
                </c:pt>
                <c:pt idx="907">
                  <c:v>653.66965168848128</c:v>
                </c:pt>
                <c:pt idx="908">
                  <c:v>650.37917418411359</c:v>
                </c:pt>
                <c:pt idx="909">
                  <c:v>719.16232284233308</c:v>
                </c:pt>
                <c:pt idx="910">
                  <c:v>639.75639250783922</c:v>
                </c:pt>
                <c:pt idx="911">
                  <c:v>642.43208487476124</c:v>
                </c:pt>
                <c:pt idx="912">
                  <c:v>640.04971043356852</c:v>
                </c:pt>
                <c:pt idx="913">
                  <c:v>637.31246919792954</c:v>
                </c:pt>
                <c:pt idx="914">
                  <c:v>645.26175639572477</c:v>
                </c:pt>
                <c:pt idx="915">
                  <c:v>640.45529753422477</c:v>
                </c:pt>
                <c:pt idx="916">
                  <c:v>644.73429660558827</c:v>
                </c:pt>
                <c:pt idx="917">
                  <c:v>642.25514651862477</c:v>
                </c:pt>
                <c:pt idx="918">
                  <c:v>651.79032553374736</c:v>
                </c:pt>
                <c:pt idx="919">
                  <c:v>678.78008320479785</c:v>
                </c:pt>
                <c:pt idx="920">
                  <c:v>663.90585030285922</c:v>
                </c:pt>
                <c:pt idx="921">
                  <c:v>643.36456665758476</c:v>
                </c:pt>
                <c:pt idx="922">
                  <c:v>695.35907229696579</c:v>
                </c:pt>
                <c:pt idx="923">
                  <c:v>698.3625570274437</c:v>
                </c:pt>
                <c:pt idx="924">
                  <c:v>678.56382582421872</c:v>
                </c:pt>
                <c:pt idx="925">
                  <c:v>702.66924966047941</c:v>
                </c:pt>
                <c:pt idx="926">
                  <c:v>652.36731584020026</c:v>
                </c:pt>
                <c:pt idx="927">
                  <c:v>641.68018739643071</c:v>
                </c:pt>
                <c:pt idx="928">
                  <c:v>638.84589243161076</c:v>
                </c:pt>
                <c:pt idx="929">
                  <c:v>632.11398207066156</c:v>
                </c:pt>
                <c:pt idx="930">
                  <c:v>640.45310047236148</c:v>
                </c:pt>
                <c:pt idx="931">
                  <c:v>661.48350007779288</c:v>
                </c:pt>
                <c:pt idx="932">
                  <c:v>648.11560679095157</c:v>
                </c:pt>
                <c:pt idx="933">
                  <c:v>641.78315821148578</c:v>
                </c:pt>
                <c:pt idx="934">
                  <c:v>646.53153241290784</c:v>
                </c:pt>
                <c:pt idx="935">
                  <c:v>652.02139280217591</c:v>
                </c:pt>
                <c:pt idx="936">
                  <c:v>650.89500908779848</c:v>
                </c:pt>
                <c:pt idx="937">
                  <c:v>664.86723480366152</c:v>
                </c:pt>
                <c:pt idx="938">
                  <c:v>670.05543733343393</c:v>
                </c:pt>
                <c:pt idx="939">
                  <c:v>636.07115418132184</c:v>
                </c:pt>
                <c:pt idx="940">
                  <c:v>632.77951948850568</c:v>
                </c:pt>
                <c:pt idx="941">
                  <c:v>635.50167139003804</c:v>
                </c:pt>
                <c:pt idx="942">
                  <c:v>631.26145519695979</c:v>
                </c:pt>
                <c:pt idx="943">
                  <c:v>631.7791670315936</c:v>
                </c:pt>
                <c:pt idx="944">
                  <c:v>627.16437559162887</c:v>
                </c:pt>
                <c:pt idx="945">
                  <c:v>639.28300112124475</c:v>
                </c:pt>
                <c:pt idx="946">
                  <c:v>639.411390419329</c:v>
                </c:pt>
                <c:pt idx="947">
                  <c:v>643.76065134299847</c:v>
                </c:pt>
                <c:pt idx="948">
                  <c:v>642.82228169633538</c:v>
                </c:pt>
                <c:pt idx="949">
                  <c:v>645.21790228992063</c:v>
                </c:pt>
                <c:pt idx="950">
                  <c:v>644.43110811830388</c:v>
                </c:pt>
                <c:pt idx="951">
                  <c:v>644.27767703067127</c:v>
                </c:pt>
                <c:pt idx="952">
                  <c:v>632.7277084323199</c:v>
                </c:pt>
                <c:pt idx="953">
                  <c:v>635.91419616584528</c:v>
                </c:pt>
                <c:pt idx="954">
                  <c:v>672.13178841234196</c:v>
                </c:pt>
                <c:pt idx="955">
                  <c:v>758.22658197364501</c:v>
                </c:pt>
                <c:pt idx="956">
                  <c:v>1454.0736226250167</c:v>
                </c:pt>
                <c:pt idx="957">
                  <c:v>889.72837817315337</c:v>
                </c:pt>
                <c:pt idx="958">
                  <c:v>674.70191527997417</c:v>
                </c:pt>
                <c:pt idx="959">
                  <c:v>636.27910896417097</c:v>
                </c:pt>
                <c:pt idx="960">
                  <c:v>636.41341779492257</c:v>
                </c:pt>
                <c:pt idx="961">
                  <c:v>633.36289921993659</c:v>
                </c:pt>
                <c:pt idx="962">
                  <c:v>625.89107596732276</c:v>
                </c:pt>
                <c:pt idx="963">
                  <c:v>641.25692373919139</c:v>
                </c:pt>
                <c:pt idx="964">
                  <c:v>639.95024167141185</c:v>
                </c:pt>
                <c:pt idx="965">
                  <c:v>636.32953078459877</c:v>
                </c:pt>
                <c:pt idx="966">
                  <c:v>631.01460016363933</c:v>
                </c:pt>
                <c:pt idx="967">
                  <c:v>629.49461577876741</c:v>
                </c:pt>
                <c:pt idx="968">
                  <c:v>635.26935196296779</c:v>
                </c:pt>
                <c:pt idx="969">
                  <c:v>637.21655145030127</c:v>
                </c:pt>
                <c:pt idx="970">
                  <c:v>633.14296142197509</c:v>
                </c:pt>
                <c:pt idx="971">
                  <c:v>638.76648427285159</c:v>
                </c:pt>
                <c:pt idx="972">
                  <c:v>629.05407344253706</c:v>
                </c:pt>
                <c:pt idx="973">
                  <c:v>630.97626094021996</c:v>
                </c:pt>
                <c:pt idx="974">
                  <c:v>647.3271188194351</c:v>
                </c:pt>
                <c:pt idx="975">
                  <c:v>634.83612288991628</c:v>
                </c:pt>
                <c:pt idx="976">
                  <c:v>637.79944897057953</c:v>
                </c:pt>
                <c:pt idx="977">
                  <c:v>631.93409598238964</c:v>
                </c:pt>
                <c:pt idx="978">
                  <c:v>642.41295388497815</c:v>
                </c:pt>
                <c:pt idx="979">
                  <c:v>636.02075840615817</c:v>
                </c:pt>
                <c:pt idx="980">
                  <c:v>644.01305721411279</c:v>
                </c:pt>
                <c:pt idx="981">
                  <c:v>641.880615008375</c:v>
                </c:pt>
                <c:pt idx="982">
                  <c:v>639.47130252865986</c:v>
                </c:pt>
                <c:pt idx="983">
                  <c:v>641.00852045470936</c:v>
                </c:pt>
                <c:pt idx="984">
                  <c:v>655.20047133130151</c:v>
                </c:pt>
                <c:pt idx="985">
                  <c:v>663.15614797102353</c:v>
                </c:pt>
                <c:pt idx="986">
                  <c:v>667.87746875407322</c:v>
                </c:pt>
                <c:pt idx="987">
                  <c:v>655.99081177603477</c:v>
                </c:pt>
                <c:pt idx="988">
                  <c:v>637.75733797921896</c:v>
                </c:pt>
                <c:pt idx="989">
                  <c:v>643.96184864006671</c:v>
                </c:pt>
                <c:pt idx="990">
                  <c:v>647.03479652250678</c:v>
                </c:pt>
                <c:pt idx="991">
                  <c:v>644.00645411028609</c:v>
                </c:pt>
                <c:pt idx="992">
                  <c:v>636.77079172609467</c:v>
                </c:pt>
                <c:pt idx="993">
                  <c:v>634.80247051030881</c:v>
                </c:pt>
                <c:pt idx="994">
                  <c:v>647.88655946211429</c:v>
                </c:pt>
                <c:pt idx="995">
                  <c:v>640.31348198522369</c:v>
                </c:pt>
                <c:pt idx="996">
                  <c:v>644.10424030310116</c:v>
                </c:pt>
                <c:pt idx="997">
                  <c:v>694.84254632249326</c:v>
                </c:pt>
                <c:pt idx="998">
                  <c:v>691.58015925529764</c:v>
                </c:pt>
                <c:pt idx="999">
                  <c:v>682.86194987715339</c:v>
                </c:pt>
                <c:pt idx="1000">
                  <c:v>667.59707476195376</c:v>
                </c:pt>
                <c:pt idx="1001">
                  <c:v>678.54273645119838</c:v>
                </c:pt>
                <c:pt idx="1002">
                  <c:v>638.71213441398299</c:v>
                </c:pt>
                <c:pt idx="1003">
                  <c:v>636.0138841104332</c:v>
                </c:pt>
                <c:pt idx="1004">
                  <c:v>647.91794428049116</c:v>
                </c:pt>
                <c:pt idx="1005">
                  <c:v>642.39027165145546</c:v>
                </c:pt>
                <c:pt idx="1006">
                  <c:v>651.84437649713209</c:v>
                </c:pt>
                <c:pt idx="1007">
                  <c:v>640.44743314812376</c:v>
                </c:pt>
                <c:pt idx="1008">
                  <c:v>668.04865728307834</c:v>
                </c:pt>
                <c:pt idx="1009">
                  <c:v>636.8652788042881</c:v>
                </c:pt>
                <c:pt idx="1010">
                  <c:v>644.40655743699654</c:v>
                </c:pt>
                <c:pt idx="1011">
                  <c:v>657.47475021613968</c:v>
                </c:pt>
                <c:pt idx="1012">
                  <c:v>656.44763220849688</c:v>
                </c:pt>
                <c:pt idx="1013">
                  <c:v>645.10352152397081</c:v>
                </c:pt>
                <c:pt idx="1014">
                  <c:v>626.82865861378059</c:v>
                </c:pt>
                <c:pt idx="1015">
                  <c:v>647.84182696477797</c:v>
                </c:pt>
                <c:pt idx="1016">
                  <c:v>648.52020800986986</c:v>
                </c:pt>
                <c:pt idx="1017">
                  <c:v>648.70420875745151</c:v>
                </c:pt>
                <c:pt idx="1018">
                  <c:v>643.38361262689125</c:v>
                </c:pt>
                <c:pt idx="1019">
                  <c:v>633.30150752285351</c:v>
                </c:pt>
                <c:pt idx="1020">
                  <c:v>642.58293685266949</c:v>
                </c:pt>
                <c:pt idx="1021">
                  <c:v>644.09739288430615</c:v>
                </c:pt>
                <c:pt idx="1022">
                  <c:v>644.59674429008714</c:v>
                </c:pt>
                <c:pt idx="1023">
                  <c:v>643.04183869424617</c:v>
                </c:pt>
                <c:pt idx="1024">
                  <c:v>645.04303581604449</c:v>
                </c:pt>
                <c:pt idx="1025">
                  <c:v>641.85380388750855</c:v>
                </c:pt>
                <c:pt idx="1026">
                  <c:v>674.44798352870021</c:v>
                </c:pt>
                <c:pt idx="1027">
                  <c:v>677.47558414284788</c:v>
                </c:pt>
                <c:pt idx="1028">
                  <c:v>698.17011905039385</c:v>
                </c:pt>
                <c:pt idx="1029">
                  <c:v>693.31215009968219</c:v>
                </c:pt>
                <c:pt idx="1030">
                  <c:v>1018.9601150752204</c:v>
                </c:pt>
                <c:pt idx="1031">
                  <c:v>1011.5602850940481</c:v>
                </c:pt>
                <c:pt idx="1032">
                  <c:v>669.58507009079528</c:v>
                </c:pt>
                <c:pt idx="1033">
                  <c:v>646.43086110109061</c:v>
                </c:pt>
                <c:pt idx="1034">
                  <c:v>649.87043605425868</c:v>
                </c:pt>
                <c:pt idx="1035">
                  <c:v>649.03088160069274</c:v>
                </c:pt>
                <c:pt idx="1036">
                  <c:v>694.3941651575085</c:v>
                </c:pt>
                <c:pt idx="1037">
                  <c:v>633.81059907151052</c:v>
                </c:pt>
                <c:pt idx="1038">
                  <c:v>636.81954527714345</c:v>
                </c:pt>
                <c:pt idx="1039">
                  <c:v>641.41769308920266</c:v>
                </c:pt>
                <c:pt idx="1040">
                  <c:v>668.66938349640452</c:v>
                </c:pt>
                <c:pt idx="1041">
                  <c:v>685.91160666995381</c:v>
                </c:pt>
                <c:pt idx="1042">
                  <c:v>691.03908301118247</c:v>
                </c:pt>
                <c:pt idx="1043">
                  <c:v>779.64314854968404</c:v>
                </c:pt>
                <c:pt idx="1044">
                  <c:v>662.92896948876103</c:v>
                </c:pt>
                <c:pt idx="1045">
                  <c:v>644.14624654018542</c:v>
                </c:pt>
                <c:pt idx="1046">
                  <c:v>642.64831787042635</c:v>
                </c:pt>
                <c:pt idx="1047">
                  <c:v>634.41456342543233</c:v>
                </c:pt>
                <c:pt idx="1048">
                  <c:v>646.80287825605842</c:v>
                </c:pt>
                <c:pt idx="1049">
                  <c:v>642.22410036033716</c:v>
                </c:pt>
                <c:pt idx="1050">
                  <c:v>648.92196835710445</c:v>
                </c:pt>
                <c:pt idx="1051">
                  <c:v>637.38012267330691</c:v>
                </c:pt>
                <c:pt idx="1052">
                  <c:v>641.2621533983729</c:v>
                </c:pt>
                <c:pt idx="1053">
                  <c:v>648.67907423890017</c:v>
                </c:pt>
                <c:pt idx="1054">
                  <c:v>673.20329974267099</c:v>
                </c:pt>
                <c:pt idx="1055">
                  <c:v>660.44990695948809</c:v>
                </c:pt>
                <c:pt idx="1056">
                  <c:v>656.78988482867419</c:v>
                </c:pt>
                <c:pt idx="1057">
                  <c:v>632.66882177530306</c:v>
                </c:pt>
                <c:pt idx="1058">
                  <c:v>649.7409572585326</c:v>
                </c:pt>
                <c:pt idx="1059">
                  <c:v>642.37287202616653</c:v>
                </c:pt>
                <c:pt idx="1060">
                  <c:v>636.10663139576786</c:v>
                </c:pt>
                <c:pt idx="1061">
                  <c:v>647.48438486533598</c:v>
                </c:pt>
                <c:pt idx="1062">
                  <c:v>641.34466695522076</c:v>
                </c:pt>
                <c:pt idx="1063">
                  <c:v>653.62825378103764</c:v>
                </c:pt>
                <c:pt idx="1064">
                  <c:v>655.33575145362568</c:v>
                </c:pt>
                <c:pt idx="1065">
                  <c:v>663.15085379948675</c:v>
                </c:pt>
                <c:pt idx="1066">
                  <c:v>664.98455091003166</c:v>
                </c:pt>
                <c:pt idx="1067">
                  <c:v>652.57403234571666</c:v>
                </c:pt>
                <c:pt idx="1068">
                  <c:v>656.42320501857125</c:v>
                </c:pt>
                <c:pt idx="1069">
                  <c:v>663.57392291080146</c:v>
                </c:pt>
                <c:pt idx="1070">
                  <c:v>656.922563499837</c:v>
                </c:pt>
                <c:pt idx="1071">
                  <c:v>689.27591607449995</c:v>
                </c:pt>
                <c:pt idx="1072">
                  <c:v>663.50631762317096</c:v>
                </c:pt>
                <c:pt idx="1073">
                  <c:v>658.84536586365653</c:v>
                </c:pt>
                <c:pt idx="1074">
                  <c:v>667.61806180267445</c:v>
                </c:pt>
                <c:pt idx="1075">
                  <c:v>694.02427098175644</c:v>
                </c:pt>
                <c:pt idx="1076">
                  <c:v>719.35876036781292</c:v>
                </c:pt>
                <c:pt idx="1077">
                  <c:v>657.19471070050895</c:v>
                </c:pt>
                <c:pt idx="1078">
                  <c:v>670.09342816919661</c:v>
                </c:pt>
                <c:pt idx="1079">
                  <c:v>656.84540765193776</c:v>
                </c:pt>
                <c:pt idx="1080">
                  <c:v>659.48940410653961</c:v>
                </c:pt>
                <c:pt idx="1081">
                  <c:v>677.94166162782096</c:v>
                </c:pt>
                <c:pt idx="1082">
                  <c:v>666.45634056298911</c:v>
                </c:pt>
                <c:pt idx="1083">
                  <c:v>679.08337488340624</c:v>
                </c:pt>
                <c:pt idx="1084">
                  <c:v>827.98925515957944</c:v>
                </c:pt>
                <c:pt idx="1085">
                  <c:v>848.64551039944899</c:v>
                </c:pt>
                <c:pt idx="1086">
                  <c:v>698.68086161677968</c:v>
                </c:pt>
                <c:pt idx="1087">
                  <c:v>689.05619526824512</c:v>
                </c:pt>
                <c:pt idx="1088">
                  <c:v>649.45827062112278</c:v>
                </c:pt>
                <c:pt idx="1089">
                  <c:v>642.15123513211654</c:v>
                </c:pt>
                <c:pt idx="1090">
                  <c:v>636.09389954307244</c:v>
                </c:pt>
                <c:pt idx="1091">
                  <c:v>639.2928477348471</c:v>
                </c:pt>
                <c:pt idx="1092">
                  <c:v>648.7811806387723</c:v>
                </c:pt>
                <c:pt idx="1093">
                  <c:v>643.44016812212578</c:v>
                </c:pt>
                <c:pt idx="1094">
                  <c:v>644.74772973755262</c:v>
                </c:pt>
                <c:pt idx="1095">
                  <c:v>647.97020945054248</c:v>
                </c:pt>
              </c:numCache>
            </c:numRef>
          </c:yVal>
          <c:smooth val="0"/>
          <c:extLst>
            <c:ext xmlns:c16="http://schemas.microsoft.com/office/drawing/2014/chart" uri="{C3380CC4-5D6E-409C-BE32-E72D297353CC}">
              <c16:uniqueId val="{00000000-5E73-4965-8C55-8FAC1CDD7BA3}"/>
            </c:ext>
          </c:extLst>
        </c:ser>
        <c:dLbls>
          <c:showLegendKey val="0"/>
          <c:showVal val="0"/>
          <c:showCatName val="0"/>
          <c:showSerName val="0"/>
          <c:showPercent val="0"/>
          <c:showBubbleSize val="0"/>
        </c:dLbls>
        <c:axId val="1408042063"/>
        <c:axId val="1408021263"/>
      </c:scatterChart>
      <c:valAx>
        <c:axId val="1408042063"/>
        <c:scaling>
          <c:orientation val="minMax"/>
          <c:max val="400"/>
          <c:min val="31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21263"/>
        <c:crosses val="autoZero"/>
        <c:crossBetween val="midCat"/>
      </c:valAx>
      <c:valAx>
        <c:axId val="1408021263"/>
        <c:scaling>
          <c:orientation val="minMax"/>
          <c:max val="710"/>
          <c:min val="610"/>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42063"/>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N</a:t>
            </a:r>
            <a:r>
              <a:rPr lang="en-US" sz="1800" b="0" i="0" baseline="-25000">
                <a:effectLst/>
              </a:rPr>
              <a:t>2</a:t>
            </a:r>
            <a:r>
              <a:rPr lang="en-US" sz="1800" b="0" i="0" baseline="0">
                <a:effectLst/>
              </a:rPr>
              <a:t> (Nm3) v/s ETA CO</a:t>
            </a:r>
            <a:endParaRPr lang="en-US">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2!$A$3:$A$1098</c:f>
              <c:numCache>
                <c:formatCode>General</c:formatCode>
                <c:ptCount val="1096"/>
                <c:pt idx="0">
                  <c:v>#N/A</c:v>
                </c:pt>
                <c:pt idx="1">
                  <c:v>#N/A</c:v>
                </c:pt>
                <c:pt idx="2">
                  <c:v>0.519213141325092</c:v>
                </c:pt>
                <c:pt idx="3">
                  <c:v>0.50730858408022572</c:v>
                </c:pt>
                <c:pt idx="4">
                  <c:v>0.50416659520414131</c:v>
                </c:pt>
                <c:pt idx="5">
                  <c:v>0.51059923955978881</c:v>
                </c:pt>
                <c:pt idx="6">
                  <c:v>0.50914034555171117</c:v>
                </c:pt>
                <c:pt idx="7">
                  <c:v>0.51115461362300241</c:v>
                </c:pt>
                <c:pt idx="8">
                  <c:v>0.50491303077040672</c:v>
                </c:pt>
                <c:pt idx="9">
                  <c:v>0.51703197429369807</c:v>
                </c:pt>
                <c:pt idx="10">
                  <c:v>0.51652745680419621</c:v>
                </c:pt>
                <c:pt idx="11">
                  <c:v>0.51055732263936937</c:v>
                </c:pt>
                <c:pt idx="12">
                  <c:v>0.50595222104700965</c:v>
                </c:pt>
                <c:pt idx="13">
                  <c:v>0.50773566238194578</c:v>
                </c:pt>
                <c:pt idx="14">
                  <c:v>0.50407606672947547</c:v>
                </c:pt>
                <c:pt idx="15">
                  <c:v>0.50677715510528698</c:v>
                </c:pt>
                <c:pt idx="16">
                  <c:v>0.50277971785589792</c:v>
                </c:pt>
                <c:pt idx="17">
                  <c:v>0.50223851350524151</c:v>
                </c:pt>
                <c:pt idx="18">
                  <c:v>0.50799838472148151</c:v>
                </c:pt>
                <c:pt idx="19">
                  <c:v>0.51163197470040711</c:v>
                </c:pt>
                <c:pt idx="20">
                  <c:v>0.50664407228033437</c:v>
                </c:pt>
                <c:pt idx="21">
                  <c:v>0.50936320108218791</c:v>
                </c:pt>
                <c:pt idx="22">
                  <c:v>0.50528599264191087</c:v>
                </c:pt>
                <c:pt idx="23">
                  <c:v>0.50285066764845843</c:v>
                </c:pt>
                <c:pt idx="24">
                  <c:v>0.50490561093921393</c:v>
                </c:pt>
                <c:pt idx="25">
                  <c:v>0.5043299298713213</c:v>
                </c:pt>
                <c:pt idx="26">
                  <c:v>0.50043511781749705</c:v>
                </c:pt>
                <c:pt idx="27">
                  <c:v>0.4995882454720259</c:v>
                </c:pt>
                <c:pt idx="28">
                  <c:v>0.50422084722571026</c:v>
                </c:pt>
                <c:pt idx="29">
                  <c:v>0.51393310684319127</c:v>
                </c:pt>
                <c:pt idx="30">
                  <c:v>0.51356718649202016</c:v>
                </c:pt>
                <c:pt idx="31">
                  <c:v>#N/A</c:v>
                </c:pt>
                <c:pt idx="32">
                  <c:v>0.51943131047074054</c:v>
                </c:pt>
                <c:pt idx="33">
                  <c:v>0.5160222559131018</c:v>
                </c:pt>
                <c:pt idx="34">
                  <c:v>0.51655008352916809</c:v>
                </c:pt>
                <c:pt idx="35">
                  <c:v>0.50828954124933823</c:v>
                </c:pt>
                <c:pt idx="36">
                  <c:v>0.50725341656633649</c:v>
                </c:pt>
                <c:pt idx="37">
                  <c:v>0.50949373455468905</c:v>
                </c:pt>
                <c:pt idx="38">
                  <c:v>0.51592892871640283</c:v>
                </c:pt>
                <c:pt idx="39">
                  <c:v>0.51990821623909611</c:v>
                </c:pt>
                <c:pt idx="40">
                  <c:v>0.51234142885665124</c:v>
                </c:pt>
                <c:pt idx="41">
                  <c:v>0.51732377134319762</c:v>
                </c:pt>
                <c:pt idx="42">
                  <c:v>0.5094435095577885</c:v>
                </c:pt>
                <c:pt idx="43">
                  <c:v>0.51549203596224447</c:v>
                </c:pt>
                <c:pt idx="44">
                  <c:v>0.51821195033945444</c:v>
                </c:pt>
                <c:pt idx="45">
                  <c:v>0.51528232239683802</c:v>
                </c:pt>
                <c:pt idx="46">
                  <c:v>0.51172579365622162</c:v>
                </c:pt>
                <c:pt idx="47">
                  <c:v>0.51143668370228823</c:v>
                </c:pt>
                <c:pt idx="48">
                  <c:v>#N/A</c:v>
                </c:pt>
                <c:pt idx="49">
                  <c:v>0.5197585133007816</c:v>
                </c:pt>
                <c:pt idx="50">
                  <c:v>0.50916219524865891</c:v>
                </c:pt>
                <c:pt idx="51">
                  <c:v>0.51129979467596509</c:v>
                </c:pt>
                <c:pt idx="52">
                  <c:v>#N/A</c:v>
                </c:pt>
                <c:pt idx="53">
                  <c:v>0.51309529193552483</c:v>
                </c:pt>
                <c:pt idx="54">
                  <c:v>0.51871709234820995</c:v>
                </c:pt>
                <c:pt idx="55">
                  <c:v>0.51252658447403909</c:v>
                </c:pt>
                <c:pt idx="56">
                  <c:v>0.51361456956032425</c:v>
                </c:pt>
                <c:pt idx="57">
                  <c:v>0.50787869976372435</c:v>
                </c:pt>
                <c:pt idx="58">
                  <c:v>0.51504770946492495</c:v>
                </c:pt>
                <c:pt idx="59">
                  <c:v>0.51390234907872456</c:v>
                </c:pt>
                <c:pt idx="60">
                  <c:v>0.51385754958464691</c:v>
                </c:pt>
                <c:pt idx="61">
                  <c:v>0.51054617475820385</c:v>
                </c:pt>
                <c:pt idx="62">
                  <c:v>0.5084377975476303</c:v>
                </c:pt>
                <c:pt idx="63">
                  <c:v>0.52002459900737963</c:v>
                </c:pt>
                <c:pt idx="64">
                  <c:v>#N/A</c:v>
                </c:pt>
                <c:pt idx="65">
                  <c:v>#N/A</c:v>
                </c:pt>
                <c:pt idx="66">
                  <c:v>0.52078013058132067</c:v>
                </c:pt>
                <c:pt idx="67">
                  <c:v>0.51143138543318822</c:v>
                </c:pt>
                <c:pt idx="68">
                  <c:v>0.51125220998327969</c:v>
                </c:pt>
                <c:pt idx="69">
                  <c:v>0.51541361719232237</c:v>
                </c:pt>
                <c:pt idx="70">
                  <c:v>0.51928027746282701</c:v>
                </c:pt>
                <c:pt idx="71">
                  <c:v>#N/A</c:v>
                </c:pt>
                <c:pt idx="72">
                  <c:v>0.51876494354151947</c:v>
                </c:pt>
                <c:pt idx="73">
                  <c:v>#N/A</c:v>
                </c:pt>
                <c:pt idx="74">
                  <c:v>0.51955549517760979</c:v>
                </c:pt>
                <c:pt idx="75">
                  <c:v>0.51594114943614344</c:v>
                </c:pt>
                <c:pt idx="76">
                  <c:v>0.5198376905432166</c:v>
                </c:pt>
                <c:pt idx="77">
                  <c:v>0.51433715794204926</c:v>
                </c:pt>
                <c:pt idx="78">
                  <c:v>0.51596146919688701</c:v>
                </c:pt>
                <c:pt idx="79">
                  <c:v>0.5177466552390565</c:v>
                </c:pt>
                <c:pt idx="80">
                  <c:v>0.51427380895778374</c:v>
                </c:pt>
                <c:pt idx="81">
                  <c:v>0.5098411040022397</c:v>
                </c:pt>
                <c:pt idx="82">
                  <c:v>0.50853073088034662</c:v>
                </c:pt>
                <c:pt idx="83">
                  <c:v>0.50899124799719531</c:v>
                </c:pt>
                <c:pt idx="84">
                  <c:v>0.51845291795783843</c:v>
                </c:pt>
                <c:pt idx="85">
                  <c:v>0.51719990708060581</c:v>
                </c:pt>
                <c:pt idx="86">
                  <c:v>0.51777380125639394</c:v>
                </c:pt>
                <c:pt idx="87">
                  <c:v>#N/A</c:v>
                </c:pt>
                <c:pt idx="88">
                  <c:v>0.51697055616128651</c:v>
                </c:pt>
                <c:pt idx="89">
                  <c:v>#N/A</c:v>
                </c:pt>
                <c:pt idx="90">
                  <c:v>#N/A</c:v>
                </c:pt>
                <c:pt idx="91">
                  <c:v>#N/A</c:v>
                </c:pt>
                <c:pt idx="92">
                  <c:v>0.51857566391598586</c:v>
                </c:pt>
                <c:pt idx="93">
                  <c:v>0.51328868615536816</c:v>
                </c:pt>
                <c:pt idx="94">
                  <c:v>0.51382384568937967</c:v>
                </c:pt>
                <c:pt idx="95">
                  <c:v>0.52039972980852156</c:v>
                </c:pt>
                <c:pt idx="96">
                  <c:v>0.51694020349956105</c:v>
                </c:pt>
                <c:pt idx="97">
                  <c:v>0.51642118986354635</c:v>
                </c:pt>
                <c:pt idx="98">
                  <c:v>0.52077454526253819</c:v>
                </c:pt>
                <c:pt idx="99">
                  <c:v>#N/A</c:v>
                </c:pt>
                <c:pt idx="100">
                  <c:v>#N/A</c:v>
                </c:pt>
                <c:pt idx="101">
                  <c:v>#N/A</c:v>
                </c:pt>
                <c:pt idx="102">
                  <c:v>#N/A</c:v>
                </c:pt>
                <c:pt idx="103">
                  <c:v>#N/A</c:v>
                </c:pt>
                <c:pt idx="104">
                  <c:v>0.51936249840042437</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0.51692113932386652</c:v>
                </c:pt>
                <c:pt idx="127">
                  <c:v>0.51236981413131755</c:v>
                </c:pt>
                <c:pt idx="128">
                  <c:v>0.51617168930486124</c:v>
                </c:pt>
                <c:pt idx="129">
                  <c:v>0.51922841245753082</c:v>
                </c:pt>
                <c:pt idx="130">
                  <c:v>#N/A</c:v>
                </c:pt>
                <c:pt idx="131">
                  <c:v>0.51980511836977761</c:v>
                </c:pt>
                <c:pt idx="132">
                  <c:v>0.51842304155105834</c:v>
                </c:pt>
                <c:pt idx="133">
                  <c:v>#N/A</c:v>
                </c:pt>
                <c:pt idx="134">
                  <c:v>0.5204595853018722</c:v>
                </c:pt>
                <c:pt idx="135">
                  <c:v>0.51267844774715077</c:v>
                </c:pt>
                <c:pt idx="136">
                  <c:v>0.51408643311399227</c:v>
                </c:pt>
                <c:pt idx="137">
                  <c:v>0.51456044071099272</c:v>
                </c:pt>
                <c:pt idx="138">
                  <c:v>0.50542669354309255</c:v>
                </c:pt>
                <c:pt idx="139">
                  <c:v>0.50542669354309255</c:v>
                </c:pt>
                <c:pt idx="140">
                  <c:v>0.50155508103319146</c:v>
                </c:pt>
                <c:pt idx="141">
                  <c:v>0.51257504483192484</c:v>
                </c:pt>
                <c:pt idx="142">
                  <c:v>0.51841019119742937</c:v>
                </c:pt>
                <c:pt idx="143">
                  <c:v>0.51467597115738772</c:v>
                </c:pt>
                <c:pt idx="144">
                  <c:v>#N/A</c:v>
                </c:pt>
                <c:pt idx="145">
                  <c:v>#N/A</c:v>
                </c:pt>
                <c:pt idx="146">
                  <c:v>0.5174322862880546</c:v>
                </c:pt>
                <c:pt idx="147">
                  <c:v>#N/A</c:v>
                </c:pt>
                <c:pt idx="148">
                  <c:v>#N/A</c:v>
                </c:pt>
                <c:pt idx="149">
                  <c:v>#N/A</c:v>
                </c:pt>
                <c:pt idx="150">
                  <c:v>#N/A</c:v>
                </c:pt>
                <c:pt idx="151">
                  <c:v>#N/A</c:v>
                </c:pt>
                <c:pt idx="152">
                  <c:v>#N/A</c:v>
                </c:pt>
                <c:pt idx="153">
                  <c:v>#N/A</c:v>
                </c:pt>
                <c:pt idx="154">
                  <c:v>0.52021846733758403</c:v>
                </c:pt>
                <c:pt idx="155">
                  <c:v>0.51922276050210447</c:v>
                </c:pt>
                <c:pt idx="156">
                  <c:v>#N/A</c:v>
                </c:pt>
                <c:pt idx="157">
                  <c:v>#N/A</c:v>
                </c:pt>
                <c:pt idx="158">
                  <c:v>#N/A</c:v>
                </c:pt>
                <c:pt idx="159">
                  <c:v>#N/A</c:v>
                </c:pt>
                <c:pt idx="160">
                  <c:v>#N/A</c:v>
                </c:pt>
                <c:pt idx="161">
                  <c:v>#N/A</c:v>
                </c:pt>
                <c:pt idx="162">
                  <c:v>#N/A</c:v>
                </c:pt>
                <c:pt idx="163">
                  <c:v>#N/A</c:v>
                </c:pt>
                <c:pt idx="164">
                  <c:v>#N/A</c:v>
                </c:pt>
                <c:pt idx="165">
                  <c:v>0.51629334179280928</c:v>
                </c:pt>
                <c:pt idx="166">
                  <c:v>#N/A</c:v>
                </c:pt>
                <c:pt idx="167">
                  <c:v>0.52012685300983708</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0</c:v>
                </c:pt>
                <c:pt idx="218">
                  <c:v>0</c:v>
                </c:pt>
                <c:pt idx="219">
                  <c:v>0</c:v>
                </c:pt>
                <c:pt idx="220">
                  <c:v>#N/A</c:v>
                </c:pt>
                <c:pt idx="221">
                  <c:v>#N/A</c:v>
                </c:pt>
                <c:pt idx="222">
                  <c:v>#N/A</c:v>
                </c:pt>
                <c:pt idx="223">
                  <c:v>#N/A</c:v>
                </c:pt>
                <c:pt idx="224">
                  <c:v>#N/A</c:v>
                </c:pt>
                <c:pt idx="225">
                  <c:v>#N/A</c:v>
                </c:pt>
                <c:pt idx="226">
                  <c:v>#N/A</c:v>
                </c:pt>
                <c:pt idx="227">
                  <c:v>0.51860561693415352</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0.5209815618843513</c:v>
                </c:pt>
                <c:pt idx="344">
                  <c:v>#N/A</c:v>
                </c:pt>
                <c:pt idx="345">
                  <c:v>#N/A</c:v>
                </c:pt>
                <c:pt idx="346">
                  <c:v>#N/A</c:v>
                </c:pt>
                <c:pt idx="347">
                  <c:v>0.51889270371018503</c:v>
                </c:pt>
                <c:pt idx="348">
                  <c:v>0.51928256243776161</c:v>
                </c:pt>
                <c:pt idx="349">
                  <c:v>0.51950421659752333</c:v>
                </c:pt>
                <c:pt idx="350">
                  <c:v>#N/A</c:v>
                </c:pt>
                <c:pt idx="351">
                  <c:v>#N/A</c:v>
                </c:pt>
                <c:pt idx="352">
                  <c:v>#N/A</c:v>
                </c:pt>
                <c:pt idx="353">
                  <c:v>#N/A</c:v>
                </c:pt>
                <c:pt idx="354">
                  <c:v>#N/A</c:v>
                </c:pt>
                <c:pt idx="355">
                  <c:v>0.51857894854487785</c:v>
                </c:pt>
                <c:pt idx="356">
                  <c:v>0.51868155047966447</c:v>
                </c:pt>
                <c:pt idx="357">
                  <c:v>#N/A</c:v>
                </c:pt>
                <c:pt idx="358">
                  <c:v>#N/A</c:v>
                </c:pt>
                <c:pt idx="359">
                  <c:v>#N/A</c:v>
                </c:pt>
                <c:pt idx="360">
                  <c:v>#N/A</c:v>
                </c:pt>
                <c:pt idx="361">
                  <c:v>0.51758971990813119</c:v>
                </c:pt>
                <c:pt idx="362">
                  <c:v>0.51242668337841701</c:v>
                </c:pt>
                <c:pt idx="363">
                  <c:v>0.51517019522952534</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0.51968145802208343</c:v>
                </c:pt>
                <c:pt idx="377">
                  <c:v>0.51889171921490118</c:v>
                </c:pt>
                <c:pt idx="378">
                  <c:v>0.51714328520487884</c:v>
                </c:pt>
                <c:pt idx="379">
                  <c:v>#N/A</c:v>
                </c:pt>
                <c:pt idx="380">
                  <c:v>#N/A</c:v>
                </c:pt>
                <c:pt idx="381">
                  <c:v>#N/A</c:v>
                </c:pt>
                <c:pt idx="382">
                  <c:v>0.52096192630920868</c:v>
                </c:pt>
                <c:pt idx="383">
                  <c:v>#N/A</c:v>
                </c:pt>
                <c:pt idx="384">
                  <c:v>#N/A</c:v>
                </c:pt>
                <c:pt idx="385">
                  <c:v>#N/A</c:v>
                </c:pt>
                <c:pt idx="386">
                  <c:v>#N/A</c:v>
                </c:pt>
                <c:pt idx="387">
                  <c:v>#N/A</c:v>
                </c:pt>
                <c:pt idx="388">
                  <c:v>#N/A</c:v>
                </c:pt>
                <c:pt idx="389">
                  <c:v>#N/A</c:v>
                </c:pt>
                <c:pt idx="390">
                  <c:v>0.52063979752580936</c:v>
                </c:pt>
                <c:pt idx="391">
                  <c:v>#N/A</c:v>
                </c:pt>
                <c:pt idx="392">
                  <c:v>#N/A</c:v>
                </c:pt>
                <c:pt idx="393">
                  <c:v>#N/A</c:v>
                </c:pt>
                <c:pt idx="394">
                  <c:v>#N/A</c:v>
                </c:pt>
                <c:pt idx="395">
                  <c:v>#N/A</c:v>
                </c:pt>
                <c:pt idx="396">
                  <c:v>#N/A</c:v>
                </c:pt>
                <c:pt idx="397">
                  <c:v>#N/A</c:v>
                </c:pt>
                <c:pt idx="398">
                  <c:v>#N/A</c:v>
                </c:pt>
                <c:pt idx="399">
                  <c:v>#N/A</c:v>
                </c:pt>
                <c:pt idx="400">
                  <c:v>0.52046365869717459</c:v>
                </c:pt>
                <c:pt idx="401">
                  <c:v>0.51868352818648022</c:v>
                </c:pt>
                <c:pt idx="402">
                  <c:v>0.51695574734020655</c:v>
                </c:pt>
                <c:pt idx="403">
                  <c:v>#N/A</c:v>
                </c:pt>
                <c:pt idx="404">
                  <c:v>#N/A</c:v>
                </c:pt>
                <c:pt idx="405">
                  <c:v>0.51699418921050289</c:v>
                </c:pt>
                <c:pt idx="406">
                  <c:v>0.51950588978441159</c:v>
                </c:pt>
                <c:pt idx="407">
                  <c:v>#N/A</c:v>
                </c:pt>
                <c:pt idx="408">
                  <c:v>#N/A</c:v>
                </c:pt>
                <c:pt idx="409">
                  <c:v>0.51970739222493223</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0.51579757489537936</c:v>
                </c:pt>
                <c:pt idx="432">
                  <c:v>0.51791073579783276</c:v>
                </c:pt>
                <c:pt idx="433">
                  <c:v>0.51812407371818503</c:v>
                </c:pt>
                <c:pt idx="434">
                  <c:v>#N/A</c:v>
                </c:pt>
                <c:pt idx="435">
                  <c:v>#N/A</c:v>
                </c:pt>
                <c:pt idx="436">
                  <c:v>#N/A</c:v>
                </c:pt>
                <c:pt idx="437">
                  <c:v>#N/A</c:v>
                </c:pt>
                <c:pt idx="438">
                  <c:v>#N/A</c:v>
                </c:pt>
                <c:pt idx="439">
                  <c:v>#N/A</c:v>
                </c:pt>
                <c:pt idx="440">
                  <c:v>#N/A</c:v>
                </c:pt>
                <c:pt idx="441">
                  <c:v>#N/A</c:v>
                </c:pt>
                <c:pt idx="442">
                  <c:v>#N/A</c:v>
                </c:pt>
                <c:pt idx="443">
                  <c:v>0.51958605729797269</c:v>
                </c:pt>
                <c:pt idx="444">
                  <c:v>#N/A</c:v>
                </c:pt>
                <c:pt idx="445">
                  <c:v>#N/A</c:v>
                </c:pt>
                <c:pt idx="446">
                  <c:v>#N/A</c:v>
                </c:pt>
                <c:pt idx="447">
                  <c:v>#N/A</c:v>
                </c:pt>
                <c:pt idx="448">
                  <c:v>#N/A</c:v>
                </c:pt>
                <c:pt idx="449">
                  <c:v>#N/A</c:v>
                </c:pt>
                <c:pt idx="450">
                  <c:v>#N/A</c:v>
                </c:pt>
                <c:pt idx="451">
                  <c:v>#N/A</c:v>
                </c:pt>
                <c:pt idx="452">
                  <c:v>#N/A</c:v>
                </c:pt>
                <c:pt idx="453">
                  <c:v>#N/A</c:v>
                </c:pt>
                <c:pt idx="454">
                  <c:v>0</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0.51767368343824294</c:v>
                </c:pt>
                <c:pt idx="477">
                  <c:v>#N/A</c:v>
                </c:pt>
                <c:pt idx="478">
                  <c:v>0.51921175993864466</c:v>
                </c:pt>
                <c:pt idx="479">
                  <c:v>#N/A</c:v>
                </c:pt>
                <c:pt idx="480">
                  <c:v>#N/A</c:v>
                </c:pt>
                <c:pt idx="481">
                  <c:v>#N/A</c:v>
                </c:pt>
                <c:pt idx="482">
                  <c:v>#N/A</c:v>
                </c:pt>
                <c:pt idx="483">
                  <c:v>#N/A</c:v>
                </c:pt>
                <c:pt idx="484">
                  <c:v>#N/A</c:v>
                </c:pt>
                <c:pt idx="485">
                  <c:v>#N/A</c:v>
                </c:pt>
                <c:pt idx="486">
                  <c:v>#N/A</c:v>
                </c:pt>
                <c:pt idx="487">
                  <c:v>0.51842964501714395</c:v>
                </c:pt>
                <c:pt idx="488">
                  <c:v>0.51662018232065543</c:v>
                </c:pt>
                <c:pt idx="489">
                  <c:v>#N/A</c:v>
                </c:pt>
                <c:pt idx="490">
                  <c:v>#N/A</c:v>
                </c:pt>
                <c:pt idx="491">
                  <c:v>#N/A</c:v>
                </c:pt>
                <c:pt idx="492">
                  <c:v>0.52081347254107868</c:v>
                </c:pt>
                <c:pt idx="493">
                  <c:v>0.51991981517473751</c:v>
                </c:pt>
                <c:pt idx="494">
                  <c:v>#N/A</c:v>
                </c:pt>
                <c:pt idx="495">
                  <c:v>#N/A</c:v>
                </c:pt>
                <c:pt idx="496">
                  <c:v>#N/A</c:v>
                </c:pt>
                <c:pt idx="497">
                  <c:v>#N/A</c:v>
                </c:pt>
                <c:pt idx="498">
                  <c:v>#N/A</c:v>
                </c:pt>
                <c:pt idx="499">
                  <c:v>0.51387876047321723</c:v>
                </c:pt>
                <c:pt idx="500">
                  <c:v>0.51319018548364803</c:v>
                </c:pt>
                <c:pt idx="501">
                  <c:v>0.51836231873044614</c:v>
                </c:pt>
                <c:pt idx="502">
                  <c:v>0.51603692555574121</c:v>
                </c:pt>
                <c:pt idx="503">
                  <c:v>0.51935917777210905</c:v>
                </c:pt>
                <c:pt idx="504">
                  <c:v>#N/A</c:v>
                </c:pt>
                <c:pt idx="505">
                  <c:v>#N/A</c:v>
                </c:pt>
                <c:pt idx="506">
                  <c:v>#N/A</c:v>
                </c:pt>
                <c:pt idx="507">
                  <c:v>#N/A</c:v>
                </c:pt>
                <c:pt idx="508">
                  <c:v>#N/A</c:v>
                </c:pt>
                <c:pt idx="509">
                  <c:v>#N/A</c:v>
                </c:pt>
                <c:pt idx="510">
                  <c:v>#N/A</c:v>
                </c:pt>
                <c:pt idx="511">
                  <c:v>0.51794117738121115</c:v>
                </c:pt>
                <c:pt idx="512">
                  <c:v>#N/A</c:v>
                </c:pt>
                <c:pt idx="513">
                  <c:v>0.51244738106990717</c:v>
                </c:pt>
                <c:pt idx="514">
                  <c:v>0.51836209711517622</c:v>
                </c:pt>
                <c:pt idx="515">
                  <c:v>#N/A</c:v>
                </c:pt>
                <c:pt idx="516">
                  <c:v>0.51709108311340479</c:v>
                </c:pt>
                <c:pt idx="517">
                  <c:v>0.52020165677519459</c:v>
                </c:pt>
                <c:pt idx="518">
                  <c:v>0.51326004733986297</c:v>
                </c:pt>
                <c:pt idx="519">
                  <c:v>#N/A</c:v>
                </c:pt>
                <c:pt idx="520">
                  <c:v>0.51861490302690405</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0.51893188761453879</c:v>
                </c:pt>
                <c:pt idx="534">
                  <c:v>0.51006690258522247</c:v>
                </c:pt>
                <c:pt idx="535">
                  <c:v>0.51184529204528939</c:v>
                </c:pt>
                <c:pt idx="536">
                  <c:v>0.51165821610428952</c:v>
                </c:pt>
                <c:pt idx="537">
                  <c:v>0.51442293345377266</c:v>
                </c:pt>
                <c:pt idx="538">
                  <c:v>0.51633801727010475</c:v>
                </c:pt>
                <c:pt idx="539">
                  <c:v>0.51922675051706357</c:v>
                </c:pt>
                <c:pt idx="540">
                  <c:v>0.52079810423456074</c:v>
                </c:pt>
                <c:pt idx="541">
                  <c:v>0.51208706004656235</c:v>
                </c:pt>
                <c:pt idx="542">
                  <c:v>0.50443454356149287</c:v>
                </c:pt>
                <c:pt idx="543">
                  <c:v>0.51113507750665454</c:v>
                </c:pt>
                <c:pt idx="544">
                  <c:v>0.5130584183998087</c:v>
                </c:pt>
                <c:pt idx="545">
                  <c:v>0.5153087184304288</c:v>
                </c:pt>
                <c:pt idx="546">
                  <c:v>0.51811571468763828</c:v>
                </c:pt>
                <c:pt idx="547">
                  <c:v>#N/A</c:v>
                </c:pt>
                <c:pt idx="548">
                  <c:v>#N/A</c:v>
                </c:pt>
                <c:pt idx="549">
                  <c:v>#N/A</c:v>
                </c:pt>
                <c:pt idx="550">
                  <c:v>0.52095675868778712</c:v>
                </c:pt>
                <c:pt idx="551">
                  <c:v>#N/A</c:v>
                </c:pt>
                <c:pt idx="552">
                  <c:v>#N/A</c:v>
                </c:pt>
                <c:pt idx="553">
                  <c:v>#N/A</c:v>
                </c:pt>
                <c:pt idx="554">
                  <c:v>#N/A</c:v>
                </c:pt>
                <c:pt idx="555">
                  <c:v>#N/A</c:v>
                </c:pt>
                <c:pt idx="556">
                  <c:v>#N/A</c:v>
                </c:pt>
                <c:pt idx="557">
                  <c:v>#N/A</c:v>
                </c:pt>
                <c:pt idx="558">
                  <c:v>0.52093323153518556</c:v>
                </c:pt>
                <c:pt idx="559">
                  <c:v>0.51898570128395494</c:v>
                </c:pt>
                <c:pt idx="560">
                  <c:v>0.51420915530156042</c:v>
                </c:pt>
                <c:pt idx="561">
                  <c:v>0.51105381666297178</c:v>
                </c:pt>
                <c:pt idx="562">
                  <c:v>0.52086836222200161</c:v>
                </c:pt>
                <c:pt idx="563">
                  <c:v>#N/A</c:v>
                </c:pt>
                <c:pt idx="564">
                  <c:v>#N/A</c:v>
                </c:pt>
                <c:pt idx="565">
                  <c:v>0.5131313131313131</c:v>
                </c:pt>
                <c:pt idx="566">
                  <c:v>0.51928335406307491</c:v>
                </c:pt>
                <c:pt idx="567">
                  <c:v>#N/A</c:v>
                </c:pt>
                <c:pt idx="568">
                  <c:v>0.51238057321304264</c:v>
                </c:pt>
                <c:pt idx="569">
                  <c:v>#N/A</c:v>
                </c:pt>
                <c:pt idx="570">
                  <c:v>0.51578321214235001</c:v>
                </c:pt>
                <c:pt idx="571">
                  <c:v>0.51676918186728704</c:v>
                </c:pt>
                <c:pt idx="572">
                  <c:v>0.51629514814368804</c:v>
                </c:pt>
                <c:pt idx="573">
                  <c:v>0.51304171109086594</c:v>
                </c:pt>
                <c:pt idx="574">
                  <c:v>0.51731293389956756</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0</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0.51087244972942425</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0.51744733269499321</c:v>
                </c:pt>
                <c:pt idx="632">
                  <c:v>0.51528675203588004</c:v>
                </c:pt>
                <c:pt idx="633">
                  <c:v>0.5152968149574324</c:v>
                </c:pt>
                <c:pt idx="634">
                  <c:v>0.51395260676390619</c:v>
                </c:pt>
                <c:pt idx="635">
                  <c:v>0.51767416176797576</c:v>
                </c:pt>
                <c:pt idx="636">
                  <c:v>0.51453439304214788</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0.51972541645943293</c:v>
                </c:pt>
                <c:pt idx="663">
                  <c:v>#N/A</c:v>
                </c:pt>
                <c:pt idx="664">
                  <c:v>#N/A</c:v>
                </c:pt>
                <c:pt idx="665">
                  <c:v>0.51877562873465655</c:v>
                </c:pt>
                <c:pt idx="666">
                  <c:v>0.52077312118203523</c:v>
                </c:pt>
                <c:pt idx="667">
                  <c:v>0.51638056987928793</c:v>
                </c:pt>
                <c:pt idx="668">
                  <c:v>0.50968206644271163</c:v>
                </c:pt>
                <c:pt idx="669">
                  <c:v>0.50939348660199113</c:v>
                </c:pt>
                <c:pt idx="670">
                  <c:v>0.51508746260056582</c:v>
                </c:pt>
                <c:pt idx="671">
                  <c:v>#N/A</c:v>
                </c:pt>
                <c:pt idx="672">
                  <c:v>0.51894072186532914</c:v>
                </c:pt>
                <c:pt idx="673">
                  <c:v>0.52047198941402895</c:v>
                </c:pt>
                <c:pt idx="674">
                  <c:v>#N/A</c:v>
                </c:pt>
                <c:pt idx="675">
                  <c:v>#N/A</c:v>
                </c:pt>
                <c:pt idx="676">
                  <c:v>0.51995411096768607</c:v>
                </c:pt>
                <c:pt idx="677">
                  <c:v>0.51678724292702594</c:v>
                </c:pt>
                <c:pt idx="678">
                  <c:v>0.51487958240425313</c:v>
                </c:pt>
                <c:pt idx="679">
                  <c:v>#N/A</c:v>
                </c:pt>
                <c:pt idx="680">
                  <c:v>#N/A</c:v>
                </c:pt>
                <c:pt idx="681">
                  <c:v>#N/A</c:v>
                </c:pt>
                <c:pt idx="682">
                  <c:v>#N/A</c:v>
                </c:pt>
                <c:pt idx="683">
                  <c:v>#N/A</c:v>
                </c:pt>
                <c:pt idx="684">
                  <c:v>#N/A</c:v>
                </c:pt>
                <c:pt idx="685">
                  <c:v>0.52052806809790797</c:v>
                </c:pt>
                <c:pt idx="686">
                  <c:v>#N/A</c:v>
                </c:pt>
                <c:pt idx="687">
                  <c:v>#N/A</c:v>
                </c:pt>
                <c:pt idx="688">
                  <c:v>0.51860177719621448</c:v>
                </c:pt>
                <c:pt idx="689">
                  <c:v>0.51683811837546434</c:v>
                </c:pt>
                <c:pt idx="690">
                  <c:v>0.51590968726835706</c:v>
                </c:pt>
                <c:pt idx="691">
                  <c:v>#N/A</c:v>
                </c:pt>
                <c:pt idx="692">
                  <c:v>0.52079330173301497</c:v>
                </c:pt>
                <c:pt idx="693">
                  <c:v>0.51915130698675638</c:v>
                </c:pt>
                <c:pt idx="694">
                  <c:v>0.51797349054329689</c:v>
                </c:pt>
                <c:pt idx="695">
                  <c:v>0.51740034068295704</c:v>
                </c:pt>
                <c:pt idx="696">
                  <c:v>0.51757912513152482</c:v>
                </c:pt>
                <c:pt idx="697">
                  <c:v>0.51649247556212508</c:v>
                </c:pt>
                <c:pt idx="698">
                  <c:v>0.51549496891771496</c:v>
                </c:pt>
                <c:pt idx="699">
                  <c:v>0.51350890364813429</c:v>
                </c:pt>
                <c:pt idx="700">
                  <c:v>0.51312006955987111</c:v>
                </c:pt>
                <c:pt idx="701">
                  <c:v>0.51194538731242045</c:v>
                </c:pt>
                <c:pt idx="702">
                  <c:v>0.51305516997699274</c:v>
                </c:pt>
                <c:pt idx="703">
                  <c:v>0.50488719185451647</c:v>
                </c:pt>
                <c:pt idx="704">
                  <c:v>0.50680306765788452</c:v>
                </c:pt>
                <c:pt idx="705">
                  <c:v>0.50591976438689468</c:v>
                </c:pt>
                <c:pt idx="706">
                  <c:v>0.50650631474457886</c:v>
                </c:pt>
                <c:pt idx="707">
                  <c:v>0.51618409833945311</c:v>
                </c:pt>
                <c:pt idx="708">
                  <c:v>0.5160818295079046</c:v>
                </c:pt>
                <c:pt idx="709">
                  <c:v>0.51174251838103413</c:v>
                </c:pt>
                <c:pt idx="710">
                  <c:v>0.50830789261236298</c:v>
                </c:pt>
                <c:pt idx="711">
                  <c:v>0.5054958481416193</c:v>
                </c:pt>
                <c:pt idx="712">
                  <c:v>0.50174669071549338</c:v>
                </c:pt>
                <c:pt idx="713">
                  <c:v>0.50079215955638667</c:v>
                </c:pt>
                <c:pt idx="714">
                  <c:v>0.50203783558566539</c:v>
                </c:pt>
                <c:pt idx="715">
                  <c:v>0.49974004775421121</c:v>
                </c:pt>
                <c:pt idx="716">
                  <c:v>0.50458900770735071</c:v>
                </c:pt>
                <c:pt idx="717">
                  <c:v>0.50584619811589127</c:v>
                </c:pt>
                <c:pt idx="718">
                  <c:v>0.51074578765862488</c:v>
                </c:pt>
                <c:pt idx="719">
                  <c:v>0.51668100087097557</c:v>
                </c:pt>
                <c:pt idx="720">
                  <c:v>0.51270593243573426</c:v>
                </c:pt>
                <c:pt idx="721">
                  <c:v>0.51171988491522402</c:v>
                </c:pt>
                <c:pt idx="722">
                  <c:v>0.50522738788091426</c:v>
                </c:pt>
                <c:pt idx="723">
                  <c:v>0.50585636858690408</c:v>
                </c:pt>
                <c:pt idx="724">
                  <c:v>0.50478362263122878</c:v>
                </c:pt>
                <c:pt idx="725">
                  <c:v>0.50384138150568791</c:v>
                </c:pt>
                <c:pt idx="726">
                  <c:v>0.50734333878962956</c:v>
                </c:pt>
                <c:pt idx="727">
                  <c:v>0.50908154264486682</c:v>
                </c:pt>
                <c:pt idx="728">
                  <c:v>0.50798267664272012</c:v>
                </c:pt>
                <c:pt idx="729">
                  <c:v>0.51033212523159954</c:v>
                </c:pt>
                <c:pt idx="730">
                  <c:v>0.51342293253068094</c:v>
                </c:pt>
                <c:pt idx="731">
                  <c:v>0.50742934077548896</c:v>
                </c:pt>
                <c:pt idx="732">
                  <c:v>0.51481288592277796</c:v>
                </c:pt>
                <c:pt idx="733">
                  <c:v>0.51207583051663264</c:v>
                </c:pt>
                <c:pt idx="734">
                  <c:v>0.51530519180480505</c:v>
                </c:pt>
                <c:pt idx="735">
                  <c:v>0.5107570377906846</c:v>
                </c:pt>
                <c:pt idx="736">
                  <c:v>0.511132247180623</c:v>
                </c:pt>
                <c:pt idx="737">
                  <c:v>0.50914483477156114</c:v>
                </c:pt>
                <c:pt idx="738">
                  <c:v>0.50613755858833187</c:v>
                </c:pt>
                <c:pt idx="739">
                  <c:v>0.51695435835555426</c:v>
                </c:pt>
                <c:pt idx="740">
                  <c:v>#N/A</c:v>
                </c:pt>
                <c:pt idx="741">
                  <c:v>#N/A</c:v>
                </c:pt>
                <c:pt idx="742">
                  <c:v>#N/A</c:v>
                </c:pt>
                <c:pt idx="743">
                  <c:v>0.52009012893266515</c:v>
                </c:pt>
                <c:pt idx="744">
                  <c:v>0.52031510289428662</c:v>
                </c:pt>
                <c:pt idx="745">
                  <c:v>0.52040077772824178</c:v>
                </c:pt>
                <c:pt idx="746">
                  <c:v>0.51333376398885455</c:v>
                </c:pt>
                <c:pt idx="747">
                  <c:v>0.5096453527904703</c:v>
                </c:pt>
                <c:pt idx="748">
                  <c:v>0.51504158205691719</c:v>
                </c:pt>
                <c:pt idx="749">
                  <c:v>#N/A</c:v>
                </c:pt>
                <c:pt idx="750">
                  <c:v>#N/A</c:v>
                </c:pt>
                <c:pt idx="751">
                  <c:v>0.51810043885694712</c:v>
                </c:pt>
                <c:pt idx="752">
                  <c:v>0.51715882569515026</c:v>
                </c:pt>
                <c:pt idx="753">
                  <c:v>0.50551764385904963</c:v>
                </c:pt>
                <c:pt idx="754">
                  <c:v>0.51314586132489659</c:v>
                </c:pt>
                <c:pt idx="755">
                  <c:v>0.51799500032462864</c:v>
                </c:pt>
                <c:pt idx="756">
                  <c:v>#N/A</c:v>
                </c:pt>
                <c:pt idx="757">
                  <c:v>#N/A</c:v>
                </c:pt>
                <c:pt idx="758">
                  <c:v>#N/A</c:v>
                </c:pt>
                <c:pt idx="759">
                  <c:v>0.51679386513704173</c:v>
                </c:pt>
                <c:pt idx="760">
                  <c:v>0.51866786801986542</c:v>
                </c:pt>
                <c:pt idx="761">
                  <c:v>#N/A</c:v>
                </c:pt>
                <c:pt idx="762">
                  <c:v>#N/A</c:v>
                </c:pt>
                <c:pt idx="763">
                  <c:v>#N/A</c:v>
                </c:pt>
                <c:pt idx="764">
                  <c:v>#N/A</c:v>
                </c:pt>
                <c:pt idx="765">
                  <c:v>#N/A</c:v>
                </c:pt>
                <c:pt idx="766">
                  <c:v>#N/A</c:v>
                </c:pt>
                <c:pt idx="767">
                  <c:v>#N/A</c:v>
                </c:pt>
                <c:pt idx="768">
                  <c:v>#N/A</c:v>
                </c:pt>
                <c:pt idx="769">
                  <c:v>#N/A</c:v>
                </c:pt>
                <c:pt idx="770">
                  <c:v>0.52009456349872907</c:v>
                </c:pt>
                <c:pt idx="771">
                  <c:v>#N/A</c:v>
                </c:pt>
                <c:pt idx="772">
                  <c:v>#N/A</c:v>
                </c:pt>
                <c:pt idx="773">
                  <c:v>0.51715266075743038</c:v>
                </c:pt>
                <c:pt idx="774">
                  <c:v>0.51658259629233605</c:v>
                </c:pt>
                <c:pt idx="775">
                  <c:v>0.51851742842174042</c:v>
                </c:pt>
                <c:pt idx="776">
                  <c:v>#N/A</c:v>
                </c:pt>
                <c:pt idx="777">
                  <c:v>#N/A</c:v>
                </c:pt>
                <c:pt idx="778">
                  <c:v>#N/A</c:v>
                </c:pt>
                <c:pt idx="779">
                  <c:v>0.52003819342395341</c:v>
                </c:pt>
                <c:pt idx="780">
                  <c:v>0.51755090704587292</c:v>
                </c:pt>
                <c:pt idx="781">
                  <c:v>0.51356381988119015</c:v>
                </c:pt>
                <c:pt idx="782">
                  <c:v>0.51892952108414991</c:v>
                </c:pt>
                <c:pt idx="783">
                  <c:v>#N/A</c:v>
                </c:pt>
                <c:pt idx="784">
                  <c:v>#N/A</c:v>
                </c:pt>
                <c:pt idx="785">
                  <c:v>0.51719434737790249</c:v>
                </c:pt>
                <c:pt idx="786">
                  <c:v>#N/A</c:v>
                </c:pt>
                <c:pt idx="787">
                  <c:v>#N/A</c:v>
                </c:pt>
                <c:pt idx="788">
                  <c:v>0.51956390379451922</c:v>
                </c:pt>
                <c:pt idx="789">
                  <c:v>0.51888216025914469</c:v>
                </c:pt>
                <c:pt idx="790">
                  <c:v>0.51826895513525995</c:v>
                </c:pt>
                <c:pt idx="791">
                  <c:v>0.51003249964867647</c:v>
                </c:pt>
                <c:pt idx="792">
                  <c:v>0.51699519568515151</c:v>
                </c:pt>
                <c:pt idx="793">
                  <c:v>0.51182173070144987</c:v>
                </c:pt>
                <c:pt idx="794">
                  <c:v>0.51111502711578305</c:v>
                </c:pt>
                <c:pt idx="795">
                  <c:v>#N/A</c:v>
                </c:pt>
                <c:pt idx="796">
                  <c:v>#N/A</c:v>
                </c:pt>
                <c:pt idx="797">
                  <c:v>#N/A</c:v>
                </c:pt>
                <c:pt idx="798">
                  <c:v>#N/A</c:v>
                </c:pt>
                <c:pt idx="799">
                  <c:v>#N/A</c:v>
                </c:pt>
                <c:pt idx="800">
                  <c:v>#N/A</c:v>
                </c:pt>
                <c:pt idx="801">
                  <c:v>0.51869198759732238</c:v>
                </c:pt>
                <c:pt idx="802">
                  <c:v>0.51915726098403292</c:v>
                </c:pt>
                <c:pt idx="803">
                  <c:v>0.51743421370616161</c:v>
                </c:pt>
                <c:pt idx="804">
                  <c:v>0.51893446404789667</c:v>
                </c:pt>
                <c:pt idx="805">
                  <c:v>#N/A</c:v>
                </c:pt>
                <c:pt idx="806">
                  <c:v>#N/A</c:v>
                </c:pt>
                <c:pt idx="807">
                  <c:v>#N/A</c:v>
                </c:pt>
                <c:pt idx="808">
                  <c:v>0.51036077513147549</c:v>
                </c:pt>
                <c:pt idx="809">
                  <c:v>0.51945121135999639</c:v>
                </c:pt>
                <c:pt idx="810">
                  <c:v>0.51689399999784957</c:v>
                </c:pt>
                <c:pt idx="811">
                  <c:v>0.51699216958044381</c:v>
                </c:pt>
                <c:pt idx="812">
                  <c:v>#N/A</c:v>
                </c:pt>
                <c:pt idx="813">
                  <c:v>#N/A</c:v>
                </c:pt>
                <c:pt idx="814">
                  <c:v>#N/A</c:v>
                </c:pt>
                <c:pt idx="815">
                  <c:v>#N/A</c:v>
                </c:pt>
                <c:pt idx="816">
                  <c:v>0.5121328373686046</c:v>
                </c:pt>
                <c:pt idx="817">
                  <c:v>0.51112379438316891</c:v>
                </c:pt>
                <c:pt idx="818">
                  <c:v>0.51494862558493104</c:v>
                </c:pt>
                <c:pt idx="819">
                  <c:v>0.51097583826373472</c:v>
                </c:pt>
                <c:pt idx="820">
                  <c:v>0.5131247481669422</c:v>
                </c:pt>
                <c:pt idx="821">
                  <c:v>#N/A</c:v>
                </c:pt>
                <c:pt idx="822">
                  <c:v>#N/A</c:v>
                </c:pt>
                <c:pt idx="823">
                  <c:v>0.52026568206736024</c:v>
                </c:pt>
                <c:pt idx="824">
                  <c:v>0.51569640465383215</c:v>
                </c:pt>
                <c:pt idx="825">
                  <c:v>#N/A</c:v>
                </c:pt>
                <c:pt idx="826">
                  <c:v>#N/A</c:v>
                </c:pt>
                <c:pt idx="827">
                  <c:v>#N/A</c:v>
                </c:pt>
                <c:pt idx="828">
                  <c:v>#N/A</c:v>
                </c:pt>
                <c:pt idx="829">
                  <c:v>#N/A</c:v>
                </c:pt>
                <c:pt idx="830">
                  <c:v>#N/A</c:v>
                </c:pt>
                <c:pt idx="831">
                  <c:v>#N/A</c:v>
                </c:pt>
                <c:pt idx="832">
                  <c:v>#N/A</c:v>
                </c:pt>
                <c:pt idx="833">
                  <c:v>0.52064995775005096</c:v>
                </c:pt>
                <c:pt idx="834">
                  <c:v>#N/A</c:v>
                </c:pt>
                <c:pt idx="835">
                  <c:v>#N/A</c:v>
                </c:pt>
                <c:pt idx="836">
                  <c:v>#N/A</c:v>
                </c:pt>
                <c:pt idx="837">
                  <c:v>0.52037627219941285</c:v>
                </c:pt>
                <c:pt idx="838">
                  <c:v>0.52087221472608136</c:v>
                </c:pt>
                <c:pt idx="839">
                  <c:v>#N/A</c:v>
                </c:pt>
                <c:pt idx="840">
                  <c:v>#N/A</c:v>
                </c:pt>
                <c:pt idx="841">
                  <c:v>#N/A</c:v>
                </c:pt>
                <c:pt idx="842">
                  <c:v>#N/A</c:v>
                </c:pt>
                <c:pt idx="843">
                  <c:v>#N/A</c:v>
                </c:pt>
                <c:pt idx="844">
                  <c:v>#N/A</c:v>
                </c:pt>
                <c:pt idx="845">
                  <c:v>0.51797565981072657</c:v>
                </c:pt>
                <c:pt idx="846">
                  <c:v>0.51394087594279791</c:v>
                </c:pt>
                <c:pt idx="847">
                  <c:v>0.50922321164471041</c:v>
                </c:pt>
                <c:pt idx="848">
                  <c:v>0.51191123355701529</c:v>
                </c:pt>
                <c:pt idx="849">
                  <c:v>0.50854892044045164</c:v>
                </c:pt>
                <c:pt idx="850">
                  <c:v>0.51292750696526934</c:v>
                </c:pt>
                <c:pt idx="851">
                  <c:v>0.51972418416739119</c:v>
                </c:pt>
                <c:pt idx="852">
                  <c:v>0.51920928775854325</c:v>
                </c:pt>
                <c:pt idx="853">
                  <c:v>#N/A</c:v>
                </c:pt>
                <c:pt idx="854">
                  <c:v>0.51330862707910685</c:v>
                </c:pt>
                <c:pt idx="855">
                  <c:v>0.51282095611417045</c:v>
                </c:pt>
                <c:pt idx="856">
                  <c:v>0.51734626733338418</c:v>
                </c:pt>
                <c:pt idx="857">
                  <c:v>0.51267797465881537</c:v>
                </c:pt>
                <c:pt idx="858">
                  <c:v>0.50911830602117503</c:v>
                </c:pt>
                <c:pt idx="859">
                  <c:v>0.50704773911315604</c:v>
                </c:pt>
                <c:pt idx="860">
                  <c:v>0.50780070144303424</c:v>
                </c:pt>
                <c:pt idx="861">
                  <c:v>0.51093269782901229</c:v>
                </c:pt>
                <c:pt idx="862">
                  <c:v>0.51988349127565714</c:v>
                </c:pt>
                <c:pt idx="863">
                  <c:v>#N/A</c:v>
                </c:pt>
                <c:pt idx="864">
                  <c:v>#N/A</c:v>
                </c:pt>
                <c:pt idx="865">
                  <c:v>#N/A</c:v>
                </c:pt>
                <c:pt idx="866">
                  <c:v>#N/A</c:v>
                </c:pt>
                <c:pt idx="867">
                  <c:v>0.5169366992733655</c:v>
                </c:pt>
                <c:pt idx="868">
                  <c:v>#N/A</c:v>
                </c:pt>
                <c:pt idx="869">
                  <c:v>#N/A</c:v>
                </c:pt>
                <c:pt idx="870">
                  <c:v>#N/A</c:v>
                </c:pt>
                <c:pt idx="871">
                  <c:v>#N/A</c:v>
                </c:pt>
                <c:pt idx="872">
                  <c:v>0.51940703327818027</c:v>
                </c:pt>
                <c:pt idx="873">
                  <c:v>0.51618836631495535</c:v>
                </c:pt>
                <c:pt idx="874">
                  <c:v>0.51306377491369759</c:v>
                </c:pt>
                <c:pt idx="875">
                  <c:v>#N/A</c:v>
                </c:pt>
                <c:pt idx="876">
                  <c:v>0.5173225331544079</c:v>
                </c:pt>
                <c:pt idx="877">
                  <c:v>0.52049167411031294</c:v>
                </c:pt>
                <c:pt idx="878">
                  <c:v>0.5141844238308646</c:v>
                </c:pt>
                <c:pt idx="879">
                  <c:v>0.50725834957743676</c:v>
                </c:pt>
                <c:pt idx="880">
                  <c:v>0.51305311731722769</c:v>
                </c:pt>
                <c:pt idx="881">
                  <c:v>0.51549058403225856</c:v>
                </c:pt>
                <c:pt idx="882">
                  <c:v>0.51932342896829053</c:v>
                </c:pt>
                <c:pt idx="883">
                  <c:v>#N/A</c:v>
                </c:pt>
                <c:pt idx="884">
                  <c:v>#N/A</c:v>
                </c:pt>
                <c:pt idx="885">
                  <c:v>0.51228223100544923</c:v>
                </c:pt>
                <c:pt idx="886">
                  <c:v>0.51246044457613205</c:v>
                </c:pt>
                <c:pt idx="887">
                  <c:v>0.50982681424496434</c:v>
                </c:pt>
                <c:pt idx="888">
                  <c:v>0.51932609267116614</c:v>
                </c:pt>
                <c:pt idx="889">
                  <c:v>0.51887740583032982</c:v>
                </c:pt>
                <c:pt idx="890">
                  <c:v>0.51712476251968953</c:v>
                </c:pt>
                <c:pt idx="891">
                  <c:v>0.51829132467070871</c:v>
                </c:pt>
                <c:pt idx="892">
                  <c:v>0.51984442873008974</c:v>
                </c:pt>
                <c:pt idx="893">
                  <c:v>0.52065434608975902</c:v>
                </c:pt>
                <c:pt idx="894">
                  <c:v>0.51922882262229719</c:v>
                </c:pt>
                <c:pt idx="895">
                  <c:v>#N/A</c:v>
                </c:pt>
                <c:pt idx="896">
                  <c:v>#N/A</c:v>
                </c:pt>
                <c:pt idx="897">
                  <c:v>0.51972993002823886</c:v>
                </c:pt>
                <c:pt idx="898">
                  <c:v>0.51209884400311778</c:v>
                </c:pt>
                <c:pt idx="899">
                  <c:v>0.51595132942903499</c:v>
                </c:pt>
                <c:pt idx="900">
                  <c:v>#N/A</c:v>
                </c:pt>
                <c:pt idx="901">
                  <c:v>0.52093141995841463</c:v>
                </c:pt>
                <c:pt idx="902">
                  <c:v>#N/A</c:v>
                </c:pt>
                <c:pt idx="903">
                  <c:v>0.51898491924208989</c:v>
                </c:pt>
                <c:pt idx="904">
                  <c:v>0.5161049698263116</c:v>
                </c:pt>
                <c:pt idx="905">
                  <c:v>0.51899346074748298</c:v>
                </c:pt>
                <c:pt idx="906">
                  <c:v>0.5179525643261681</c:v>
                </c:pt>
                <c:pt idx="907">
                  <c:v>0.51837307733754123</c:v>
                </c:pt>
                <c:pt idx="908">
                  <c:v>#N/A</c:v>
                </c:pt>
                <c:pt idx="909">
                  <c:v>#N/A</c:v>
                </c:pt>
                <c:pt idx="910">
                  <c:v>#N/A</c:v>
                </c:pt>
                <c:pt idx="911">
                  <c:v>#N/A</c:v>
                </c:pt>
                <c:pt idx="912">
                  <c:v>0.51796800443372637</c:v>
                </c:pt>
                <c:pt idx="913">
                  <c:v>0.51221607659322832</c:v>
                </c:pt>
                <c:pt idx="914">
                  <c:v>0.51575802447694441</c:v>
                </c:pt>
                <c:pt idx="915">
                  <c:v>#N/A</c:v>
                </c:pt>
                <c:pt idx="916">
                  <c:v>#N/A</c:v>
                </c:pt>
                <c:pt idx="917">
                  <c:v>#N/A</c:v>
                </c:pt>
                <c:pt idx="918">
                  <c:v>#N/A</c:v>
                </c:pt>
                <c:pt idx="919">
                  <c:v>#N/A</c:v>
                </c:pt>
                <c:pt idx="920">
                  <c:v>#N/A</c:v>
                </c:pt>
                <c:pt idx="921">
                  <c:v>#N/A</c:v>
                </c:pt>
                <c:pt idx="922">
                  <c:v>#N/A</c:v>
                </c:pt>
                <c:pt idx="923">
                  <c:v>0.51538053913988846</c:v>
                </c:pt>
                <c:pt idx="924">
                  <c:v>0.51315313826399367</c:v>
                </c:pt>
                <c:pt idx="925">
                  <c:v>0.51989146551325649</c:v>
                </c:pt>
                <c:pt idx="926">
                  <c:v>#N/A</c:v>
                </c:pt>
                <c:pt idx="927">
                  <c:v>0.5116369921528755</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0.51887354737800129</c:v>
                </c:pt>
                <c:pt idx="945">
                  <c:v>#N/A</c:v>
                </c:pt>
                <c:pt idx="946">
                  <c:v>#N/A</c:v>
                </c:pt>
                <c:pt idx="947">
                  <c:v>#N/A</c:v>
                </c:pt>
                <c:pt idx="948">
                  <c:v>0.51943127945842027</c:v>
                </c:pt>
                <c:pt idx="949">
                  <c:v>0.52076262707304322</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0.5195305737546928</c:v>
                </c:pt>
                <c:pt idx="982">
                  <c:v>#N/A</c:v>
                </c:pt>
                <c:pt idx="983">
                  <c:v>0.51774984789311951</c:v>
                </c:pt>
                <c:pt idx="984">
                  <c:v>#N/A</c:v>
                </c:pt>
                <c:pt idx="985">
                  <c:v>0.51670650513818894</c:v>
                </c:pt>
                <c:pt idx="986">
                  <c:v>0.51626330739626825</c:v>
                </c:pt>
                <c:pt idx="987">
                  <c:v>0.51476007424965742</c:v>
                </c:pt>
                <c:pt idx="988">
                  <c:v>0.51816795837896623</c:v>
                </c:pt>
                <c:pt idx="989">
                  <c:v>0.51555430279108572</c:v>
                </c:pt>
                <c:pt idx="990">
                  <c:v>0.51165411327804766</c:v>
                </c:pt>
                <c:pt idx="991">
                  <c:v>0.51325083426646356</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0.51978403237571758</c:v>
                </c:pt>
                <c:pt idx="1070">
                  <c:v>#N/A</c:v>
                </c:pt>
                <c:pt idx="1071">
                  <c:v>#N/A</c:v>
                </c:pt>
                <c:pt idx="1072">
                  <c:v>#N/A</c:v>
                </c:pt>
                <c:pt idx="1073">
                  <c:v>#N/A</c:v>
                </c:pt>
                <c:pt idx="1074">
                  <c:v>0.51834323492667556</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numCache>
            </c:numRef>
          </c:xVal>
          <c:yVal>
            <c:numRef>
              <c:f>Sheet2!$L$3:$L$1098</c:f>
              <c:numCache>
                <c:formatCode>General</c:formatCode>
                <c:ptCount val="1096"/>
                <c:pt idx="0">
                  <c:v>#N/A</c:v>
                </c:pt>
                <c:pt idx="1">
                  <c:v>#N/A</c:v>
                </c:pt>
                <c:pt idx="2">
                  <c:v>619.00755324179613</c:v>
                </c:pt>
                <c:pt idx="3">
                  <c:v>623.45703516178628</c:v>
                </c:pt>
                <c:pt idx="4">
                  <c:v>634.95266671420575</c:v>
                </c:pt>
                <c:pt idx="5">
                  <c:v>642.51898371690368</c:v>
                </c:pt>
                <c:pt idx="6">
                  <c:v>#N/A</c:v>
                </c:pt>
                <c:pt idx="7">
                  <c:v>639.41716543601149</c:v>
                </c:pt>
                <c:pt idx="8">
                  <c:v>#N/A</c:v>
                </c:pt>
                <c:pt idx="9">
                  <c:v>641.40040562474655</c:v>
                </c:pt>
                <c:pt idx="10">
                  <c:v>632.92741920641402</c:v>
                </c:pt>
                <c:pt idx="11">
                  <c:v>631.17583705295317</c:v>
                </c:pt>
                <c:pt idx="12">
                  <c:v>636.58654242827765</c:v>
                </c:pt>
                <c:pt idx="13">
                  <c:v>#N/A</c:v>
                </c:pt>
                <c:pt idx="14">
                  <c:v>642.5420726836353</c:v>
                </c:pt>
                <c:pt idx="15">
                  <c:v>626.54936169236771</c:v>
                </c:pt>
                <c:pt idx="16">
                  <c:v>628.23656864340194</c:v>
                </c:pt>
                <c:pt idx="17">
                  <c:v>#N/A</c:v>
                </c:pt>
                <c:pt idx="18">
                  <c:v>#N/A</c:v>
                </c:pt>
                <c:pt idx="19">
                  <c:v>628.12145240323537</c:v>
                </c:pt>
                <c:pt idx="20">
                  <c:v>633.16058553924825</c:v>
                </c:pt>
                <c:pt idx="21">
                  <c:v>637.43355707088165</c:v>
                </c:pt>
                <c:pt idx="22">
                  <c:v>639.67492114477136</c:v>
                </c:pt>
                <c:pt idx="23">
                  <c:v>641.34102846382268</c:v>
                </c:pt>
                <c:pt idx="24">
                  <c:v>634.17171904416193</c:v>
                </c:pt>
                <c:pt idx="25">
                  <c:v>#N/A</c:v>
                </c:pt>
                <c:pt idx="26">
                  <c:v>#N/A</c:v>
                </c:pt>
                <c:pt idx="27">
                  <c:v>#N/A</c:v>
                </c:pt>
                <c:pt idx="28">
                  <c:v>643.81239555251227</c:v>
                </c:pt>
                <c:pt idx="29">
                  <c:v>644.70658195110718</c:v>
                </c:pt>
                <c:pt idx="30">
                  <c:v>650.60028131688364</c:v>
                </c:pt>
                <c:pt idx="31">
                  <c:v>#N/A</c:v>
                </c:pt>
                <c:pt idx="32">
                  <c:v>667.9569700443908</c:v>
                </c:pt>
                <c:pt idx="33">
                  <c:v>662.96969748815525</c:v>
                </c:pt>
                <c:pt idx="34">
                  <c:v>662.80271686483638</c:v>
                </c:pt>
                <c:pt idx="35">
                  <c:v>#N/A</c:v>
                </c:pt>
                <c:pt idx="36">
                  <c:v>658.10427022905264</c:v>
                </c:pt>
                <c:pt idx="37">
                  <c:v>#N/A</c:v>
                </c:pt>
                <c:pt idx="38">
                  <c:v>652.92507640237648</c:v>
                </c:pt>
                <c:pt idx="39">
                  <c:v>651.60438730308817</c:v>
                </c:pt>
                <c:pt idx="40">
                  <c:v>648.31445665551939</c:v>
                </c:pt>
                <c:pt idx="41">
                  <c:v>666.70332799780863</c:v>
                </c:pt>
                <c:pt idx="42">
                  <c:v>#N/A</c:v>
                </c:pt>
                <c:pt idx="43">
                  <c:v>#N/A</c:v>
                </c:pt>
                <c:pt idx="44">
                  <c:v>#N/A</c:v>
                </c:pt>
                <c:pt idx="45">
                  <c:v>#N/A</c:v>
                </c:pt>
                <c:pt idx="46">
                  <c:v>#N/A</c:v>
                </c:pt>
                <c:pt idx="47">
                  <c:v>#N/A</c:v>
                </c:pt>
                <c:pt idx="48">
                  <c:v>#N/A</c:v>
                </c:pt>
                <c:pt idx="49">
                  <c:v>650.13080227823923</c:v>
                </c:pt>
                <c:pt idx="50">
                  <c:v>#N/A</c:v>
                </c:pt>
                <c:pt idx="51">
                  <c:v>658.40591341486311</c:v>
                </c:pt>
                <c:pt idx="52">
                  <c:v>#N/A</c:v>
                </c:pt>
                <c:pt idx="53">
                  <c:v>653.67716129231655</c:v>
                </c:pt>
                <c:pt idx="54">
                  <c:v>656.8048335624203</c:v>
                </c:pt>
                <c:pt idx="55">
                  <c:v>629.14464539059247</c:v>
                </c:pt>
                <c:pt idx="56">
                  <c:v>624.31484102217792</c:v>
                </c:pt>
                <c:pt idx="57">
                  <c:v>657.33755356291272</c:v>
                </c:pt>
                <c:pt idx="58">
                  <c:v>650.30928829246557</c:v>
                </c:pt>
                <c:pt idx="59">
                  <c:v>646.20222165987695</c:v>
                </c:pt>
                <c:pt idx="60">
                  <c:v>625.3423913753594</c:v>
                </c:pt>
                <c:pt idx="61">
                  <c:v>636.1611643022818</c:v>
                </c:pt>
                <c:pt idx="62">
                  <c:v>635.60615509855427</c:v>
                </c:pt>
                <c:pt idx="63">
                  <c:v>636.35074267677464</c:v>
                </c:pt>
                <c:pt idx="64">
                  <c:v>#N/A</c:v>
                </c:pt>
                <c:pt idx="65">
                  <c:v>#N/A</c:v>
                </c:pt>
                <c:pt idx="66">
                  <c:v>637.66071668053814</c:v>
                </c:pt>
                <c:pt idx="67">
                  <c:v>649.35064779921106</c:v>
                </c:pt>
                <c:pt idx="68">
                  <c:v>#N/A</c:v>
                </c:pt>
                <c:pt idx="69">
                  <c:v>677.14711168578037</c:v>
                </c:pt>
                <c:pt idx="70">
                  <c:v>650.10461703244482</c:v>
                </c:pt>
                <c:pt idx="71">
                  <c:v>#N/A</c:v>
                </c:pt>
                <c:pt idx="72">
                  <c:v>648.66295753038651</c:v>
                </c:pt>
                <c:pt idx="73">
                  <c:v>#N/A</c:v>
                </c:pt>
                <c:pt idx="74">
                  <c:v>634.78948753181942</c:v>
                </c:pt>
                <c:pt idx="75">
                  <c:v>634.46551427153781</c:v>
                </c:pt>
                <c:pt idx="76">
                  <c:v>636.28240878161455</c:v>
                </c:pt>
                <c:pt idx="77">
                  <c:v>621.53063056452459</c:v>
                </c:pt>
                <c:pt idx="78">
                  <c:v>629.02860952572212</c:v>
                </c:pt>
                <c:pt idx="79">
                  <c:v>632.68783664833506</c:v>
                </c:pt>
                <c:pt idx="80">
                  <c:v>632.608425831972</c:v>
                </c:pt>
                <c:pt idx="81">
                  <c:v>635.95908225854203</c:v>
                </c:pt>
                <c:pt idx="82">
                  <c:v>626.27590989320447</c:v>
                </c:pt>
                <c:pt idx="83">
                  <c:v>628.59912906041041</c:v>
                </c:pt>
                <c:pt idx="84">
                  <c:v>635.73914873836077</c:v>
                </c:pt>
                <c:pt idx="85">
                  <c:v>646.47298012580177</c:v>
                </c:pt>
                <c:pt idx="86">
                  <c:v>639.46189361392624</c:v>
                </c:pt>
                <c:pt idx="87">
                  <c:v>#N/A</c:v>
                </c:pt>
                <c:pt idx="88">
                  <c:v>627.3075280395384</c:v>
                </c:pt>
                <c:pt idx="89">
                  <c:v>#N/A</c:v>
                </c:pt>
                <c:pt idx="90">
                  <c:v>#N/A</c:v>
                </c:pt>
                <c:pt idx="91">
                  <c:v>#N/A</c:v>
                </c:pt>
                <c:pt idx="92">
                  <c:v>636.34648418759139</c:v>
                </c:pt>
                <c:pt idx="93">
                  <c:v>629.07633582760309</c:v>
                </c:pt>
                <c:pt idx="94">
                  <c:v>644.70107130548524</c:v>
                </c:pt>
                <c:pt idx="95">
                  <c:v>641.75267803002316</c:v>
                </c:pt>
                <c:pt idx="96">
                  <c:v>633.42795933485024</c:v>
                </c:pt>
                <c:pt idx="97">
                  <c:v>636.66631036630122</c:v>
                </c:pt>
                <c:pt idx="98">
                  <c:v>624.68444112921736</c:v>
                </c:pt>
                <c:pt idx="99">
                  <c:v>#N/A</c:v>
                </c:pt>
                <c:pt idx="100">
                  <c:v>#N/A</c:v>
                </c:pt>
                <c:pt idx="101">
                  <c:v>#N/A</c:v>
                </c:pt>
                <c:pt idx="102">
                  <c:v>#N/A</c:v>
                </c:pt>
                <c:pt idx="103">
                  <c:v>#N/A</c:v>
                </c:pt>
                <c:pt idx="104">
                  <c:v>658.7003367630208</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656.86417471732477</c:v>
                </c:pt>
                <c:pt idx="127">
                  <c:v>641.37646961964447</c:v>
                </c:pt>
                <c:pt idx="128">
                  <c:v>639.24550278583104</c:v>
                </c:pt>
                <c:pt idx="129">
                  <c:v>644.41969145752273</c:v>
                </c:pt>
                <c:pt idx="130">
                  <c:v>#N/A</c:v>
                </c:pt>
                <c:pt idx="131">
                  <c:v>658.86334385986254</c:v>
                </c:pt>
                <c:pt idx="132">
                  <c:v>665.32539921347961</c:v>
                </c:pt>
                <c:pt idx="133">
                  <c:v>#N/A</c:v>
                </c:pt>
                <c:pt idx="134">
                  <c:v>690.25381490129962</c:v>
                </c:pt>
                <c:pt idx="135">
                  <c:v>#N/A</c:v>
                </c:pt>
                <c:pt idx="136">
                  <c:v>659.513004423182</c:v>
                </c:pt>
                <c:pt idx="137">
                  <c:v>657.44721786946297</c:v>
                </c:pt>
                <c:pt idx="138">
                  <c:v>#N/A</c:v>
                </c:pt>
                <c:pt idx="139">
                  <c:v>638.44938442567548</c:v>
                </c:pt>
                <c:pt idx="140">
                  <c:v>#N/A</c:v>
                </c:pt>
                <c:pt idx="141">
                  <c:v>#N/A</c:v>
                </c:pt>
                <c:pt idx="142">
                  <c:v>#N/A</c:v>
                </c:pt>
                <c:pt idx="143">
                  <c:v>#N/A</c:v>
                </c:pt>
                <c:pt idx="144">
                  <c:v>#N/A</c:v>
                </c:pt>
                <c:pt idx="145">
                  <c:v>#N/A</c:v>
                </c:pt>
                <c:pt idx="146">
                  <c:v>0</c:v>
                </c:pt>
                <c:pt idx="147">
                  <c:v>0</c:v>
                </c:pt>
                <c:pt idx="148">
                  <c:v>0</c:v>
                </c:pt>
                <c:pt idx="149">
                  <c:v>#N/A</c:v>
                </c:pt>
                <c:pt idx="150">
                  <c:v>#N/A</c:v>
                </c:pt>
                <c:pt idx="151">
                  <c:v>#N/A</c:v>
                </c:pt>
                <c:pt idx="152">
                  <c:v>#N/A</c:v>
                </c:pt>
                <c:pt idx="153">
                  <c:v>#N/A</c:v>
                </c:pt>
                <c:pt idx="154">
                  <c:v>621.98094252129295</c:v>
                </c:pt>
                <c:pt idx="155">
                  <c:v>629.4022711565334</c:v>
                </c:pt>
                <c:pt idx="156">
                  <c:v>#N/A</c:v>
                </c:pt>
                <c:pt idx="157">
                  <c:v>#N/A</c:v>
                </c:pt>
                <c:pt idx="158">
                  <c:v>#N/A</c:v>
                </c:pt>
                <c:pt idx="159">
                  <c:v>#N/A</c:v>
                </c:pt>
                <c:pt idx="160">
                  <c:v>#N/A</c:v>
                </c:pt>
                <c:pt idx="161">
                  <c:v>#N/A</c:v>
                </c:pt>
                <c:pt idx="162">
                  <c:v>#N/A</c:v>
                </c:pt>
                <c:pt idx="163">
                  <c:v>#N/A</c:v>
                </c:pt>
                <c:pt idx="164">
                  <c:v>#N/A</c:v>
                </c:pt>
                <c:pt idx="165">
                  <c:v>627.92954147107798</c:v>
                </c:pt>
                <c:pt idx="166">
                  <c:v>#N/A</c:v>
                </c:pt>
                <c:pt idx="167">
                  <c:v>640.8321753601407</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0</c:v>
                </c:pt>
                <c:pt idx="218">
                  <c:v>0</c:v>
                </c:pt>
                <c:pt idx="219">
                  <c:v>0</c:v>
                </c:pt>
                <c:pt idx="220">
                  <c:v>#N/A</c:v>
                </c:pt>
                <c:pt idx="221">
                  <c:v>#N/A</c:v>
                </c:pt>
                <c:pt idx="222">
                  <c:v>#N/A</c:v>
                </c:pt>
                <c:pt idx="223">
                  <c:v>#N/A</c:v>
                </c:pt>
                <c:pt idx="224">
                  <c:v>#N/A</c:v>
                </c:pt>
                <c:pt idx="225">
                  <c:v>#N/A</c:v>
                </c:pt>
                <c:pt idx="226">
                  <c:v>#N/A</c:v>
                </c:pt>
                <c:pt idx="227">
                  <c:v>627.16200197296189</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632.87787083109356</c:v>
                </c:pt>
                <c:pt idx="344">
                  <c:v>#N/A</c:v>
                </c:pt>
                <c:pt idx="345">
                  <c:v>#N/A</c:v>
                </c:pt>
                <c:pt idx="346">
                  <c:v>#N/A</c:v>
                </c:pt>
                <c:pt idx="347">
                  <c:v>629.35782472002927</c:v>
                </c:pt>
                <c:pt idx="348">
                  <c:v>636.36251211400042</c:v>
                </c:pt>
                <c:pt idx="349">
                  <c:v>633.76743870825987</c:v>
                </c:pt>
                <c:pt idx="350">
                  <c:v>#N/A</c:v>
                </c:pt>
                <c:pt idx="351">
                  <c:v>#N/A</c:v>
                </c:pt>
                <c:pt idx="352">
                  <c:v>#N/A</c:v>
                </c:pt>
                <c:pt idx="353">
                  <c:v>#N/A</c:v>
                </c:pt>
                <c:pt idx="354">
                  <c:v>#N/A</c:v>
                </c:pt>
                <c:pt idx="355">
                  <c:v>636.51997506898556</c:v>
                </c:pt>
                <c:pt idx="356">
                  <c:v>684.91108754387938</c:v>
                </c:pt>
                <c:pt idx="357">
                  <c:v>#N/A</c:v>
                </c:pt>
                <c:pt idx="358">
                  <c:v>#N/A</c:v>
                </c:pt>
                <c:pt idx="359">
                  <c:v>#N/A</c:v>
                </c:pt>
                <c:pt idx="360">
                  <c:v>#N/A</c:v>
                </c:pt>
                <c:pt idx="361">
                  <c:v>632.0262541061312</c:v>
                </c:pt>
                <c:pt idx="362">
                  <c:v>634.11540602889374</c:v>
                </c:pt>
                <c:pt idx="363">
                  <c:v>#N/A</c:v>
                </c:pt>
                <c:pt idx="364">
                  <c:v>#N/A</c:v>
                </c:pt>
                <c:pt idx="365">
                  <c:v>#N/A</c:v>
                </c:pt>
                <c:pt idx="366">
                  <c:v>#N/A</c:v>
                </c:pt>
                <c:pt idx="367">
                  <c:v>#N/A</c:v>
                </c:pt>
                <c:pt idx="368">
                  <c:v>#N/A</c:v>
                </c:pt>
                <c:pt idx="369">
                  <c:v>#N/A</c:v>
                </c:pt>
                <c:pt idx="370">
                  <c:v>#N/A</c:v>
                </c:pt>
                <c:pt idx="371">
                  <c:v>#N/A</c:v>
                </c:pt>
                <c:pt idx="372">
                  <c:v>#N/A</c:v>
                </c:pt>
                <c:pt idx="373">
                  <c:v>#N/A</c:v>
                </c:pt>
                <c:pt idx="374">
                  <c:v>#N/A</c:v>
                </c:pt>
                <c:pt idx="375">
                  <c:v>#N/A</c:v>
                </c:pt>
                <c:pt idx="376">
                  <c:v>633.51967836344761</c:v>
                </c:pt>
                <c:pt idx="377">
                  <c:v>629.66715142273097</c:v>
                </c:pt>
                <c:pt idx="378">
                  <c:v>627.22374046018467</c:v>
                </c:pt>
                <c:pt idx="379">
                  <c:v>#N/A</c:v>
                </c:pt>
                <c:pt idx="380">
                  <c:v>#N/A</c:v>
                </c:pt>
                <c:pt idx="381">
                  <c:v>#N/A</c:v>
                </c:pt>
                <c:pt idx="382">
                  <c:v>622.44936034198122</c:v>
                </c:pt>
                <c:pt idx="383">
                  <c:v>#N/A</c:v>
                </c:pt>
                <c:pt idx="384">
                  <c:v>#N/A</c:v>
                </c:pt>
                <c:pt idx="385">
                  <c:v>#N/A</c:v>
                </c:pt>
                <c:pt idx="386">
                  <c:v>#N/A</c:v>
                </c:pt>
                <c:pt idx="387">
                  <c:v>#N/A</c:v>
                </c:pt>
                <c:pt idx="388">
                  <c:v>#N/A</c:v>
                </c:pt>
                <c:pt idx="389">
                  <c:v>#N/A</c:v>
                </c:pt>
                <c:pt idx="390">
                  <c:v>625.56086499627042</c:v>
                </c:pt>
                <c:pt idx="391">
                  <c:v>#N/A</c:v>
                </c:pt>
                <c:pt idx="392">
                  <c:v>#N/A</c:v>
                </c:pt>
                <c:pt idx="393">
                  <c:v>#N/A</c:v>
                </c:pt>
                <c:pt idx="394">
                  <c:v>#N/A</c:v>
                </c:pt>
                <c:pt idx="395">
                  <c:v>#N/A</c:v>
                </c:pt>
                <c:pt idx="396">
                  <c:v>#N/A</c:v>
                </c:pt>
                <c:pt idx="397">
                  <c:v>#N/A</c:v>
                </c:pt>
                <c:pt idx="398">
                  <c:v>#N/A</c:v>
                </c:pt>
                <c:pt idx="399">
                  <c:v>#N/A</c:v>
                </c:pt>
                <c:pt idx="400">
                  <c:v>637.31725434998111</c:v>
                </c:pt>
                <c:pt idx="401">
                  <c:v>631.42855829197072</c:v>
                </c:pt>
                <c:pt idx="402">
                  <c:v>640.01782818390438</c:v>
                </c:pt>
                <c:pt idx="403">
                  <c:v>#N/A</c:v>
                </c:pt>
                <c:pt idx="404">
                  <c:v>#N/A</c:v>
                </c:pt>
                <c:pt idx="405">
                  <c:v>644.26299509916464</c:v>
                </c:pt>
                <c:pt idx="406">
                  <c:v>629.7130779596647</c:v>
                </c:pt>
                <c:pt idx="407">
                  <c:v>#N/A</c:v>
                </c:pt>
                <c:pt idx="408">
                  <c:v>#N/A</c:v>
                </c:pt>
                <c:pt idx="409">
                  <c:v>630.13869025875545</c:v>
                </c:pt>
                <c:pt idx="410">
                  <c:v>#N/A</c:v>
                </c:pt>
                <c:pt idx="411">
                  <c:v>#N/A</c:v>
                </c:pt>
                <c:pt idx="412">
                  <c:v>#N/A</c:v>
                </c:pt>
                <c:pt idx="413">
                  <c:v>#N/A</c:v>
                </c:pt>
                <c:pt idx="414">
                  <c:v>#N/A</c:v>
                </c:pt>
                <c:pt idx="415">
                  <c:v>#N/A</c:v>
                </c:pt>
                <c:pt idx="416">
                  <c:v>#N/A</c:v>
                </c:pt>
                <c:pt idx="417">
                  <c:v>#N/A</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636.05922984179222</c:v>
                </c:pt>
                <c:pt idx="432">
                  <c:v>625.0791642671154</c:v>
                </c:pt>
                <c:pt idx="433">
                  <c:v>636.43918097927656</c:v>
                </c:pt>
                <c:pt idx="434">
                  <c:v>#N/A</c:v>
                </c:pt>
                <c:pt idx="435">
                  <c:v>#N/A</c:v>
                </c:pt>
                <c:pt idx="436">
                  <c:v>#N/A</c:v>
                </c:pt>
                <c:pt idx="437">
                  <c:v>#N/A</c:v>
                </c:pt>
                <c:pt idx="438">
                  <c:v>#N/A</c:v>
                </c:pt>
                <c:pt idx="439">
                  <c:v>#N/A</c:v>
                </c:pt>
                <c:pt idx="440">
                  <c:v>#N/A</c:v>
                </c:pt>
                <c:pt idx="441">
                  <c:v>#N/A</c:v>
                </c:pt>
                <c:pt idx="442">
                  <c:v>#N/A</c:v>
                </c:pt>
                <c:pt idx="443">
                  <c:v>637.96877342886319</c:v>
                </c:pt>
                <c:pt idx="444">
                  <c:v>#N/A</c:v>
                </c:pt>
                <c:pt idx="445">
                  <c:v>#N/A</c:v>
                </c:pt>
                <c:pt idx="446">
                  <c:v>#N/A</c:v>
                </c:pt>
                <c:pt idx="447">
                  <c:v>#N/A</c:v>
                </c:pt>
                <c:pt idx="448">
                  <c:v>#N/A</c:v>
                </c:pt>
                <c:pt idx="449">
                  <c:v>#N/A</c:v>
                </c:pt>
                <c:pt idx="450">
                  <c:v>#N/A</c:v>
                </c:pt>
                <c:pt idx="451">
                  <c:v>#N/A</c:v>
                </c:pt>
                <c:pt idx="452">
                  <c:v>#N/A</c:v>
                </c:pt>
                <c:pt idx="453">
                  <c:v>#N/A</c:v>
                </c:pt>
                <c:pt idx="454">
                  <c:v>0</c:v>
                </c:pt>
                <c:pt idx="455">
                  <c:v>#N/A</c:v>
                </c:pt>
                <c:pt idx="456">
                  <c:v>#N/A</c:v>
                </c:pt>
                <c:pt idx="457">
                  <c:v>#N/A</c:v>
                </c:pt>
                <c:pt idx="458">
                  <c:v>#N/A</c:v>
                </c:pt>
                <c:pt idx="459">
                  <c:v>#N/A</c:v>
                </c:pt>
                <c:pt idx="460">
                  <c:v>#N/A</c:v>
                </c:pt>
                <c:pt idx="461">
                  <c:v>#N/A</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641.41598858932298</c:v>
                </c:pt>
                <c:pt idx="477">
                  <c:v>#N/A</c:v>
                </c:pt>
                <c:pt idx="478">
                  <c:v>632.60065102204021</c:v>
                </c:pt>
                <c:pt idx="479">
                  <c:v>#N/A</c:v>
                </c:pt>
                <c:pt idx="480">
                  <c:v>#N/A</c:v>
                </c:pt>
                <c:pt idx="481">
                  <c:v>#N/A</c:v>
                </c:pt>
                <c:pt idx="482">
                  <c:v>#N/A</c:v>
                </c:pt>
                <c:pt idx="483">
                  <c:v>#N/A</c:v>
                </c:pt>
                <c:pt idx="484">
                  <c:v>#N/A</c:v>
                </c:pt>
                <c:pt idx="485">
                  <c:v>#N/A</c:v>
                </c:pt>
                <c:pt idx="486">
                  <c:v>#N/A</c:v>
                </c:pt>
                <c:pt idx="487">
                  <c:v>648.5117247049393</c:v>
                </c:pt>
                <c:pt idx="488">
                  <c:v>642.20504802840026</c:v>
                </c:pt>
                <c:pt idx="489">
                  <c:v>#N/A</c:v>
                </c:pt>
                <c:pt idx="490">
                  <c:v>#N/A</c:v>
                </c:pt>
                <c:pt idx="491">
                  <c:v>#N/A</c:v>
                </c:pt>
                <c:pt idx="492">
                  <c:v>679.2506902197498</c:v>
                </c:pt>
                <c:pt idx="493">
                  <c:v>#N/A</c:v>
                </c:pt>
                <c:pt idx="494">
                  <c:v>#N/A</c:v>
                </c:pt>
                <c:pt idx="495">
                  <c:v>#N/A</c:v>
                </c:pt>
                <c:pt idx="496">
                  <c:v>#N/A</c:v>
                </c:pt>
                <c:pt idx="497">
                  <c:v>0</c:v>
                </c:pt>
                <c:pt idx="498">
                  <c:v>#N/A</c:v>
                </c:pt>
                <c:pt idx="499">
                  <c:v>636.67173709633448</c:v>
                </c:pt>
                <c:pt idx="500">
                  <c:v>630.16637942907334</c:v>
                </c:pt>
                <c:pt idx="501">
                  <c:v>634.8194973051518</c:v>
                </c:pt>
                <c:pt idx="502">
                  <c:v>638.46316060639754</c:v>
                </c:pt>
                <c:pt idx="503">
                  <c:v>628.58210875461305</c:v>
                </c:pt>
                <c:pt idx="504">
                  <c:v>#N/A</c:v>
                </c:pt>
                <c:pt idx="505">
                  <c:v>#N/A</c:v>
                </c:pt>
                <c:pt idx="506">
                  <c:v>#N/A</c:v>
                </c:pt>
                <c:pt idx="507">
                  <c:v>#N/A</c:v>
                </c:pt>
                <c:pt idx="508">
                  <c:v>#N/A</c:v>
                </c:pt>
                <c:pt idx="509">
                  <c:v>#N/A</c:v>
                </c:pt>
                <c:pt idx="510">
                  <c:v>#N/A</c:v>
                </c:pt>
                <c:pt idx="511">
                  <c:v>631.93551449459119</c:v>
                </c:pt>
                <c:pt idx="512">
                  <c:v>#N/A</c:v>
                </c:pt>
                <c:pt idx="513">
                  <c:v>633.11978984538598</c:v>
                </c:pt>
                <c:pt idx="514">
                  <c:v>634.36246053600473</c:v>
                </c:pt>
                <c:pt idx="515">
                  <c:v>#N/A</c:v>
                </c:pt>
                <c:pt idx="516">
                  <c:v>629.66534517558728</c:v>
                </c:pt>
                <c:pt idx="517">
                  <c:v>629.67438631324183</c:v>
                </c:pt>
                <c:pt idx="518">
                  <c:v>636.40028169372545</c:v>
                </c:pt>
                <c:pt idx="519">
                  <c:v>#N/A</c:v>
                </c:pt>
                <c:pt idx="520">
                  <c:v>631.46973421976816</c:v>
                </c:pt>
                <c:pt idx="521">
                  <c:v>#N/A</c:v>
                </c:pt>
                <c:pt idx="522">
                  <c:v>#N/A</c:v>
                </c:pt>
                <c:pt idx="523">
                  <c:v>#N/A</c:v>
                </c:pt>
                <c:pt idx="524">
                  <c:v>#N/A</c:v>
                </c:pt>
                <c:pt idx="525">
                  <c:v>#N/A</c:v>
                </c:pt>
                <c:pt idx="526">
                  <c:v>#N/A</c:v>
                </c:pt>
                <c:pt idx="527">
                  <c:v>#N/A</c:v>
                </c:pt>
                <c:pt idx="528">
                  <c:v>#N/A</c:v>
                </c:pt>
                <c:pt idx="529">
                  <c:v>#N/A</c:v>
                </c:pt>
                <c:pt idx="530">
                  <c:v>#N/A</c:v>
                </c:pt>
                <c:pt idx="531">
                  <c:v>#N/A</c:v>
                </c:pt>
                <c:pt idx="532">
                  <c:v>#N/A</c:v>
                </c:pt>
                <c:pt idx="533">
                  <c:v>673.12919501316117</c:v>
                </c:pt>
                <c:pt idx="534">
                  <c:v>650.98030631064887</c:v>
                </c:pt>
                <c:pt idx="535">
                  <c:v>637.96470997413985</c:v>
                </c:pt>
                <c:pt idx="536">
                  <c:v>637.01209020076033</c:v>
                </c:pt>
                <c:pt idx="537">
                  <c:v>653.20741626007361</c:v>
                </c:pt>
                <c:pt idx="538">
                  <c:v>659.83848230832359</c:v>
                </c:pt>
                <c:pt idx="539">
                  <c:v>654.36485856671266</c:v>
                </c:pt>
                <c:pt idx="540">
                  <c:v>653.62504574385946</c:v>
                </c:pt>
                <c:pt idx="541">
                  <c:v>661.02878760142551</c:v>
                </c:pt>
                <c:pt idx="542">
                  <c:v>#N/A</c:v>
                </c:pt>
                <c:pt idx="543">
                  <c:v>#N/A</c:v>
                </c:pt>
                <c:pt idx="544">
                  <c:v>#N/A</c:v>
                </c:pt>
                <c:pt idx="545">
                  <c:v>657.30067741039602</c:v>
                </c:pt>
                <c:pt idx="546">
                  <c:v>653.48691283906373</c:v>
                </c:pt>
                <c:pt idx="547">
                  <c:v>#N/A</c:v>
                </c:pt>
                <c:pt idx="548">
                  <c:v>#N/A</c:v>
                </c:pt>
                <c:pt idx="549">
                  <c:v>#N/A</c:v>
                </c:pt>
                <c:pt idx="550">
                  <c:v>639.62956482822676</c:v>
                </c:pt>
                <c:pt idx="551">
                  <c:v>#N/A</c:v>
                </c:pt>
                <c:pt idx="552">
                  <c:v>#N/A</c:v>
                </c:pt>
                <c:pt idx="553">
                  <c:v>#N/A</c:v>
                </c:pt>
                <c:pt idx="554">
                  <c:v>#N/A</c:v>
                </c:pt>
                <c:pt idx="555">
                  <c:v>#N/A</c:v>
                </c:pt>
                <c:pt idx="556">
                  <c:v>#N/A</c:v>
                </c:pt>
                <c:pt idx="557">
                  <c:v>#N/A</c:v>
                </c:pt>
                <c:pt idx="558">
                  <c:v>632.37210997868124</c:v>
                </c:pt>
                <c:pt idx="559">
                  <c:v>629.0121989569268</c:v>
                </c:pt>
                <c:pt idx="560">
                  <c:v>638.43878377892122</c:v>
                </c:pt>
                <c:pt idx="561">
                  <c:v>638.9857825073932</c:v>
                </c:pt>
                <c:pt idx="562">
                  <c:v>655.27959087979309</c:v>
                </c:pt>
                <c:pt idx="563">
                  <c:v>#N/A</c:v>
                </c:pt>
                <c:pt idx="564">
                  <c:v>#N/A</c:v>
                </c:pt>
                <c:pt idx="565">
                  <c:v>648.94571962144391</c:v>
                </c:pt>
                <c:pt idx="566">
                  <c:v>629.61200173568579</c:v>
                </c:pt>
                <c:pt idx="567">
                  <c:v>#N/A</c:v>
                </c:pt>
                <c:pt idx="568">
                  <c:v>#N/A</c:v>
                </c:pt>
                <c:pt idx="569">
                  <c:v>#N/A</c:v>
                </c:pt>
                <c:pt idx="570">
                  <c:v>#N/A</c:v>
                </c:pt>
                <c:pt idx="571">
                  <c:v>#N/A</c:v>
                </c:pt>
                <c:pt idx="572">
                  <c:v>#N/A</c:v>
                </c:pt>
                <c:pt idx="573">
                  <c:v>673.64153684308042</c:v>
                </c:pt>
                <c:pt idx="574">
                  <c:v>657.02606251614566</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N/A</c:v>
                </c:pt>
                <c:pt idx="591">
                  <c:v>#N/A</c:v>
                </c:pt>
                <c:pt idx="592">
                  <c:v>#N/A</c:v>
                </c:pt>
                <c:pt idx="593">
                  <c:v>#N/A</c:v>
                </c:pt>
                <c:pt idx="594">
                  <c:v>#N/A</c:v>
                </c:pt>
                <c:pt idx="595">
                  <c:v>#N/A</c:v>
                </c:pt>
                <c:pt idx="596">
                  <c:v>#N/A</c:v>
                </c:pt>
                <c:pt idx="597">
                  <c:v>#N/A</c:v>
                </c:pt>
                <c:pt idx="598">
                  <c:v>#N/A</c:v>
                </c:pt>
                <c:pt idx="599">
                  <c:v>0</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637.87536833300942</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654.86592375433668</c:v>
                </c:pt>
                <c:pt idx="632">
                  <c:v>637.46438210177723</c:v>
                </c:pt>
                <c:pt idx="633">
                  <c:v>640.42760693668049</c:v>
                </c:pt>
                <c:pt idx="634">
                  <c:v>627.52732744551281</c:v>
                </c:pt>
                <c:pt idx="635">
                  <c:v>643.63120700815102</c:v>
                </c:pt>
                <c:pt idx="636">
                  <c:v>652.69655705155549</c:v>
                </c:pt>
                <c:pt idx="637">
                  <c:v>#N/A</c:v>
                </c:pt>
                <c:pt idx="638">
                  <c:v>#N/A</c:v>
                </c:pt>
                <c:pt idx="639">
                  <c:v>#N/A</c:v>
                </c:pt>
                <c:pt idx="640">
                  <c:v>#N/A</c:v>
                </c:pt>
                <c:pt idx="641">
                  <c:v>#N/A</c:v>
                </c:pt>
                <c:pt idx="642">
                  <c:v>0</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N/A</c:v>
                </c:pt>
                <c:pt idx="657">
                  <c:v>#N/A</c:v>
                </c:pt>
                <c:pt idx="658">
                  <c:v>#N/A</c:v>
                </c:pt>
                <c:pt idx="659">
                  <c:v>#N/A</c:v>
                </c:pt>
                <c:pt idx="660">
                  <c:v>#N/A</c:v>
                </c:pt>
                <c:pt idx="661">
                  <c:v>#N/A</c:v>
                </c:pt>
                <c:pt idx="662">
                  <c:v>628.71288680353143</c:v>
                </c:pt>
                <c:pt idx="663">
                  <c:v>#N/A</c:v>
                </c:pt>
                <c:pt idx="664">
                  <c:v>#N/A</c:v>
                </c:pt>
                <c:pt idx="665">
                  <c:v>626.83406989959269</c:v>
                </c:pt>
                <c:pt idx="666">
                  <c:v>650.83463480543901</c:v>
                </c:pt>
                <c:pt idx="667">
                  <c:v>646.53783166891128</c:v>
                </c:pt>
                <c:pt idx="668">
                  <c:v>646.06434369842884</c:v>
                </c:pt>
                <c:pt idx="669">
                  <c:v>#N/A</c:v>
                </c:pt>
                <c:pt idx="670">
                  <c:v>615.378454243904</c:v>
                </c:pt>
                <c:pt idx="671">
                  <c:v>#N/A</c:v>
                </c:pt>
                <c:pt idx="672">
                  <c:v>637.00165996054886</c:v>
                </c:pt>
                <c:pt idx="673">
                  <c:v>632.13083239462105</c:v>
                </c:pt>
                <c:pt idx="674">
                  <c:v>#N/A</c:v>
                </c:pt>
                <c:pt idx="675">
                  <c:v>#N/A</c:v>
                </c:pt>
                <c:pt idx="676">
                  <c:v>639.38234749970252</c:v>
                </c:pt>
                <c:pt idx="677">
                  <c:v>643.62360948252751</c:v>
                </c:pt>
                <c:pt idx="678">
                  <c:v>631.25056168909407</c:v>
                </c:pt>
                <c:pt idx="679">
                  <c:v>#N/A</c:v>
                </c:pt>
                <c:pt idx="680">
                  <c:v>#N/A</c:v>
                </c:pt>
                <c:pt idx="681">
                  <c:v>#N/A</c:v>
                </c:pt>
                <c:pt idx="682">
                  <c:v>#N/A</c:v>
                </c:pt>
                <c:pt idx="683">
                  <c:v>#N/A</c:v>
                </c:pt>
                <c:pt idx="684">
                  <c:v>#N/A</c:v>
                </c:pt>
                <c:pt idx="685">
                  <c:v>633.9185207340031</c:v>
                </c:pt>
                <c:pt idx="686">
                  <c:v>#N/A</c:v>
                </c:pt>
                <c:pt idx="687">
                  <c:v>#N/A</c:v>
                </c:pt>
                <c:pt idx="688">
                  <c:v>639.80171917145992</c:v>
                </c:pt>
                <c:pt idx="689">
                  <c:v>644.76660597211662</c:v>
                </c:pt>
                <c:pt idx="690">
                  <c:v>642.74171767962059</c:v>
                </c:pt>
                <c:pt idx="691">
                  <c:v>#N/A</c:v>
                </c:pt>
                <c:pt idx="692">
                  <c:v>647.4631612905016</c:v>
                </c:pt>
                <c:pt idx="693">
                  <c:v>647.24539092453915</c:v>
                </c:pt>
                <c:pt idx="694">
                  <c:v>641.57087009495604</c:v>
                </c:pt>
                <c:pt idx="695">
                  <c:v>644.11740699006953</c:v>
                </c:pt>
                <c:pt idx="696">
                  <c:v>638.35866598988355</c:v>
                </c:pt>
                <c:pt idx="697">
                  <c:v>645.51680697734628</c:v>
                </c:pt>
                <c:pt idx="698">
                  <c:v>635.17256359443843</c:v>
                </c:pt>
                <c:pt idx="699">
                  <c:v>630.73489031338363</c:v>
                </c:pt>
                <c:pt idx="700">
                  <c:v>632.85881408288071</c:v>
                </c:pt>
                <c:pt idx="701">
                  <c:v>#N/A</c:v>
                </c:pt>
                <c:pt idx="702">
                  <c:v>#N/A</c:v>
                </c:pt>
                <c:pt idx="703">
                  <c:v>632.87204071018755</c:v>
                </c:pt>
                <c:pt idx="704">
                  <c:v>630.36064908934804</c:v>
                </c:pt>
                <c:pt idx="705">
                  <c:v>632.53681181989737</c:v>
                </c:pt>
                <c:pt idx="706">
                  <c:v>#N/A</c:v>
                </c:pt>
                <c:pt idx="707">
                  <c:v>632.75963376253651</c:v>
                </c:pt>
                <c:pt idx="708">
                  <c:v>674.33414222274143</c:v>
                </c:pt>
                <c:pt idx="709">
                  <c:v>658.54245025634214</c:v>
                </c:pt>
                <c:pt idx="710">
                  <c:v>633.52211723669348</c:v>
                </c:pt>
                <c:pt idx="711">
                  <c:v>629.41094012343524</c:v>
                </c:pt>
                <c:pt idx="712">
                  <c:v>#N/A</c:v>
                </c:pt>
                <c:pt idx="713">
                  <c:v>#N/A</c:v>
                </c:pt>
                <c:pt idx="714">
                  <c:v>634.37406083942005</c:v>
                </c:pt>
                <c:pt idx="715">
                  <c:v>632.11498508584214</c:v>
                </c:pt>
                <c:pt idx="716">
                  <c:v>622.58939506435559</c:v>
                </c:pt>
                <c:pt idx="717">
                  <c:v>637.94431316160717</c:v>
                </c:pt>
                <c:pt idx="718">
                  <c:v>616.29785223372107</c:v>
                </c:pt>
                <c:pt idx="719">
                  <c:v>627.65751799636894</c:v>
                </c:pt>
                <c:pt idx="720">
                  <c:v>604.94747903321047</c:v>
                </c:pt>
                <c:pt idx="721">
                  <c:v>627.82618887594231</c:v>
                </c:pt>
                <c:pt idx="722">
                  <c:v>638.4504168722957</c:v>
                </c:pt>
                <c:pt idx="723">
                  <c:v>641.77348597678326</c:v>
                </c:pt>
                <c:pt idx="724">
                  <c:v>#N/A</c:v>
                </c:pt>
                <c:pt idx="725">
                  <c:v>#N/A</c:v>
                </c:pt>
                <c:pt idx="726">
                  <c:v>#N/A</c:v>
                </c:pt>
                <c:pt idx="727">
                  <c:v>648.80241406045889</c:v>
                </c:pt>
                <c:pt idx="728">
                  <c:v>638.10359526691013</c:v>
                </c:pt>
                <c:pt idx="729">
                  <c:v>629.23160629793267</c:v>
                </c:pt>
                <c:pt idx="730">
                  <c:v>621.87721208684206</c:v>
                </c:pt>
                <c:pt idx="731">
                  <c:v>639.83014272843036</c:v>
                </c:pt>
                <c:pt idx="732">
                  <c:v>640.86338148252423</c:v>
                </c:pt>
                <c:pt idx="733">
                  <c:v>630.43552051718996</c:v>
                </c:pt>
                <c:pt idx="734">
                  <c:v>626.33078263081609</c:v>
                </c:pt>
                <c:pt idx="735">
                  <c:v>624.32135085323716</c:v>
                </c:pt>
                <c:pt idx="736">
                  <c:v>636.72526972299772</c:v>
                </c:pt>
                <c:pt idx="737">
                  <c:v>639.33536701658909</c:v>
                </c:pt>
                <c:pt idx="738">
                  <c:v>634.36298225620237</c:v>
                </c:pt>
                <c:pt idx="739">
                  <c:v>646.76436603975935</c:v>
                </c:pt>
                <c:pt idx="740">
                  <c:v>#N/A</c:v>
                </c:pt>
                <c:pt idx="741">
                  <c:v>#N/A</c:v>
                </c:pt>
                <c:pt idx="742">
                  <c:v>#N/A</c:v>
                </c:pt>
                <c:pt idx="743">
                  <c:v>638.78623097214984</c:v>
                </c:pt>
                <c:pt idx="744">
                  <c:v>637.91635051527282</c:v>
                </c:pt>
                <c:pt idx="745">
                  <c:v>629.07726686565707</c:v>
                </c:pt>
                <c:pt idx="746">
                  <c:v>627.60017331832705</c:v>
                </c:pt>
                <c:pt idx="747">
                  <c:v>633.52661390066532</c:v>
                </c:pt>
                <c:pt idx="748">
                  <c:v>637.30498583286135</c:v>
                </c:pt>
                <c:pt idx="749">
                  <c:v>#N/A</c:v>
                </c:pt>
                <c:pt idx="750">
                  <c:v>#N/A</c:v>
                </c:pt>
                <c:pt idx="751">
                  <c:v>644.90692215740944</c:v>
                </c:pt>
                <c:pt idx="752">
                  <c:v>626.56294852875567</c:v>
                </c:pt>
                <c:pt idx="753">
                  <c:v>649.59976845573681</c:v>
                </c:pt>
                <c:pt idx="754">
                  <c:v>641.92660180983216</c:v>
                </c:pt>
                <c:pt idx="755">
                  <c:v>632.40378758685881</c:v>
                </c:pt>
                <c:pt idx="756">
                  <c:v>#N/A</c:v>
                </c:pt>
                <c:pt idx="757">
                  <c:v>#N/A</c:v>
                </c:pt>
                <c:pt idx="758">
                  <c:v>#N/A</c:v>
                </c:pt>
                <c:pt idx="759">
                  <c:v>641.35203080732265</c:v>
                </c:pt>
                <c:pt idx="760">
                  <c:v>637.0670833037542</c:v>
                </c:pt>
                <c:pt idx="761">
                  <c:v>#N/A</c:v>
                </c:pt>
                <c:pt idx="762">
                  <c:v>#N/A</c:v>
                </c:pt>
                <c:pt idx="763">
                  <c:v>#N/A</c:v>
                </c:pt>
                <c:pt idx="764">
                  <c:v>#N/A</c:v>
                </c:pt>
                <c:pt idx="765">
                  <c:v>#N/A</c:v>
                </c:pt>
                <c:pt idx="766">
                  <c:v>#N/A</c:v>
                </c:pt>
                <c:pt idx="767">
                  <c:v>#N/A</c:v>
                </c:pt>
                <c:pt idx="768">
                  <c:v>#N/A</c:v>
                </c:pt>
                <c:pt idx="769">
                  <c:v>#N/A</c:v>
                </c:pt>
                <c:pt idx="770">
                  <c:v>652.32243761158145</c:v>
                </c:pt>
                <c:pt idx="771">
                  <c:v>#N/A</c:v>
                </c:pt>
                <c:pt idx="772">
                  <c:v>#N/A</c:v>
                </c:pt>
                <c:pt idx="773">
                  <c:v>631.51910317311638</c:v>
                </c:pt>
                <c:pt idx="774">
                  <c:v>630.22492326091901</c:v>
                </c:pt>
                <c:pt idx="775">
                  <c:v>631.64135588637896</c:v>
                </c:pt>
                <c:pt idx="776">
                  <c:v>#N/A</c:v>
                </c:pt>
                <c:pt idx="777">
                  <c:v>#N/A</c:v>
                </c:pt>
                <c:pt idx="778">
                  <c:v>#N/A</c:v>
                </c:pt>
                <c:pt idx="779">
                  <c:v>619.93647953954508</c:v>
                </c:pt>
                <c:pt idx="780">
                  <c:v>623.91210442550664</c:v>
                </c:pt>
                <c:pt idx="781">
                  <c:v>629.22599380603822</c:v>
                </c:pt>
                <c:pt idx="782">
                  <c:v>628.58207907890255</c:v>
                </c:pt>
                <c:pt idx="783">
                  <c:v>#N/A</c:v>
                </c:pt>
                <c:pt idx="784">
                  <c:v>#N/A</c:v>
                </c:pt>
                <c:pt idx="785">
                  <c:v>647.50361843161897</c:v>
                </c:pt>
                <c:pt idx="786">
                  <c:v>#N/A</c:v>
                </c:pt>
                <c:pt idx="787">
                  <c:v>#N/A</c:v>
                </c:pt>
                <c:pt idx="788">
                  <c:v>#N/A</c:v>
                </c:pt>
                <c:pt idx="789">
                  <c:v>#N/A</c:v>
                </c:pt>
                <c:pt idx="790">
                  <c:v>640.50894701974141</c:v>
                </c:pt>
                <c:pt idx="791">
                  <c:v>632.76387503777153</c:v>
                </c:pt>
                <c:pt idx="792">
                  <c:v>637.87225450862275</c:v>
                </c:pt>
                <c:pt idx="793">
                  <c:v>640.93878889844882</c:v>
                </c:pt>
                <c:pt idx="794">
                  <c:v>634.46495761747678</c:v>
                </c:pt>
                <c:pt idx="795">
                  <c:v>#N/A</c:v>
                </c:pt>
                <c:pt idx="796">
                  <c:v>#N/A</c:v>
                </c:pt>
                <c:pt idx="797">
                  <c:v>#N/A</c:v>
                </c:pt>
                <c:pt idx="798">
                  <c:v>#N/A</c:v>
                </c:pt>
                <c:pt idx="799">
                  <c:v>#N/A</c:v>
                </c:pt>
                <c:pt idx="800">
                  <c:v>#N/A</c:v>
                </c:pt>
                <c:pt idx="801">
                  <c:v>634.35072150399651</c:v>
                </c:pt>
                <c:pt idx="802">
                  <c:v>655.1571853611614</c:v>
                </c:pt>
                <c:pt idx="803">
                  <c:v>663.34935973990048</c:v>
                </c:pt>
                <c:pt idx="804">
                  <c:v>647.38288500374404</c:v>
                </c:pt>
                <c:pt idx="805">
                  <c:v>#N/A</c:v>
                </c:pt>
                <c:pt idx="806">
                  <c:v>#N/A</c:v>
                </c:pt>
                <c:pt idx="807">
                  <c:v>#N/A</c:v>
                </c:pt>
                <c:pt idx="808">
                  <c:v>647.68675407770081</c:v>
                </c:pt>
                <c:pt idx="809">
                  <c:v>653.82020576024161</c:v>
                </c:pt>
                <c:pt idx="810">
                  <c:v>663.94747595966953</c:v>
                </c:pt>
                <c:pt idx="811">
                  <c:v>651.85924305144761</c:v>
                </c:pt>
                <c:pt idx="812">
                  <c:v>#N/A</c:v>
                </c:pt>
                <c:pt idx="813">
                  <c:v>#N/A</c:v>
                </c:pt>
                <c:pt idx="814">
                  <c:v>#N/A</c:v>
                </c:pt>
                <c:pt idx="815">
                  <c:v>#N/A</c:v>
                </c:pt>
                <c:pt idx="816">
                  <c:v>657.03389587002323</c:v>
                </c:pt>
                <c:pt idx="817">
                  <c:v>640.22966553447156</c:v>
                </c:pt>
                <c:pt idx="818">
                  <c:v>641.15820834645228</c:v>
                </c:pt>
                <c:pt idx="819">
                  <c:v>644.70313790466639</c:v>
                </c:pt>
                <c:pt idx="820">
                  <c:v>649.7899913481009</c:v>
                </c:pt>
                <c:pt idx="821">
                  <c:v>#N/A</c:v>
                </c:pt>
                <c:pt idx="822">
                  <c:v>#N/A</c:v>
                </c:pt>
                <c:pt idx="823">
                  <c:v>661.65742065662505</c:v>
                </c:pt>
                <c:pt idx="824">
                  <c:v>663.36219812708487</c:v>
                </c:pt>
                <c:pt idx="825">
                  <c:v>#N/A</c:v>
                </c:pt>
                <c:pt idx="826">
                  <c:v>#N/A</c:v>
                </c:pt>
                <c:pt idx="827">
                  <c:v>#N/A</c:v>
                </c:pt>
                <c:pt idx="828">
                  <c:v>#N/A</c:v>
                </c:pt>
                <c:pt idx="829">
                  <c:v>#N/A</c:v>
                </c:pt>
                <c:pt idx="830">
                  <c:v>#N/A</c:v>
                </c:pt>
                <c:pt idx="831">
                  <c:v>#N/A</c:v>
                </c:pt>
                <c:pt idx="832">
                  <c:v>#N/A</c:v>
                </c:pt>
                <c:pt idx="833">
                  <c:v>704.19406563304312</c:v>
                </c:pt>
                <c:pt idx="834">
                  <c:v>#N/A</c:v>
                </c:pt>
                <c:pt idx="835">
                  <c:v>#N/A</c:v>
                </c:pt>
                <c:pt idx="836">
                  <c:v>#N/A</c:v>
                </c:pt>
                <c:pt idx="837">
                  <c:v>638.35951454757117</c:v>
                </c:pt>
                <c:pt idx="838">
                  <c:v>636.52970060829841</c:v>
                </c:pt>
                <c:pt idx="839">
                  <c:v>#N/A</c:v>
                </c:pt>
                <c:pt idx="840">
                  <c:v>#N/A</c:v>
                </c:pt>
                <c:pt idx="841">
                  <c:v>#N/A</c:v>
                </c:pt>
                <c:pt idx="842">
                  <c:v>#N/A</c:v>
                </c:pt>
                <c:pt idx="843">
                  <c:v>#N/A</c:v>
                </c:pt>
                <c:pt idx="844">
                  <c:v>#N/A</c:v>
                </c:pt>
                <c:pt idx="845">
                  <c:v>642.40758041924812</c:v>
                </c:pt>
                <c:pt idx="846">
                  <c:v>#N/A</c:v>
                </c:pt>
                <c:pt idx="847">
                  <c:v>646.41601050813244</c:v>
                </c:pt>
                <c:pt idx="848">
                  <c:v>632.60267153116251</c:v>
                </c:pt>
                <c:pt idx="849">
                  <c:v>662.5597716938604</c:v>
                </c:pt>
                <c:pt idx="850">
                  <c:v>651.49905138007557</c:v>
                </c:pt>
                <c:pt idx="851">
                  <c:v>639.03388934515363</c:v>
                </c:pt>
                <c:pt idx="852">
                  <c:v>679.80039446293188</c:v>
                </c:pt>
                <c:pt idx="853">
                  <c:v>#N/A</c:v>
                </c:pt>
                <c:pt idx="854">
                  <c:v>659.26962894880717</c:v>
                </c:pt>
                <c:pt idx="855">
                  <c:v>652.87264254806792</c:v>
                </c:pt>
                <c:pt idx="856">
                  <c:v>668.82570345983095</c:v>
                </c:pt>
                <c:pt idx="857">
                  <c:v>663.48324506057736</c:v>
                </c:pt>
                <c:pt idx="858">
                  <c:v>#N/A</c:v>
                </c:pt>
                <c:pt idx="859">
                  <c:v>#N/A</c:v>
                </c:pt>
                <c:pt idx="860">
                  <c:v>#N/A</c:v>
                </c:pt>
                <c:pt idx="861">
                  <c:v>#N/A</c:v>
                </c:pt>
                <c:pt idx="862">
                  <c:v>#N/A</c:v>
                </c:pt>
                <c:pt idx="863">
                  <c:v>#N/A</c:v>
                </c:pt>
                <c:pt idx="864">
                  <c:v>#N/A</c:v>
                </c:pt>
                <c:pt idx="865">
                  <c:v>#N/A</c:v>
                </c:pt>
                <c:pt idx="866">
                  <c:v>#N/A</c:v>
                </c:pt>
                <c:pt idx="867">
                  <c:v>665.5867391355464</c:v>
                </c:pt>
                <c:pt idx="868">
                  <c:v>#N/A</c:v>
                </c:pt>
                <c:pt idx="869">
                  <c:v>#N/A</c:v>
                </c:pt>
                <c:pt idx="870">
                  <c:v>#N/A</c:v>
                </c:pt>
                <c:pt idx="871">
                  <c:v>#N/A</c:v>
                </c:pt>
                <c:pt idx="872">
                  <c:v>636.93163104145992</c:v>
                </c:pt>
                <c:pt idx="873">
                  <c:v>639.67264394910853</c:v>
                </c:pt>
                <c:pt idx="874">
                  <c:v>642.82365219148312</c:v>
                </c:pt>
                <c:pt idx="875">
                  <c:v>#N/A</c:v>
                </c:pt>
                <c:pt idx="876">
                  <c:v>634.83117880253064</c:v>
                </c:pt>
                <c:pt idx="877">
                  <c:v>634.89808629845152</c:v>
                </c:pt>
                <c:pt idx="878">
                  <c:v>638.03421356656736</c:v>
                </c:pt>
                <c:pt idx="879">
                  <c:v>644.36455388421291</c:v>
                </c:pt>
                <c:pt idx="880">
                  <c:v>640.35742867554461</c:v>
                </c:pt>
                <c:pt idx="881">
                  <c:v>647.94318184973167</c:v>
                </c:pt>
                <c:pt idx="882">
                  <c:v>654.62650857940969</c:v>
                </c:pt>
                <c:pt idx="883">
                  <c:v>#N/A</c:v>
                </c:pt>
                <c:pt idx="884">
                  <c:v>#N/A</c:v>
                </c:pt>
                <c:pt idx="885">
                  <c:v>658.15562353221071</c:v>
                </c:pt>
                <c:pt idx="886">
                  <c:v>#N/A</c:v>
                </c:pt>
                <c:pt idx="887">
                  <c:v>666.19518607392729</c:v>
                </c:pt>
                <c:pt idx="888">
                  <c:v>651.49116803208551</c:v>
                </c:pt>
                <c:pt idx="889">
                  <c:v>641.04519186478058</c:v>
                </c:pt>
                <c:pt idx="890">
                  <c:v>645.90367961730146</c:v>
                </c:pt>
                <c:pt idx="891">
                  <c:v>642.25928877911804</c:v>
                </c:pt>
                <c:pt idx="892">
                  <c:v>647.12532312263647</c:v>
                </c:pt>
                <c:pt idx="893">
                  <c:v>639.76819505495587</c:v>
                </c:pt>
                <c:pt idx="894">
                  <c:v>634.09891136906583</c:v>
                </c:pt>
                <c:pt idx="895">
                  <c:v>#N/A</c:v>
                </c:pt>
                <c:pt idx="896">
                  <c:v>#N/A</c:v>
                </c:pt>
                <c:pt idx="897">
                  <c:v>638.60042120820833</c:v>
                </c:pt>
                <c:pt idx="898">
                  <c:v>641.04513380119181</c:v>
                </c:pt>
                <c:pt idx="899">
                  <c:v>642.24709945326902</c:v>
                </c:pt>
                <c:pt idx="900">
                  <c:v>#N/A</c:v>
                </c:pt>
                <c:pt idx="901">
                  <c:v>665.94152868946026</c:v>
                </c:pt>
                <c:pt idx="902">
                  <c:v>#N/A</c:v>
                </c:pt>
                <c:pt idx="903">
                  <c:v>647.35909855173145</c:v>
                </c:pt>
                <c:pt idx="904">
                  <c:v>646.70127137956831</c:v>
                </c:pt>
                <c:pt idx="905">
                  <c:v>656.28081566491073</c:v>
                </c:pt>
                <c:pt idx="906">
                  <c:v>651.0110639060706</c:v>
                </c:pt>
                <c:pt idx="907">
                  <c:v>653.66965168848128</c:v>
                </c:pt>
                <c:pt idx="908">
                  <c:v>#N/A</c:v>
                </c:pt>
                <c:pt idx="909">
                  <c:v>#N/A</c:v>
                </c:pt>
                <c:pt idx="910">
                  <c:v>#N/A</c:v>
                </c:pt>
                <c:pt idx="911">
                  <c:v>#N/A</c:v>
                </c:pt>
                <c:pt idx="912">
                  <c:v>640.04971043356852</c:v>
                </c:pt>
                <c:pt idx="913">
                  <c:v>637.31246919792954</c:v>
                </c:pt>
                <c:pt idx="914">
                  <c:v>645.26175639572477</c:v>
                </c:pt>
                <c:pt idx="915">
                  <c:v>#N/A</c:v>
                </c:pt>
                <c:pt idx="916">
                  <c:v>#N/A</c:v>
                </c:pt>
                <c:pt idx="917">
                  <c:v>#N/A</c:v>
                </c:pt>
                <c:pt idx="918">
                  <c:v>#N/A</c:v>
                </c:pt>
                <c:pt idx="919">
                  <c:v>#N/A</c:v>
                </c:pt>
                <c:pt idx="920">
                  <c:v>#N/A</c:v>
                </c:pt>
                <c:pt idx="921">
                  <c:v>#N/A</c:v>
                </c:pt>
                <c:pt idx="922">
                  <c:v>#N/A</c:v>
                </c:pt>
                <c:pt idx="923">
                  <c:v>#N/A</c:v>
                </c:pt>
                <c:pt idx="924">
                  <c:v>678.56382582421872</c:v>
                </c:pt>
                <c:pt idx="925">
                  <c:v>702.66924966047941</c:v>
                </c:pt>
                <c:pt idx="926">
                  <c:v>#N/A</c:v>
                </c:pt>
                <c:pt idx="927">
                  <c:v>641.68018739643071</c:v>
                </c:pt>
                <c:pt idx="928">
                  <c:v>#N/A</c:v>
                </c:pt>
                <c:pt idx="929">
                  <c:v>#N/A</c:v>
                </c:pt>
                <c:pt idx="930">
                  <c:v>#N/A</c:v>
                </c:pt>
                <c:pt idx="931">
                  <c:v>#N/A</c:v>
                </c:pt>
                <c:pt idx="932">
                  <c:v>#N/A</c:v>
                </c:pt>
                <c:pt idx="933">
                  <c:v>#N/A</c:v>
                </c:pt>
                <c:pt idx="934">
                  <c:v>#N/A</c:v>
                </c:pt>
                <c:pt idx="935">
                  <c:v>#N/A</c:v>
                </c:pt>
                <c:pt idx="936">
                  <c:v>#N/A</c:v>
                </c:pt>
                <c:pt idx="937">
                  <c:v>#N/A</c:v>
                </c:pt>
                <c:pt idx="938">
                  <c:v>#N/A</c:v>
                </c:pt>
                <c:pt idx="939">
                  <c:v>#N/A</c:v>
                </c:pt>
                <c:pt idx="940">
                  <c:v>#N/A</c:v>
                </c:pt>
                <c:pt idx="941">
                  <c:v>#N/A</c:v>
                </c:pt>
                <c:pt idx="942">
                  <c:v>#N/A</c:v>
                </c:pt>
                <c:pt idx="943">
                  <c:v>#N/A</c:v>
                </c:pt>
                <c:pt idx="944">
                  <c:v>627.16437559162887</c:v>
                </c:pt>
                <c:pt idx="945">
                  <c:v>#N/A</c:v>
                </c:pt>
                <c:pt idx="946">
                  <c:v>#N/A</c:v>
                </c:pt>
                <c:pt idx="947">
                  <c:v>#N/A</c:v>
                </c:pt>
                <c:pt idx="948">
                  <c:v>642.82228169633538</c:v>
                </c:pt>
                <c:pt idx="949">
                  <c:v>645.21790228992063</c:v>
                </c:pt>
                <c:pt idx="950">
                  <c:v>#N/A</c:v>
                </c:pt>
                <c:pt idx="951">
                  <c:v>#N/A</c:v>
                </c:pt>
                <c:pt idx="952">
                  <c:v>#N/A</c:v>
                </c:pt>
                <c:pt idx="953">
                  <c:v>#N/A</c:v>
                </c:pt>
                <c:pt idx="954">
                  <c:v>#N/A</c:v>
                </c:pt>
                <c:pt idx="955">
                  <c:v>#N/A</c:v>
                </c:pt>
                <c:pt idx="956">
                  <c:v>#N/A</c:v>
                </c:pt>
                <c:pt idx="957">
                  <c:v>#N/A</c:v>
                </c:pt>
                <c:pt idx="958">
                  <c:v>#N/A</c:v>
                </c:pt>
                <c:pt idx="959">
                  <c:v>#N/A</c:v>
                </c:pt>
                <c:pt idx="960">
                  <c:v>#N/A</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641.880615008375</c:v>
                </c:pt>
                <c:pt idx="982">
                  <c:v>#N/A</c:v>
                </c:pt>
                <c:pt idx="983">
                  <c:v>641.00852045470936</c:v>
                </c:pt>
                <c:pt idx="984">
                  <c:v>#N/A</c:v>
                </c:pt>
                <c:pt idx="985">
                  <c:v>663.15614797102353</c:v>
                </c:pt>
                <c:pt idx="986">
                  <c:v>667.87746875407322</c:v>
                </c:pt>
                <c:pt idx="987">
                  <c:v>655.99081177603477</c:v>
                </c:pt>
                <c:pt idx="988">
                  <c:v>637.75733797921896</c:v>
                </c:pt>
                <c:pt idx="989">
                  <c:v>643.96184864006671</c:v>
                </c:pt>
                <c:pt idx="990">
                  <c:v>647.03479652250678</c:v>
                </c:pt>
                <c:pt idx="991">
                  <c:v>644.00645411028609</c:v>
                </c:pt>
                <c:pt idx="992">
                  <c:v>#N/A</c:v>
                </c:pt>
                <c:pt idx="993">
                  <c:v>#N/A</c:v>
                </c:pt>
                <c:pt idx="994">
                  <c:v>#N/A</c:v>
                </c:pt>
                <c:pt idx="995">
                  <c:v>#N/A</c:v>
                </c:pt>
                <c:pt idx="996">
                  <c:v>#N/A</c:v>
                </c:pt>
                <c:pt idx="997">
                  <c:v>#N/A</c:v>
                </c:pt>
                <c:pt idx="998">
                  <c:v>#N/A</c:v>
                </c:pt>
                <c:pt idx="999">
                  <c:v>#N/A</c:v>
                </c:pt>
                <c:pt idx="1000">
                  <c:v>#N/A</c:v>
                </c:pt>
                <c:pt idx="1001">
                  <c:v>#N/A</c:v>
                </c:pt>
                <c:pt idx="1002">
                  <c:v>#N/A</c:v>
                </c:pt>
                <c:pt idx="1003">
                  <c:v>#N/A</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N/A</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N/A</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663.57392291080146</c:v>
                </c:pt>
                <c:pt idx="1070">
                  <c:v>#N/A</c:v>
                </c:pt>
                <c:pt idx="1071">
                  <c:v>#N/A</c:v>
                </c:pt>
                <c:pt idx="1072">
                  <c:v>#N/A</c:v>
                </c:pt>
                <c:pt idx="1073">
                  <c:v>#N/A</c:v>
                </c:pt>
                <c:pt idx="1074">
                  <c:v>667.61806180267445</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N/A</c:v>
                </c:pt>
                <c:pt idx="1093">
                  <c:v>#N/A</c:v>
                </c:pt>
                <c:pt idx="1094">
                  <c:v>#N/A</c:v>
                </c:pt>
                <c:pt idx="1095">
                  <c:v>#N/A</c:v>
                </c:pt>
              </c:numCache>
            </c:numRef>
          </c:yVal>
          <c:smooth val="0"/>
          <c:extLst>
            <c:ext xmlns:c16="http://schemas.microsoft.com/office/drawing/2014/chart" uri="{C3380CC4-5D6E-409C-BE32-E72D297353CC}">
              <c16:uniqueId val="{00000000-9691-4666-8C94-4F3BCA099739}"/>
            </c:ext>
          </c:extLst>
        </c:ser>
        <c:dLbls>
          <c:showLegendKey val="0"/>
          <c:showVal val="0"/>
          <c:showCatName val="0"/>
          <c:showSerName val="0"/>
          <c:showPercent val="0"/>
          <c:showBubbleSize val="0"/>
        </c:dLbls>
        <c:axId val="1065455215"/>
        <c:axId val="1065469775"/>
      </c:scatterChart>
      <c:valAx>
        <c:axId val="1065455215"/>
        <c:scaling>
          <c:orientation val="minMax"/>
          <c:min val="0.4990000000000000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469775"/>
        <c:crosses val="autoZero"/>
        <c:crossBetween val="midCat"/>
      </c:valAx>
      <c:valAx>
        <c:axId val="1065469775"/>
        <c:scaling>
          <c:orientation val="minMax"/>
          <c:min val="6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455215"/>
        <c:crosses val="autoZero"/>
        <c:crossBetween val="midCat"/>
      </c:valAx>
      <c:spPr>
        <a:noFill/>
        <a:ln>
          <a:noFill/>
        </a:ln>
        <a:effectLst/>
      </c:spPr>
    </c:plotArea>
    <c:plotVisOnly val="1"/>
    <c:dispBlanksAs val="gap"/>
    <c:showDLblsOverMax val="0"/>
  </c:chart>
  <c:spPr>
    <a:noFill/>
    <a:ln w="9525">
      <a:solidFill>
        <a:schemeClr val="tx2"/>
      </a:solid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ot Blast Temp. °</a:t>
            </a:r>
            <a:r>
              <a:rPr lang="en-US" dirty="0" smtClean="0"/>
              <a:t>C v/s Hot</a:t>
            </a:r>
            <a:r>
              <a:rPr lang="en-US" baseline="0" dirty="0" smtClean="0"/>
              <a:t> Metal Temperature (</a:t>
            </a:r>
            <a:r>
              <a:rPr lang="en-US" sz="1400" b="0" i="0" u="none" strike="noStrike" baseline="0" dirty="0" smtClean="0">
                <a:effectLst/>
              </a:rPr>
              <a:t>°C</a:t>
            </a:r>
            <a:r>
              <a:rPr lang="en-US" baseline="0" dirty="0" smtClean="0"/>
              <a:t>)</a:t>
            </a:r>
            <a:endParaRPr lang="en-US" dirty="0"/>
          </a:p>
        </c:rich>
      </c:tx>
      <c:layout>
        <c:manualLayout>
          <c:xMode val="edge"/>
          <c:yMode val="edge"/>
          <c:x val="0.14891464079748717"/>
          <c:y val="1.007402916343270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H$3:$H$1131</c:f>
              <c:numCache>
                <c:formatCode>0</c:formatCode>
                <c:ptCount val="1129"/>
                <c:pt idx="0">
                  <c:v>1516.4215815036478</c:v>
                </c:pt>
                <c:pt idx="1">
                  <c:v>1507.1332037470527</c:v>
                </c:pt>
                <c:pt idx="2">
                  <c:v>1514.3284402827601</c:v>
                </c:pt>
                <c:pt idx="3">
                  <c:v>1507.2575061253342</c:v>
                </c:pt>
                <c:pt idx="4">
                  <c:v>1513.5458327079896</c:v>
                </c:pt>
                <c:pt idx="5">
                  <c:v>1529.7269305117827</c:v>
                </c:pt>
                <c:pt idx="6">
                  <c:v>1528.2445904051751</c:v>
                </c:pt>
                <c:pt idx="7">
                  <c:v>1520.6929039096058</c:v>
                </c:pt>
                <c:pt idx="8">
                  <c:v>1528.1431135844284</c:v>
                </c:pt>
                <c:pt idx="9">
                  <c:v>1509.321271194292</c:v>
                </c:pt>
                <c:pt idx="10">
                  <c:v>1515.6842635803005</c:v>
                </c:pt>
                <c:pt idx="11">
                  <c:v>1522.4387990807022</c:v>
                </c:pt>
                <c:pt idx="12">
                  <c:v>1521.1149342865024</c:v>
                </c:pt>
                <c:pt idx="13">
                  <c:v>1529.5674324080478</c:v>
                </c:pt>
                <c:pt idx="14">
                  <c:v>1511.6978593994395</c:v>
                </c:pt>
                <c:pt idx="15">
                  <c:v>1518.1180454464009</c:v>
                </c:pt>
                <c:pt idx="16">
                  <c:v>1513.5277316704951</c:v>
                </c:pt>
                <c:pt idx="17">
                  <c:v>1513.8716528851794</c:v>
                </c:pt>
                <c:pt idx="18">
                  <c:v>1512.2218554355436</c:v>
                </c:pt>
                <c:pt idx="19">
                  <c:v>1508.4882949002101</c:v>
                </c:pt>
                <c:pt idx="20">
                  <c:v>1500.9779964175659</c:v>
                </c:pt>
                <c:pt idx="21">
                  <c:v>1491.5020993563983</c:v>
                </c:pt>
                <c:pt idx="22">
                  <c:v>1504.2992559486631</c:v>
                </c:pt>
                <c:pt idx="23">
                  <c:v>1503.8668338849184</c:v>
                </c:pt>
                <c:pt idx="24">
                  <c:v>1509.4592974729856</c:v>
                </c:pt>
                <c:pt idx="25">
                  <c:v>1507.7302694050459</c:v>
                </c:pt>
                <c:pt idx="26">
                  <c:v>1514.719590921015</c:v>
                </c:pt>
                <c:pt idx="27">
                  <c:v>1505.230204740272</c:v>
                </c:pt>
                <c:pt idx="28">
                  <c:v>1495.9236101414544</c:v>
                </c:pt>
                <c:pt idx="29">
                  <c:v>1515.0782318059398</c:v>
                </c:pt>
                <c:pt idx="30">
                  <c:v>1511.2229519095015</c:v>
                </c:pt>
                <c:pt idx="31">
                  <c:v>1503.3025057173613</c:v>
                </c:pt>
                <c:pt idx="32">
                  <c:v>1497.6519418304395</c:v>
                </c:pt>
                <c:pt idx="33">
                  <c:v>1509.089615207406</c:v>
                </c:pt>
                <c:pt idx="34">
                  <c:v>1521.8876127323992</c:v>
                </c:pt>
                <c:pt idx="35">
                  <c:v>1492.9834097110979</c:v>
                </c:pt>
                <c:pt idx="36">
                  <c:v>1512.1240425342328</c:v>
                </c:pt>
                <c:pt idx="37">
                  <c:v>1518.9046724840639</c:v>
                </c:pt>
                <c:pt idx="38">
                  <c:v>1509.4473309176178</c:v>
                </c:pt>
                <c:pt idx="39">
                  <c:v>1512.5012673494018</c:v>
                </c:pt>
                <c:pt idx="40">
                  <c:v>1514.5880796808976</c:v>
                </c:pt>
                <c:pt idx="41">
                  <c:v>1504.9035727993303</c:v>
                </c:pt>
                <c:pt idx="42">
                  <c:v>1516.9856217751906</c:v>
                </c:pt>
                <c:pt idx="43">
                  <c:v>1506.555561073784</c:v>
                </c:pt>
                <c:pt idx="44">
                  <c:v>1479.5182461984182</c:v>
                </c:pt>
                <c:pt idx="45">
                  <c:v>1472.0791678670396</c:v>
                </c:pt>
                <c:pt idx="46">
                  <c:v>1509.7889847494368</c:v>
                </c:pt>
                <c:pt idx="47">
                  <c:v>1510.2473585536718</c:v>
                </c:pt>
                <c:pt idx="48">
                  <c:v>1503.8744901185478</c:v>
                </c:pt>
                <c:pt idx="49">
                  <c:v>1504.4586913904623</c:v>
                </c:pt>
                <c:pt idx="50">
                  <c:v>1501.9503153567937</c:v>
                </c:pt>
                <c:pt idx="51">
                  <c:v>1509.017959399471</c:v>
                </c:pt>
                <c:pt idx="52">
                  <c:v>1504.0660640118231</c:v>
                </c:pt>
                <c:pt idx="53">
                  <c:v>1496.1242438083329</c:v>
                </c:pt>
                <c:pt idx="54">
                  <c:v>1509.7590445593921</c:v>
                </c:pt>
                <c:pt idx="55">
                  <c:v>1495.3967756881084</c:v>
                </c:pt>
                <c:pt idx="56">
                  <c:v>1509.873660210136</c:v>
                </c:pt>
                <c:pt idx="57">
                  <c:v>1503.9271805100295</c:v>
                </c:pt>
                <c:pt idx="58">
                  <c:v>1503.7615356563801</c:v>
                </c:pt>
                <c:pt idx="59">
                  <c:v>1520.1711091455136</c:v>
                </c:pt>
                <c:pt idx="60">
                  <c:v>1509.3810150012632</c:v>
                </c:pt>
                <c:pt idx="61">
                  <c:v>1506.1591007342947</c:v>
                </c:pt>
                <c:pt idx="62">
                  <c:v>1515.6690746234804</c:v>
                </c:pt>
                <c:pt idx="63">
                  <c:v>1514.8275550586745</c:v>
                </c:pt>
                <c:pt idx="64">
                  <c:v>1513.7087201800371</c:v>
                </c:pt>
                <c:pt idx="65">
                  <c:v>1511.841761285631</c:v>
                </c:pt>
                <c:pt idx="66">
                  <c:v>1499.2959648270009</c:v>
                </c:pt>
                <c:pt idx="67">
                  <c:v>1499.9367134973456</c:v>
                </c:pt>
                <c:pt idx="68">
                  <c:v>1493.5310361353393</c:v>
                </c:pt>
                <c:pt idx="69">
                  <c:v>1504.4437586671845</c:v>
                </c:pt>
                <c:pt idx="70">
                  <c:v>1511.6526480083776</c:v>
                </c:pt>
                <c:pt idx="71">
                  <c:v>1507.7374578330541</c:v>
                </c:pt>
                <c:pt idx="72">
                  <c:v>1505.4034612467199</c:v>
                </c:pt>
                <c:pt idx="73">
                  <c:v>1503.6884638323811</c:v>
                </c:pt>
                <c:pt idx="74">
                  <c:v>1508.8910802688238</c:v>
                </c:pt>
                <c:pt idx="75">
                  <c:v>1511.911222105361</c:v>
                </c:pt>
                <c:pt idx="76">
                  <c:v>1510.8214871844593</c:v>
                </c:pt>
                <c:pt idx="77">
                  <c:v>1495.4567115054092</c:v>
                </c:pt>
                <c:pt idx="78">
                  <c:v>1498.2000868304549</c:v>
                </c:pt>
                <c:pt idx="79">
                  <c:v>1508.1354795523084</c:v>
                </c:pt>
                <c:pt idx="80">
                  <c:v>1500.3928564381833</c:v>
                </c:pt>
                <c:pt idx="81">
                  <c:v>1503.8262197330735</c:v>
                </c:pt>
                <c:pt idx="82">
                  <c:v>1515.9918788090063</c:v>
                </c:pt>
                <c:pt idx="83">
                  <c:v>1509.9919091807717</c:v>
                </c:pt>
                <c:pt idx="84">
                  <c:v>1518.0834726965472</c:v>
                </c:pt>
                <c:pt idx="85">
                  <c:v>1499.9928433807495</c:v>
                </c:pt>
                <c:pt idx="86">
                  <c:v>1496.5586024910247</c:v>
                </c:pt>
                <c:pt idx="87">
                  <c:v>1491.7400060388268</c:v>
                </c:pt>
                <c:pt idx="88">
                  <c:v>1494.0250307277183</c:v>
                </c:pt>
                <c:pt idx="89">
                  <c:v>1481.3127898847245</c:v>
                </c:pt>
                <c:pt idx="90">
                  <c:v>1494.825002087349</c:v>
                </c:pt>
                <c:pt idx="91">
                  <c:v>1498.637819767478</c:v>
                </c:pt>
                <c:pt idx="92">
                  <c:v>1496.87146568297</c:v>
                </c:pt>
                <c:pt idx="93">
                  <c:v>1494.4025947790144</c:v>
                </c:pt>
                <c:pt idx="94">
                  <c:v>1495.4721605128461</c:v>
                </c:pt>
                <c:pt idx="95">
                  <c:v>1491.9566890047859</c:v>
                </c:pt>
                <c:pt idx="96">
                  <c:v>1494.665598797807</c:v>
                </c:pt>
                <c:pt idx="97">
                  <c:v>1500.438600238519</c:v>
                </c:pt>
                <c:pt idx="98">
                  <c:v>1484.8813885567902</c:v>
                </c:pt>
                <c:pt idx="99">
                  <c:v>1496.5654262548646</c:v>
                </c:pt>
                <c:pt idx="100">
                  <c:v>1497.2752844192855</c:v>
                </c:pt>
                <c:pt idx="101">
                  <c:v>1504.9267148830897</c:v>
                </c:pt>
                <c:pt idx="102">
                  <c:v>1498.0158290927959</c:v>
                </c:pt>
                <c:pt idx="103">
                  <c:v>1502.401022098843</c:v>
                </c:pt>
                <c:pt idx="104">
                  <c:v>1509.4779007249119</c:v>
                </c:pt>
                <c:pt idx="105">
                  <c:v>1501.6945077851458</c:v>
                </c:pt>
                <c:pt idx="106">
                  <c:v>1487.1961277871987</c:v>
                </c:pt>
                <c:pt idx="107">
                  <c:v>1477.9119158406193</c:v>
                </c:pt>
                <c:pt idx="108">
                  <c:v>1502.5897641822528</c:v>
                </c:pt>
                <c:pt idx="109">
                  <c:v>1499.3350772986123</c:v>
                </c:pt>
                <c:pt idx="110">
                  <c:v>1505.7555510615309</c:v>
                </c:pt>
                <c:pt idx="111">
                  <c:v>1503.8583622961537</c:v>
                </c:pt>
                <c:pt idx="112">
                  <c:v>1499.0735391529495</c:v>
                </c:pt>
                <c:pt idx="113">
                  <c:v>1497.1661332621184</c:v>
                </c:pt>
                <c:pt idx="114">
                  <c:v>1503.9517772228787</c:v>
                </c:pt>
                <c:pt idx="115">
                  <c:v>1504.4854148707143</c:v>
                </c:pt>
                <c:pt idx="116">
                  <c:v>1503.3106216315846</c:v>
                </c:pt>
                <c:pt idx="117">
                  <c:v>1508.0125919003101</c:v>
                </c:pt>
                <c:pt idx="118">
                  <c:v>1501.5603736201874</c:v>
                </c:pt>
                <c:pt idx="119">
                  <c:v>1506.9068469714489</c:v>
                </c:pt>
                <c:pt idx="120">
                  <c:v>1509.3873233699373</c:v>
                </c:pt>
                <c:pt idx="121">
                  <c:v>1500.4509665409312</c:v>
                </c:pt>
                <c:pt idx="122">
                  <c:v>1502.27266141839</c:v>
                </c:pt>
                <c:pt idx="123">
                  <c:v>1508.2625449525101</c:v>
                </c:pt>
                <c:pt idx="124">
                  <c:v>1508.3124239942699</c:v>
                </c:pt>
                <c:pt idx="125">
                  <c:v>1512.8875549853101</c:v>
                </c:pt>
                <c:pt idx="126">
                  <c:v>1503.3192955767499</c:v>
                </c:pt>
                <c:pt idx="127">
                  <c:v>1508.36564391554</c:v>
                </c:pt>
                <c:pt idx="128">
                  <c:v>1498.60302807584</c:v>
                </c:pt>
                <c:pt idx="129">
                  <c:v>1500.7204467727099</c:v>
                </c:pt>
                <c:pt idx="130">
                  <c:v>1499.9957814756599</c:v>
                </c:pt>
                <c:pt idx="131">
                  <c:v>1513.9959524814999</c:v>
                </c:pt>
                <c:pt idx="132">
                  <c:v>1508.3324289722</c:v>
                </c:pt>
                <c:pt idx="133">
                  <c:v>1496.3130861933801</c:v>
                </c:pt>
                <c:pt idx="134">
                  <c:v>1493.3720636836499</c:v>
                </c:pt>
                <c:pt idx="135">
                  <c:v>1497.3371575956501</c:v>
                </c:pt>
                <c:pt idx="136">
                  <c:v>1496.73044347108</c:v>
                </c:pt>
                <c:pt idx="137">
                  <c:v>1509.9561350694501</c:v>
                </c:pt>
                <c:pt idx="138">
                  <c:v>1518.38601764698</c:v>
                </c:pt>
                <c:pt idx="139">
                  <c:v>1512.6699136703201</c:v>
                </c:pt>
                <c:pt idx="140">
                  <c:v>1508.60768989945</c:v>
                </c:pt>
                <c:pt idx="141">
                  <c:v>1498.6521618399199</c:v>
                </c:pt>
                <c:pt idx="142">
                  <c:v>1494.28177920403</c:v>
                </c:pt>
                <c:pt idx="143">
                  <c:v>1479.4768604984699</c:v>
                </c:pt>
                <c:pt idx="144">
                  <c:v>1444.93582050551</c:v>
                </c:pt>
                <c:pt idx="145">
                  <c:v>1470.8198282098899</c:v>
                </c:pt>
                <c:pt idx="149">
                  <c:v>1470.8198282098899</c:v>
                </c:pt>
                <c:pt idx="150">
                  <c:v>1494.49982874481</c:v>
                </c:pt>
                <c:pt idx="151">
                  <c:v>1492.5993643895699</c:v>
                </c:pt>
                <c:pt idx="152">
                  <c:v>1487.4737370288799</c:v>
                </c:pt>
                <c:pt idx="153">
                  <c:v>1490.1577596736299</c:v>
                </c:pt>
                <c:pt idx="154">
                  <c:v>1491.0135906409901</c:v>
                </c:pt>
                <c:pt idx="155">
                  <c:v>1509.4287944247501</c:v>
                </c:pt>
                <c:pt idx="156">
                  <c:v>1502.1073114599201</c:v>
                </c:pt>
                <c:pt idx="157">
                  <c:v>1492.85638277315</c:v>
                </c:pt>
                <c:pt idx="158">
                  <c:v>1501.38868705298</c:v>
                </c:pt>
                <c:pt idx="159">
                  <c:v>1499.76375942803</c:v>
                </c:pt>
                <c:pt idx="160">
                  <c:v>1496.87642632344</c:v>
                </c:pt>
                <c:pt idx="161">
                  <c:v>1493.7105943122999</c:v>
                </c:pt>
                <c:pt idx="162">
                  <c:v>1485.89048859012</c:v>
                </c:pt>
                <c:pt idx="163">
                  <c:v>1492.2200824634399</c:v>
                </c:pt>
                <c:pt idx="164">
                  <c:v>1494.0132987914999</c:v>
                </c:pt>
                <c:pt idx="165">
                  <c:v>1494.9252155480799</c:v>
                </c:pt>
                <c:pt idx="166">
                  <c:v>1500.08794944022</c:v>
                </c:pt>
                <c:pt idx="167">
                  <c:v>1501.8398899786901</c:v>
                </c:pt>
                <c:pt idx="168">
                  <c:v>1502.9516705146</c:v>
                </c:pt>
                <c:pt idx="169">
                  <c:v>1511.50395013313</c:v>
                </c:pt>
                <c:pt idx="170">
                  <c:v>1504.8494906807</c:v>
                </c:pt>
                <c:pt idx="171">
                  <c:v>1512.7204096584301</c:v>
                </c:pt>
                <c:pt idx="172">
                  <c:v>1496.8276065408199</c:v>
                </c:pt>
                <c:pt idx="173">
                  <c:v>1498.6053553515101</c:v>
                </c:pt>
                <c:pt idx="174">
                  <c:v>1510.6142435954901</c:v>
                </c:pt>
                <c:pt idx="175">
                  <c:v>1510.67309777882</c:v>
                </c:pt>
                <c:pt idx="176">
                  <c:v>1506.32530215771</c:v>
                </c:pt>
                <c:pt idx="177">
                  <c:v>1485.39950958447</c:v>
                </c:pt>
                <c:pt idx="178">
                  <c:v>1485.29409078565</c:v>
                </c:pt>
                <c:pt idx="179">
                  <c:v>1500.92926141162</c:v>
                </c:pt>
                <c:pt idx="180">
                  <c:v>1497.79739686581</c:v>
                </c:pt>
                <c:pt idx="181">
                  <c:v>1495.7972788244099</c:v>
                </c:pt>
                <c:pt idx="182">
                  <c:v>1492.2021596203899</c:v>
                </c:pt>
                <c:pt idx="183">
                  <c:v>1512.6695412624599</c:v>
                </c:pt>
                <c:pt idx="184">
                  <c:v>1503.94358979413</c:v>
                </c:pt>
                <c:pt idx="185">
                  <c:v>1490.6108879670301</c:v>
                </c:pt>
                <c:pt idx="186">
                  <c:v>1495.43388024515</c:v>
                </c:pt>
                <c:pt idx="187">
                  <c:v>1491.1155982791799</c:v>
                </c:pt>
                <c:pt idx="188">
                  <c:v>1488.0188340432001</c:v>
                </c:pt>
                <c:pt idx="189">
                  <c:v>1497.32212261517</c:v>
                </c:pt>
                <c:pt idx="190">
                  <c:v>1506.95401575197</c:v>
                </c:pt>
                <c:pt idx="191">
                  <c:v>1497.1445996330599</c:v>
                </c:pt>
                <c:pt idx="192">
                  <c:v>1492.4383595740201</c:v>
                </c:pt>
                <c:pt idx="193">
                  <c:v>1495.7897207902899</c:v>
                </c:pt>
                <c:pt idx="194">
                  <c:v>1489.2336737011699</c:v>
                </c:pt>
                <c:pt idx="195">
                  <c:v>1475.4191940421599</c:v>
                </c:pt>
                <c:pt idx="196">
                  <c:v>1502.32925663736</c:v>
                </c:pt>
                <c:pt idx="197">
                  <c:v>1493.01946220988</c:v>
                </c:pt>
                <c:pt idx="198">
                  <c:v>1488.7436126228699</c:v>
                </c:pt>
                <c:pt idx="199">
                  <c:v>1497.3545463416399</c:v>
                </c:pt>
                <c:pt idx="200">
                  <c:v>1508.3580646769201</c:v>
                </c:pt>
                <c:pt idx="201">
                  <c:v>1485.97245537803</c:v>
                </c:pt>
                <c:pt idx="202">
                  <c:v>1495.4194703507001</c:v>
                </c:pt>
                <c:pt idx="203">
                  <c:v>1497.1571729377399</c:v>
                </c:pt>
                <c:pt idx="204">
                  <c:v>1484.7404574191601</c:v>
                </c:pt>
                <c:pt idx="205">
                  <c:v>1484.9919005850199</c:v>
                </c:pt>
                <c:pt idx="206">
                  <c:v>1483.03259457788</c:v>
                </c:pt>
                <c:pt idx="207">
                  <c:v>1480.55758203192</c:v>
                </c:pt>
                <c:pt idx="208">
                  <c:v>1483.70724717697</c:v>
                </c:pt>
                <c:pt idx="209">
                  <c:v>1497.37904615363</c:v>
                </c:pt>
                <c:pt idx="210">
                  <c:v>1481.9272316870799</c:v>
                </c:pt>
                <c:pt idx="211">
                  <c:v>1495.6014039572999</c:v>
                </c:pt>
                <c:pt idx="212">
                  <c:v>1498.5202845266299</c:v>
                </c:pt>
                <c:pt idx="213">
                  <c:v>1499.91182662608</c:v>
                </c:pt>
                <c:pt idx="214">
                  <c:v>1494.8205416723699</c:v>
                </c:pt>
                <c:pt idx="215">
                  <c:v>1491.56496801396</c:v>
                </c:pt>
                <c:pt idx="216">
                  <c:v>1502.22072168462</c:v>
                </c:pt>
                <c:pt idx="217">
                  <c:v>1510.2495035746999</c:v>
                </c:pt>
                <c:pt idx="218">
                  <c:v>1497.1404134511799</c:v>
                </c:pt>
                <c:pt idx="219">
                  <c:v>1486.0226191069501</c:v>
                </c:pt>
                <c:pt idx="220">
                  <c:v>1492.56837366799</c:v>
                </c:pt>
                <c:pt idx="221">
                  <c:v>1500.0863487041399</c:v>
                </c:pt>
                <c:pt idx="222">
                  <c:v>1500.7016932937199</c:v>
                </c:pt>
                <c:pt idx="223">
                  <c:v>1488.3642748793</c:v>
                </c:pt>
                <c:pt idx="224">
                  <c:v>1497.28683622978</c:v>
                </c:pt>
                <c:pt idx="225">
                  <c:v>1493.76847769347</c:v>
                </c:pt>
                <c:pt idx="226">
                  <c:v>1493.76847769347</c:v>
                </c:pt>
                <c:pt idx="227">
                  <c:v>1497.09967860097</c:v>
                </c:pt>
                <c:pt idx="228">
                  <c:v>1494.7249875042</c:v>
                </c:pt>
                <c:pt idx="229">
                  <c:v>1509.19308405723</c:v>
                </c:pt>
                <c:pt idx="230">
                  <c:v>1477.5282468902999</c:v>
                </c:pt>
                <c:pt idx="231">
                  <c:v>1484.66105579135</c:v>
                </c:pt>
                <c:pt idx="232">
                  <c:v>1492.99759893023</c:v>
                </c:pt>
                <c:pt idx="233">
                  <c:v>1491.72459388537</c:v>
                </c:pt>
                <c:pt idx="234">
                  <c:v>1508.1585270378901</c:v>
                </c:pt>
                <c:pt idx="235">
                  <c:v>1512.75617612983</c:v>
                </c:pt>
                <c:pt idx="236">
                  <c:v>1503.28509791396</c:v>
                </c:pt>
                <c:pt idx="237">
                  <c:v>1510.1039999135901</c:v>
                </c:pt>
                <c:pt idx="238">
                  <c:v>1506.7248168503299</c:v>
                </c:pt>
                <c:pt idx="239">
                  <c:v>1523.1557128639099</c:v>
                </c:pt>
                <c:pt idx="240">
                  <c:v>1523.6507920882</c:v>
                </c:pt>
                <c:pt idx="241">
                  <c:v>1520.14275862349</c:v>
                </c:pt>
                <c:pt idx="242">
                  <c:v>1514.3366953356001</c:v>
                </c:pt>
                <c:pt idx="243">
                  <c:v>1509.1530948475699</c:v>
                </c:pt>
                <c:pt idx="244">
                  <c:v>1500.6747039659899</c:v>
                </c:pt>
                <c:pt idx="245">
                  <c:v>1506.7242342873899</c:v>
                </c:pt>
                <c:pt idx="246">
                  <c:v>1509.0358920185099</c:v>
                </c:pt>
                <c:pt idx="247">
                  <c:v>1502.8481796074</c:v>
                </c:pt>
                <c:pt idx="248">
                  <c:v>1509.3485024341001</c:v>
                </c:pt>
                <c:pt idx="249">
                  <c:v>1521.1231086978</c:v>
                </c:pt>
                <c:pt idx="250">
                  <c:v>1517.77002625573</c:v>
                </c:pt>
                <c:pt idx="251">
                  <c:v>1523.1637789282299</c:v>
                </c:pt>
                <c:pt idx="252">
                  <c:v>1509.86493778473</c:v>
                </c:pt>
                <c:pt idx="253">
                  <c:v>1494.6838057551699</c:v>
                </c:pt>
                <c:pt idx="254">
                  <c:v>1490.67137955011</c:v>
                </c:pt>
                <c:pt idx="255">
                  <c:v>1497.32971831482</c:v>
                </c:pt>
                <c:pt idx="256">
                  <c:v>1488.4037447810899</c:v>
                </c:pt>
                <c:pt idx="257">
                  <c:v>1516.92149400675</c:v>
                </c:pt>
                <c:pt idx="258">
                  <c:v>1491.24349913589</c:v>
                </c:pt>
                <c:pt idx="259">
                  <c:v>1490.8393515688599</c:v>
                </c:pt>
                <c:pt idx="260">
                  <c:v>1511.0673288953201</c:v>
                </c:pt>
                <c:pt idx="261">
                  <c:v>1518.21882153566</c:v>
                </c:pt>
                <c:pt idx="262">
                  <c:v>1499.4106036799201</c:v>
                </c:pt>
                <c:pt idx="263">
                  <c:v>1504.31641211025</c:v>
                </c:pt>
                <c:pt idx="264">
                  <c:v>1509.8341485191099</c:v>
                </c:pt>
                <c:pt idx="265">
                  <c:v>1512.6916743202801</c:v>
                </c:pt>
                <c:pt idx="266">
                  <c:v>1506.4676729831699</c:v>
                </c:pt>
                <c:pt idx="267">
                  <c:v>1499.51556390417</c:v>
                </c:pt>
                <c:pt idx="268">
                  <c:v>1507.38432184407</c:v>
                </c:pt>
                <c:pt idx="269">
                  <c:v>1513.31710362484</c:v>
                </c:pt>
                <c:pt idx="270">
                  <c:v>1517.6435239095999</c:v>
                </c:pt>
                <c:pt idx="271">
                  <c:v>1495.80042261875</c:v>
                </c:pt>
                <c:pt idx="272">
                  <c:v>1494.0812611419999</c:v>
                </c:pt>
                <c:pt idx="273">
                  <c:v>1498.82557886617</c:v>
                </c:pt>
                <c:pt idx="274">
                  <c:v>1500.5784036744401</c:v>
                </c:pt>
                <c:pt idx="275">
                  <c:v>1503.0472449347899</c:v>
                </c:pt>
                <c:pt idx="276">
                  <c:v>1516.3492491847101</c:v>
                </c:pt>
                <c:pt idx="277">
                  <c:v>1514.7793740555501</c:v>
                </c:pt>
                <c:pt idx="278">
                  <c:v>1513.23800793127</c:v>
                </c:pt>
                <c:pt idx="279">
                  <c:v>1504.3074175459101</c:v>
                </c:pt>
                <c:pt idx="280">
                  <c:v>1496.6307060413999</c:v>
                </c:pt>
                <c:pt idx="281">
                  <c:v>1505.7054097169701</c:v>
                </c:pt>
                <c:pt idx="282">
                  <c:v>1503.7222958294401</c:v>
                </c:pt>
                <c:pt idx="283">
                  <c:v>1500.30677138187</c:v>
                </c:pt>
                <c:pt idx="284">
                  <c:v>1509.6981619309599</c:v>
                </c:pt>
                <c:pt idx="285">
                  <c:v>1515.4909136123899</c:v>
                </c:pt>
                <c:pt idx="286">
                  <c:v>1509.88443769577</c:v>
                </c:pt>
                <c:pt idx="287">
                  <c:v>1506.6603785979601</c:v>
                </c:pt>
                <c:pt idx="288">
                  <c:v>1503.04937613984</c:v>
                </c:pt>
                <c:pt idx="289">
                  <c:v>1513.83418351251</c:v>
                </c:pt>
                <c:pt idx="290">
                  <c:v>1511.1718085001</c:v>
                </c:pt>
                <c:pt idx="291">
                  <c:v>1529.4621577830801</c:v>
                </c:pt>
                <c:pt idx="292">
                  <c:v>1495.82658476402</c:v>
                </c:pt>
                <c:pt idx="293">
                  <c:v>1521.13980774325</c:v>
                </c:pt>
                <c:pt idx="294">
                  <c:v>1508.54205919574</c:v>
                </c:pt>
                <c:pt idx="295">
                  <c:v>1512.06991377126</c:v>
                </c:pt>
                <c:pt idx="296">
                  <c:v>1509.2443657003801</c:v>
                </c:pt>
                <c:pt idx="297">
                  <c:v>1505.2421485490099</c:v>
                </c:pt>
                <c:pt idx="298">
                  <c:v>1507.68877567866</c:v>
                </c:pt>
                <c:pt idx="299">
                  <c:v>1516.7496692116199</c:v>
                </c:pt>
                <c:pt idx="300">
                  <c:v>1514.8949428762</c:v>
                </c:pt>
                <c:pt idx="301">
                  <c:v>1507.89981839235</c:v>
                </c:pt>
                <c:pt idx="302">
                  <c:v>1510.5893522936999</c:v>
                </c:pt>
                <c:pt idx="303">
                  <c:v>1515.6176564894699</c:v>
                </c:pt>
                <c:pt idx="304">
                  <c:v>1509.56942774854</c:v>
                </c:pt>
                <c:pt idx="305">
                  <c:v>1501.09896443245</c:v>
                </c:pt>
                <c:pt idx="306">
                  <c:v>1508.32130793587</c:v>
                </c:pt>
                <c:pt idx="307">
                  <c:v>1510.8857810970601</c:v>
                </c:pt>
                <c:pt idx="308">
                  <c:v>1505.04302855474</c:v>
                </c:pt>
                <c:pt idx="309">
                  <c:v>1509.64072260496</c:v>
                </c:pt>
                <c:pt idx="310">
                  <c:v>1514.55618571322</c:v>
                </c:pt>
                <c:pt idx="311">
                  <c:v>1509.8816190167699</c:v>
                </c:pt>
                <c:pt idx="312">
                  <c:v>1511.4824999703701</c:v>
                </c:pt>
                <c:pt idx="313">
                  <c:v>1508.30744264901</c:v>
                </c:pt>
                <c:pt idx="314">
                  <c:v>1512.8304099363099</c:v>
                </c:pt>
                <c:pt idx="315">
                  <c:v>1502.56809620186</c:v>
                </c:pt>
                <c:pt idx="316">
                  <c:v>1512.4295393104201</c:v>
                </c:pt>
                <c:pt idx="317">
                  <c:v>1514.7176915254099</c:v>
                </c:pt>
                <c:pt idx="318">
                  <c:v>1519.03972763002</c:v>
                </c:pt>
                <c:pt idx="319">
                  <c:v>1508.03073871889</c:v>
                </c:pt>
                <c:pt idx="320">
                  <c:v>1514.95863745977</c:v>
                </c:pt>
                <c:pt idx="321">
                  <c:v>1511.01926542258</c:v>
                </c:pt>
                <c:pt idx="322">
                  <c:v>1514.8115434377</c:v>
                </c:pt>
                <c:pt idx="323">
                  <c:v>1510.2892939261201</c:v>
                </c:pt>
                <c:pt idx="324">
                  <c:v>1519.6112323253601</c:v>
                </c:pt>
                <c:pt idx="325">
                  <c:v>1512.9598409027401</c:v>
                </c:pt>
                <c:pt idx="326">
                  <c:v>1510.4025380752701</c:v>
                </c:pt>
                <c:pt idx="327">
                  <c:v>1516.3092435687599</c:v>
                </c:pt>
                <c:pt idx="328">
                  <c:v>1510.8216701532201</c:v>
                </c:pt>
                <c:pt idx="329">
                  <c:v>1522.15144931795</c:v>
                </c:pt>
                <c:pt idx="330">
                  <c:v>1501.77735012784</c:v>
                </c:pt>
                <c:pt idx="331">
                  <c:v>1500.27729748466</c:v>
                </c:pt>
                <c:pt idx="332">
                  <c:v>1517.39323193321</c:v>
                </c:pt>
                <c:pt idx="333">
                  <c:v>1513.02525347286</c:v>
                </c:pt>
                <c:pt idx="334">
                  <c:v>1497.7736171717299</c:v>
                </c:pt>
                <c:pt idx="335">
                  <c:v>1494.68422032082</c:v>
                </c:pt>
                <c:pt idx="336">
                  <c:v>1518.0801009695699</c:v>
                </c:pt>
                <c:pt idx="337">
                  <c:v>1510.41412288225</c:v>
                </c:pt>
                <c:pt idx="338">
                  <c:v>1507.16724925982</c:v>
                </c:pt>
                <c:pt idx="339">
                  <c:v>1506.6503293834</c:v>
                </c:pt>
                <c:pt idx="340">
                  <c:v>1515.1643185246</c:v>
                </c:pt>
                <c:pt idx="341">
                  <c:v>1516.21149247738</c:v>
                </c:pt>
                <c:pt idx="342">
                  <c:v>1513.0501297638</c:v>
                </c:pt>
                <c:pt idx="343">
                  <c:v>1505.1146307383599</c:v>
                </c:pt>
                <c:pt idx="344">
                  <c:v>1505.9992077475599</c:v>
                </c:pt>
                <c:pt idx="345">
                  <c:v>1525.5978827143001</c:v>
                </c:pt>
                <c:pt idx="346">
                  <c:v>1516.1055442261099</c:v>
                </c:pt>
                <c:pt idx="347">
                  <c:v>1522.4887100700701</c:v>
                </c:pt>
                <c:pt idx="348">
                  <c:v>1503.5603660766101</c:v>
                </c:pt>
                <c:pt idx="349">
                  <c:v>1514.7719157080301</c:v>
                </c:pt>
                <c:pt idx="350">
                  <c:v>1481.8407525525299</c:v>
                </c:pt>
                <c:pt idx="351">
                  <c:v>1504.3471127397099</c:v>
                </c:pt>
                <c:pt idx="352">
                  <c:v>1503.92436078936</c:v>
                </c:pt>
                <c:pt idx="353">
                  <c:v>1493.9996720397601</c:v>
                </c:pt>
                <c:pt idx="354">
                  <c:v>1503.0018323781601</c:v>
                </c:pt>
                <c:pt idx="355">
                  <c:v>1507.9601688422899</c:v>
                </c:pt>
                <c:pt idx="356">
                  <c:v>1486.00760168086</c:v>
                </c:pt>
                <c:pt idx="357">
                  <c:v>1517.0101008394499</c:v>
                </c:pt>
                <c:pt idx="358">
                  <c:v>1508.98577799346</c:v>
                </c:pt>
                <c:pt idx="359">
                  <c:v>1513.1544392818701</c:v>
                </c:pt>
                <c:pt idx="360">
                  <c:v>1501.5159766297299</c:v>
                </c:pt>
                <c:pt idx="361">
                  <c:v>1511.42765102004</c:v>
                </c:pt>
                <c:pt idx="362">
                  <c:v>1524.8011439914401</c:v>
                </c:pt>
                <c:pt idx="363">
                  <c:v>1499.9557946336099</c:v>
                </c:pt>
                <c:pt idx="364">
                  <c:v>1480.6589022360299</c:v>
                </c:pt>
                <c:pt idx="365">
                  <c:v>1526.1549985463901</c:v>
                </c:pt>
                <c:pt idx="366" formatCode="General">
                  <c:v>1517.5406701186801</c:v>
                </c:pt>
                <c:pt idx="367">
                  <c:v>1513.9099550726701</c:v>
                </c:pt>
                <c:pt idx="368">
                  <c:v>1512.2862669067299</c:v>
                </c:pt>
                <c:pt idx="369">
                  <c:v>1520.8089189243001</c:v>
                </c:pt>
                <c:pt idx="370">
                  <c:v>1498.0763359111299</c:v>
                </c:pt>
                <c:pt idx="371">
                  <c:v>1502.79621184961</c:v>
                </c:pt>
                <c:pt idx="372">
                  <c:v>1499.6851471276</c:v>
                </c:pt>
                <c:pt idx="373">
                  <c:v>1505.3036888762599</c:v>
                </c:pt>
                <c:pt idx="374">
                  <c:v>1510.4648442554001</c:v>
                </c:pt>
                <c:pt idx="375">
                  <c:v>1506.36206620229</c:v>
                </c:pt>
                <c:pt idx="376">
                  <c:v>1509.3139925159201</c:v>
                </c:pt>
                <c:pt idx="377">
                  <c:v>1516.3184462987999</c:v>
                </c:pt>
                <c:pt idx="378">
                  <c:v>1505.8899046567101</c:v>
                </c:pt>
                <c:pt idx="379">
                  <c:v>1506.3195339062299</c:v>
                </c:pt>
                <c:pt idx="380">
                  <c:v>1492.2091997856501</c:v>
                </c:pt>
                <c:pt idx="381">
                  <c:v>1498.52735479688</c:v>
                </c:pt>
                <c:pt idx="382">
                  <c:v>1511.78118873318</c:v>
                </c:pt>
                <c:pt idx="383">
                  <c:v>1513.6327375517001</c:v>
                </c:pt>
                <c:pt idx="384">
                  <c:v>1507.80677659312</c:v>
                </c:pt>
                <c:pt idx="385">
                  <c:v>1503.8956799607399</c:v>
                </c:pt>
                <c:pt idx="386">
                  <c:v>1507.8200361546001</c:v>
                </c:pt>
                <c:pt idx="387">
                  <c:v>1505.3481466227199</c:v>
                </c:pt>
                <c:pt idx="388">
                  <c:v>1507.6729563172401</c:v>
                </c:pt>
                <c:pt idx="389">
                  <c:v>1494.71791093805</c:v>
                </c:pt>
                <c:pt idx="390">
                  <c:v>1509.2634786722699</c:v>
                </c:pt>
                <c:pt idx="391">
                  <c:v>1504.7303266031699</c:v>
                </c:pt>
                <c:pt idx="392">
                  <c:v>1511.53802331819</c:v>
                </c:pt>
                <c:pt idx="393">
                  <c:v>1515.1806528413799</c:v>
                </c:pt>
                <c:pt idx="394">
                  <c:v>1509.4347843570699</c:v>
                </c:pt>
                <c:pt idx="395">
                  <c:v>1511.0418183870299</c:v>
                </c:pt>
                <c:pt idx="396">
                  <c:v>1519.04820269569</c:v>
                </c:pt>
                <c:pt idx="397">
                  <c:v>1514.12003930376</c:v>
                </c:pt>
                <c:pt idx="398">
                  <c:v>1502.04472020663</c:v>
                </c:pt>
                <c:pt idx="399">
                  <c:v>1497.6412194023901</c:v>
                </c:pt>
                <c:pt idx="400">
                  <c:v>1503.09378426168</c:v>
                </c:pt>
                <c:pt idx="401">
                  <c:v>1509.04694323124</c:v>
                </c:pt>
                <c:pt idx="402">
                  <c:v>1501.7954306809199</c:v>
                </c:pt>
                <c:pt idx="403">
                  <c:v>1508.5162742397099</c:v>
                </c:pt>
                <c:pt idx="404">
                  <c:v>1494.9962124891799</c:v>
                </c:pt>
                <c:pt idx="405">
                  <c:v>1510.44698700709</c:v>
                </c:pt>
                <c:pt idx="406">
                  <c:v>1508.4666452336401</c:v>
                </c:pt>
                <c:pt idx="407">
                  <c:v>1498.47340778894</c:v>
                </c:pt>
                <c:pt idx="408">
                  <c:v>1483.1570427183599</c:v>
                </c:pt>
                <c:pt idx="409">
                  <c:v>1501.73385156057</c:v>
                </c:pt>
                <c:pt idx="410">
                  <c:v>1504.6216814530501</c:v>
                </c:pt>
                <c:pt idx="411">
                  <c:v>1499.4824186698099</c:v>
                </c:pt>
                <c:pt idx="412">
                  <c:v>1503.6675354204499</c:v>
                </c:pt>
                <c:pt idx="413">
                  <c:v>1509.0629404722399</c:v>
                </c:pt>
                <c:pt idx="414">
                  <c:v>1486.18834561531</c:v>
                </c:pt>
                <c:pt idx="415">
                  <c:v>1505.63438581593</c:v>
                </c:pt>
                <c:pt idx="416">
                  <c:v>1511.53106123728</c:v>
                </c:pt>
                <c:pt idx="417">
                  <c:v>1517.08275971845</c:v>
                </c:pt>
                <c:pt idx="418">
                  <c:v>1512.3578172023999</c:v>
                </c:pt>
                <c:pt idx="419">
                  <c:v>1499.2015698269099</c:v>
                </c:pt>
                <c:pt idx="420">
                  <c:v>1509.6603486977201</c:v>
                </c:pt>
                <c:pt idx="421">
                  <c:v>1506.59364010577</c:v>
                </c:pt>
                <c:pt idx="422">
                  <c:v>1501.08210813816</c:v>
                </c:pt>
                <c:pt idx="423">
                  <c:v>1502.06569178615</c:v>
                </c:pt>
                <c:pt idx="424">
                  <c:v>1516.9780398651101</c:v>
                </c:pt>
                <c:pt idx="425">
                  <c:v>1503.83416155597</c:v>
                </c:pt>
                <c:pt idx="426">
                  <c:v>1499.5805831195701</c:v>
                </c:pt>
                <c:pt idx="427">
                  <c:v>1494.14529877776</c:v>
                </c:pt>
                <c:pt idx="428">
                  <c:v>1510.3762990053999</c:v>
                </c:pt>
                <c:pt idx="429">
                  <c:v>1507.2557990056901</c:v>
                </c:pt>
                <c:pt idx="430">
                  <c:v>1509.2327311598101</c:v>
                </c:pt>
                <c:pt idx="431">
                  <c:v>1504.7802965258099</c:v>
                </c:pt>
                <c:pt idx="432">
                  <c:v>1497.5599042828101</c:v>
                </c:pt>
                <c:pt idx="433">
                  <c:v>1502.30275187143</c:v>
                </c:pt>
                <c:pt idx="434">
                  <c:v>1499.1751537698001</c:v>
                </c:pt>
                <c:pt idx="435">
                  <c:v>1481.9030628688199</c:v>
                </c:pt>
                <c:pt idx="436">
                  <c:v>1503.7164218611399</c:v>
                </c:pt>
                <c:pt idx="437">
                  <c:v>1492.45365186657</c:v>
                </c:pt>
                <c:pt idx="438">
                  <c:v>1498.64033950936</c:v>
                </c:pt>
                <c:pt idx="439">
                  <c:v>1482.8886349105801</c:v>
                </c:pt>
                <c:pt idx="440">
                  <c:v>1510.6824344127101</c:v>
                </c:pt>
                <c:pt idx="441">
                  <c:v>1503.1429751542501</c:v>
                </c:pt>
                <c:pt idx="442">
                  <c:v>1506.51533623415</c:v>
                </c:pt>
                <c:pt idx="443">
                  <c:v>1490.09502062563</c:v>
                </c:pt>
                <c:pt idx="444">
                  <c:v>1492.88723430103</c:v>
                </c:pt>
                <c:pt idx="445">
                  <c:v>1483.0404519654601</c:v>
                </c:pt>
                <c:pt idx="446">
                  <c:v>1494.58071189925</c:v>
                </c:pt>
                <c:pt idx="447">
                  <c:v>1498.7589119265499</c:v>
                </c:pt>
                <c:pt idx="448">
                  <c:v>1504.50756964077</c:v>
                </c:pt>
                <c:pt idx="449">
                  <c:v>1503.2779237892901</c:v>
                </c:pt>
                <c:pt idx="450">
                  <c:v>1496.6303858501301</c:v>
                </c:pt>
                <c:pt idx="451">
                  <c:v>1498.1966384414</c:v>
                </c:pt>
                <c:pt idx="452">
                  <c:v>1499.14535474182</c:v>
                </c:pt>
                <c:pt idx="453">
                  <c:v>1495.1872127668601</c:v>
                </c:pt>
                <c:pt idx="454">
                  <c:v>1514.0249925467499</c:v>
                </c:pt>
                <c:pt idx="455">
                  <c:v>1490.09215733515</c:v>
                </c:pt>
                <c:pt idx="456">
                  <c:v>1507.8928025427001</c:v>
                </c:pt>
                <c:pt idx="457">
                  <c:v>1524.1512938758499</c:v>
                </c:pt>
                <c:pt idx="458">
                  <c:v>1497.4137917550299</c:v>
                </c:pt>
                <c:pt idx="459">
                  <c:v>1488.32699758837</c:v>
                </c:pt>
                <c:pt idx="460">
                  <c:v>1488.2011391937899</c:v>
                </c:pt>
                <c:pt idx="461">
                  <c:v>1502.08235432476</c:v>
                </c:pt>
                <c:pt idx="462">
                  <c:v>1489.0419760341099</c:v>
                </c:pt>
                <c:pt idx="463">
                  <c:v>1490.9617974068799</c:v>
                </c:pt>
                <c:pt idx="464">
                  <c:v>1497.08280756874</c:v>
                </c:pt>
                <c:pt idx="465">
                  <c:v>1511.8434240494901</c:v>
                </c:pt>
                <c:pt idx="466">
                  <c:v>1513.61465235945</c:v>
                </c:pt>
                <c:pt idx="467">
                  <c:v>1499.90975379616</c:v>
                </c:pt>
                <c:pt idx="468">
                  <c:v>1529.89677521679</c:v>
                </c:pt>
                <c:pt idx="469">
                  <c:v>1490.07139302005</c:v>
                </c:pt>
                <c:pt idx="470">
                  <c:v>1492.34944660733</c:v>
                </c:pt>
                <c:pt idx="471">
                  <c:v>1499.4171554192701</c:v>
                </c:pt>
                <c:pt idx="472">
                  <c:v>1487.3966094256</c:v>
                </c:pt>
                <c:pt idx="473">
                  <c:v>1482.8249372844</c:v>
                </c:pt>
                <c:pt idx="474">
                  <c:v>1489.76727102529</c:v>
                </c:pt>
                <c:pt idx="475">
                  <c:v>1501.0691793189901</c:v>
                </c:pt>
                <c:pt idx="476">
                  <c:v>1491.20274972948</c:v>
                </c:pt>
                <c:pt idx="477">
                  <c:v>1485.98685324907</c:v>
                </c:pt>
                <c:pt idx="478">
                  <c:v>1481.8898698328501</c:v>
                </c:pt>
                <c:pt idx="479">
                  <c:v>1485.1360922665899</c:v>
                </c:pt>
                <c:pt idx="480">
                  <c:v>1490.91145793388</c:v>
                </c:pt>
                <c:pt idx="481">
                  <c:v>1494.0734472822601</c:v>
                </c:pt>
                <c:pt idx="482">
                  <c:v>1499.8120651245099</c:v>
                </c:pt>
                <c:pt idx="483">
                  <c:v>1514.52581376802</c:v>
                </c:pt>
                <c:pt idx="484">
                  <c:v>1500.37083369579</c:v>
                </c:pt>
                <c:pt idx="485">
                  <c:v>1500.30779224256</c:v>
                </c:pt>
                <c:pt idx="486">
                  <c:v>1486.2886046408701</c:v>
                </c:pt>
                <c:pt idx="487">
                  <c:v>1502.83157000096</c:v>
                </c:pt>
                <c:pt idx="488">
                  <c:v>1486.52057707109</c:v>
                </c:pt>
                <c:pt idx="489">
                  <c:v>1494.3681682756001</c:v>
                </c:pt>
                <c:pt idx="490">
                  <c:v>1484.78678031547</c:v>
                </c:pt>
                <c:pt idx="491">
                  <c:v>1490.0696778189099</c:v>
                </c:pt>
                <c:pt idx="492">
                  <c:v>1493.60188259644</c:v>
                </c:pt>
                <c:pt idx="493">
                  <c:v>1485.1896534631601</c:v>
                </c:pt>
                <c:pt idx="494">
                  <c:v>1466.7398031814901</c:v>
                </c:pt>
                <c:pt idx="495">
                  <c:v>1456.1269804905401</c:v>
                </c:pt>
                <c:pt idx="496">
                  <c:v>1433.37744946099</c:v>
                </c:pt>
                <c:pt idx="499">
                  <c:v>1489.3394977758001</c:v>
                </c:pt>
                <c:pt idx="500">
                  <c:v>1487.2746074182901</c:v>
                </c:pt>
                <c:pt idx="501">
                  <c:v>1494.0184132775901</c:v>
                </c:pt>
                <c:pt idx="502">
                  <c:v>1494.61418457133</c:v>
                </c:pt>
                <c:pt idx="503">
                  <c:v>1488.3237135290201</c:v>
                </c:pt>
                <c:pt idx="504">
                  <c:v>1490.78451195817</c:v>
                </c:pt>
                <c:pt idx="505">
                  <c:v>1481.5672445359201</c:v>
                </c:pt>
                <c:pt idx="506">
                  <c:v>1484.4436711506501</c:v>
                </c:pt>
                <c:pt idx="507">
                  <c:v>1492.2464600436999</c:v>
                </c:pt>
                <c:pt idx="508">
                  <c:v>1482.8035128490001</c:v>
                </c:pt>
                <c:pt idx="509">
                  <c:v>1484.3503963681401</c:v>
                </c:pt>
                <c:pt idx="510">
                  <c:v>1489.3497046718401</c:v>
                </c:pt>
                <c:pt idx="511">
                  <c:v>1482.34343080348</c:v>
                </c:pt>
                <c:pt idx="512">
                  <c:v>1486.93842638762</c:v>
                </c:pt>
                <c:pt idx="513">
                  <c:v>1500.6387500962001</c:v>
                </c:pt>
                <c:pt idx="514">
                  <c:v>1493.84271900616</c:v>
                </c:pt>
                <c:pt idx="515">
                  <c:v>1474.6451206300701</c:v>
                </c:pt>
                <c:pt idx="516">
                  <c:v>1477.9691325164799</c:v>
                </c:pt>
                <c:pt idx="517">
                  <c:v>1477.1781866914</c:v>
                </c:pt>
                <c:pt idx="518">
                  <c:v>1503.7396461040601</c:v>
                </c:pt>
                <c:pt idx="519">
                  <c:v>1488.9301752378999</c:v>
                </c:pt>
                <c:pt idx="520">
                  <c:v>1494.5251791830301</c:v>
                </c:pt>
                <c:pt idx="521">
                  <c:v>1506.23497858465</c:v>
                </c:pt>
                <c:pt idx="522">
                  <c:v>1494.2592197030699</c:v>
                </c:pt>
                <c:pt idx="523">
                  <c:v>1495.9548421448401</c:v>
                </c:pt>
                <c:pt idx="524">
                  <c:v>1509.02694029043</c:v>
                </c:pt>
                <c:pt idx="525">
                  <c:v>1512.12847319196</c:v>
                </c:pt>
                <c:pt idx="526">
                  <c:v>1517.5790016539399</c:v>
                </c:pt>
                <c:pt idx="527">
                  <c:v>1490.0059740901199</c:v>
                </c:pt>
                <c:pt idx="528">
                  <c:v>1493.2749989599099</c:v>
                </c:pt>
                <c:pt idx="529">
                  <c:v>1505.61056148644</c:v>
                </c:pt>
                <c:pt idx="530">
                  <c:v>1508.8475437396</c:v>
                </c:pt>
                <c:pt idx="531">
                  <c:v>1506.9481266959499</c:v>
                </c:pt>
                <c:pt idx="532">
                  <c:v>1498.4085056051399</c:v>
                </c:pt>
                <c:pt idx="533">
                  <c:v>1492.98347281924</c:v>
                </c:pt>
                <c:pt idx="534">
                  <c:v>1490.2024690635201</c:v>
                </c:pt>
                <c:pt idx="535">
                  <c:v>1485.96472627917</c:v>
                </c:pt>
                <c:pt idx="536">
                  <c:v>1493.7486098623799</c:v>
                </c:pt>
                <c:pt idx="537">
                  <c:v>1494.1077807234501</c:v>
                </c:pt>
                <c:pt idx="538">
                  <c:v>1484.0301882899801</c:v>
                </c:pt>
                <c:pt idx="539">
                  <c:v>1484.3282998545801</c:v>
                </c:pt>
                <c:pt idx="540">
                  <c:v>1487.14966278723</c:v>
                </c:pt>
                <c:pt idx="541">
                  <c:v>1495.15935515196</c:v>
                </c:pt>
                <c:pt idx="542">
                  <c:v>1498.5027339712799</c:v>
                </c:pt>
                <c:pt idx="543">
                  <c:v>1491.7021207847499</c:v>
                </c:pt>
                <c:pt idx="544">
                  <c:v>1503.76508354308</c:v>
                </c:pt>
                <c:pt idx="545">
                  <c:v>1478.62257307153</c:v>
                </c:pt>
                <c:pt idx="546">
                  <c:v>1493.07000212107</c:v>
                </c:pt>
                <c:pt idx="547">
                  <c:v>1497.9312738759299</c:v>
                </c:pt>
                <c:pt idx="548">
                  <c:v>1499.9253162666801</c:v>
                </c:pt>
                <c:pt idx="549">
                  <c:v>1496.5466347711699</c:v>
                </c:pt>
                <c:pt idx="550">
                  <c:v>1501.9027215855799</c:v>
                </c:pt>
                <c:pt idx="551">
                  <c:v>1486.0475529918599</c:v>
                </c:pt>
                <c:pt idx="552">
                  <c:v>1495.6545088605701</c:v>
                </c:pt>
                <c:pt idx="553">
                  <c:v>1494.35702873584</c:v>
                </c:pt>
                <c:pt idx="554">
                  <c:v>1496.0040980200399</c:v>
                </c:pt>
                <c:pt idx="555">
                  <c:v>1488.76840207743</c:v>
                </c:pt>
                <c:pt idx="556">
                  <c:v>1505.83308950376</c:v>
                </c:pt>
                <c:pt idx="557">
                  <c:v>1502.4712994776201</c:v>
                </c:pt>
                <c:pt idx="558">
                  <c:v>1487.71071481165</c:v>
                </c:pt>
                <c:pt idx="559">
                  <c:v>1505.21869244664</c:v>
                </c:pt>
                <c:pt idx="560">
                  <c:v>1503.58615492901</c:v>
                </c:pt>
                <c:pt idx="561">
                  <c:v>1492.6805304438899</c:v>
                </c:pt>
                <c:pt idx="562">
                  <c:v>1490.3784971991799</c:v>
                </c:pt>
                <c:pt idx="563">
                  <c:v>1502.9547845028301</c:v>
                </c:pt>
                <c:pt idx="564">
                  <c:v>1503.3687708489099</c:v>
                </c:pt>
                <c:pt idx="565">
                  <c:v>1511.0861979876299</c:v>
                </c:pt>
                <c:pt idx="566">
                  <c:v>1475.65362097292</c:v>
                </c:pt>
                <c:pt idx="567">
                  <c:v>1517.1654590999999</c:v>
                </c:pt>
                <c:pt idx="568">
                  <c:v>1511.72232706518</c:v>
                </c:pt>
                <c:pt idx="569">
                  <c:v>1514.6425220242299</c:v>
                </c:pt>
                <c:pt idx="570">
                  <c:v>1515.2889630561201</c:v>
                </c:pt>
                <c:pt idx="571">
                  <c:v>1516.4872734048199</c:v>
                </c:pt>
                <c:pt idx="572">
                  <c:v>1509.9414943044501</c:v>
                </c:pt>
                <c:pt idx="573">
                  <c:v>1507.2358067617699</c:v>
                </c:pt>
                <c:pt idx="574">
                  <c:v>1512.1944451305301</c:v>
                </c:pt>
                <c:pt idx="575">
                  <c:v>1491.09696500158</c:v>
                </c:pt>
                <c:pt idx="576">
                  <c:v>1508.7219610305799</c:v>
                </c:pt>
                <c:pt idx="577">
                  <c:v>1510.99858875777</c:v>
                </c:pt>
                <c:pt idx="578">
                  <c:v>1508.8338180471501</c:v>
                </c:pt>
                <c:pt idx="579">
                  <c:v>1502.2866448391801</c:v>
                </c:pt>
                <c:pt idx="580">
                  <c:v>1512.5186713236001</c:v>
                </c:pt>
                <c:pt idx="581">
                  <c:v>1494.1165226685</c:v>
                </c:pt>
                <c:pt idx="582">
                  <c:v>1512.3128004897701</c:v>
                </c:pt>
                <c:pt idx="583">
                  <c:v>1503.1745170050499</c:v>
                </c:pt>
                <c:pt idx="584">
                  <c:v>1499.32212889263</c:v>
                </c:pt>
                <c:pt idx="585">
                  <c:v>1497.31825165239</c:v>
                </c:pt>
                <c:pt idx="586">
                  <c:v>1497.6665562365299</c:v>
                </c:pt>
                <c:pt idx="587">
                  <c:v>1499.7244296690301</c:v>
                </c:pt>
                <c:pt idx="588">
                  <c:v>1514.3227874745301</c:v>
                </c:pt>
                <c:pt idx="589">
                  <c:v>1495.88459119144</c:v>
                </c:pt>
                <c:pt idx="590">
                  <c:v>1513.9583681337199</c:v>
                </c:pt>
                <c:pt idx="591">
                  <c:v>1508.7691617465</c:v>
                </c:pt>
                <c:pt idx="592">
                  <c:v>1489.04762818736</c:v>
                </c:pt>
                <c:pt idx="593">
                  <c:v>1496.9860838581501</c:v>
                </c:pt>
                <c:pt idx="594">
                  <c:v>1514.59830569989</c:v>
                </c:pt>
                <c:pt idx="595">
                  <c:v>1494.21541868638</c:v>
                </c:pt>
                <c:pt idx="596">
                  <c:v>1500.06164918117</c:v>
                </c:pt>
                <c:pt idx="597">
                  <c:v>1504.9767722771201</c:v>
                </c:pt>
                <c:pt idx="598">
                  <c:v>1518.8077500558099</c:v>
                </c:pt>
                <c:pt idx="599">
                  <c:v>1502.1042032947701</c:v>
                </c:pt>
                <c:pt idx="600">
                  <c:v>1509.9116100496101</c:v>
                </c:pt>
                <c:pt idx="601">
                  <c:v>1499.3633669989499</c:v>
                </c:pt>
                <c:pt idx="602">
                  <c:v>1503.73721802002</c:v>
                </c:pt>
                <c:pt idx="603">
                  <c:v>1510.17934594337</c:v>
                </c:pt>
                <c:pt idx="604">
                  <c:v>1504.7339587325901</c:v>
                </c:pt>
                <c:pt idx="605">
                  <c:v>1511.1233723906901</c:v>
                </c:pt>
                <c:pt idx="606">
                  <c:v>1495.9977103418901</c:v>
                </c:pt>
                <c:pt idx="607">
                  <c:v>1519.2171235431799</c:v>
                </c:pt>
                <c:pt idx="608">
                  <c:v>1501.62744006403</c:v>
                </c:pt>
                <c:pt idx="609">
                  <c:v>1504.56111469195</c:v>
                </c:pt>
                <c:pt idx="610">
                  <c:v>1515.39643985212</c:v>
                </c:pt>
                <c:pt idx="611">
                  <c:v>1519.4954423367501</c:v>
                </c:pt>
                <c:pt idx="612">
                  <c:v>1505.75836419386</c:v>
                </c:pt>
                <c:pt idx="613">
                  <c:v>1509.97647097547</c:v>
                </c:pt>
                <c:pt idx="614">
                  <c:v>1512.0853462473599</c:v>
                </c:pt>
                <c:pt idx="615">
                  <c:v>1505.3004572167399</c:v>
                </c:pt>
                <c:pt idx="616">
                  <c:v>1509.29382342125</c:v>
                </c:pt>
                <c:pt idx="617">
                  <c:v>1499.7729705795</c:v>
                </c:pt>
                <c:pt idx="618">
                  <c:v>1501.20193459038</c:v>
                </c:pt>
                <c:pt idx="619">
                  <c:v>1507.36286909658</c:v>
                </c:pt>
                <c:pt idx="620">
                  <c:v>1508.06247710917</c:v>
                </c:pt>
                <c:pt idx="621">
                  <c:v>1514.15164455439</c:v>
                </c:pt>
                <c:pt idx="622">
                  <c:v>1508.16473382706</c:v>
                </c:pt>
                <c:pt idx="623">
                  <c:v>1520.2919132699899</c:v>
                </c:pt>
                <c:pt idx="624">
                  <c:v>1509.0998704552101</c:v>
                </c:pt>
                <c:pt idx="625">
                  <c:v>1516.0441936692901</c:v>
                </c:pt>
                <c:pt idx="626">
                  <c:v>1506.0872087662799</c:v>
                </c:pt>
                <c:pt idx="627">
                  <c:v>1520.9957072935599</c:v>
                </c:pt>
                <c:pt idx="628">
                  <c:v>1509.1735645715501</c:v>
                </c:pt>
                <c:pt idx="629">
                  <c:v>1515.8825062584499</c:v>
                </c:pt>
                <c:pt idx="630">
                  <c:v>1503.4817510984601</c:v>
                </c:pt>
                <c:pt idx="631">
                  <c:v>1500.91543373433</c:v>
                </c:pt>
                <c:pt idx="632">
                  <c:v>1498.8580467215299</c:v>
                </c:pt>
                <c:pt idx="633">
                  <c:v>1506.20141287345</c:v>
                </c:pt>
                <c:pt idx="634">
                  <c:v>1497.51110920972</c:v>
                </c:pt>
                <c:pt idx="635">
                  <c:v>1497.8113242322599</c:v>
                </c:pt>
                <c:pt idx="636">
                  <c:v>1512.5543028557499</c:v>
                </c:pt>
                <c:pt idx="637">
                  <c:v>1513.0120503291701</c:v>
                </c:pt>
                <c:pt idx="638">
                  <c:v>1509.5109952744399</c:v>
                </c:pt>
                <c:pt idx="639">
                  <c:v>1508.2232413209599</c:v>
                </c:pt>
                <c:pt idx="640">
                  <c:v>1500.6466232673499</c:v>
                </c:pt>
                <c:pt idx="641">
                  <c:v>1473.7633532416201</c:v>
                </c:pt>
                <c:pt idx="643">
                  <c:v>1527.39723765846</c:v>
                </c:pt>
                <c:pt idx="644">
                  <c:v>1520.5446515727499</c:v>
                </c:pt>
                <c:pt idx="645">
                  <c:v>1523.3007373497001</c:v>
                </c:pt>
                <c:pt idx="646">
                  <c:v>1512.7959192600399</c:v>
                </c:pt>
                <c:pt idx="647">
                  <c:v>1517.7392672098999</c:v>
                </c:pt>
                <c:pt idx="648">
                  <c:v>1507.18792054285</c:v>
                </c:pt>
                <c:pt idx="649">
                  <c:v>1495.47586895732</c:v>
                </c:pt>
                <c:pt idx="650">
                  <c:v>1491.99887361387</c:v>
                </c:pt>
                <c:pt idx="651">
                  <c:v>1499.07334826897</c:v>
                </c:pt>
                <c:pt idx="652">
                  <c:v>1498.48875627845</c:v>
                </c:pt>
                <c:pt idx="653">
                  <c:v>1498.7863212285899</c:v>
                </c:pt>
                <c:pt idx="654">
                  <c:v>1500.89800390347</c:v>
                </c:pt>
                <c:pt idx="655">
                  <c:v>1492.98507619561</c:v>
                </c:pt>
                <c:pt idx="656">
                  <c:v>1509.6831104196899</c:v>
                </c:pt>
                <c:pt idx="657">
                  <c:v>1492.7548110553</c:v>
                </c:pt>
                <c:pt idx="658">
                  <c:v>1503.11462488658</c:v>
                </c:pt>
                <c:pt idx="659">
                  <c:v>1505.0571676417101</c:v>
                </c:pt>
                <c:pt idx="660">
                  <c:v>1499.61445298072</c:v>
                </c:pt>
                <c:pt idx="661">
                  <c:v>1497.78743376384</c:v>
                </c:pt>
                <c:pt idx="662">
                  <c:v>1485.7835383843001</c:v>
                </c:pt>
                <c:pt idx="663">
                  <c:v>1500.53367243465</c:v>
                </c:pt>
                <c:pt idx="664">
                  <c:v>1481.09738332761</c:v>
                </c:pt>
                <c:pt idx="665">
                  <c:v>1493.9186983571699</c:v>
                </c:pt>
                <c:pt idx="666">
                  <c:v>1496.6560792533901</c:v>
                </c:pt>
                <c:pt idx="667">
                  <c:v>1488.42509711669</c:v>
                </c:pt>
                <c:pt idx="668">
                  <c:v>1500.7590702198199</c:v>
                </c:pt>
                <c:pt idx="669">
                  <c:v>1493.2996834084699</c:v>
                </c:pt>
                <c:pt idx="670">
                  <c:v>1500.3576330993501</c:v>
                </c:pt>
                <c:pt idx="671">
                  <c:v>1493.8387839460199</c:v>
                </c:pt>
                <c:pt idx="672">
                  <c:v>1498.3925626954001</c:v>
                </c:pt>
                <c:pt idx="673">
                  <c:v>1492.4709682160101</c:v>
                </c:pt>
                <c:pt idx="674">
                  <c:v>1487.24729037064</c:v>
                </c:pt>
                <c:pt idx="675">
                  <c:v>1494.6953485316701</c:v>
                </c:pt>
                <c:pt idx="676">
                  <c:v>1482.85132765764</c:v>
                </c:pt>
                <c:pt idx="677">
                  <c:v>1506.42554508489</c:v>
                </c:pt>
                <c:pt idx="678">
                  <c:v>1491.7499926502301</c:v>
                </c:pt>
                <c:pt idx="679">
                  <c:v>1484.7011702155601</c:v>
                </c:pt>
                <c:pt idx="680">
                  <c:v>1506.5459802105299</c:v>
                </c:pt>
                <c:pt idx="681">
                  <c:v>1505.0008307273399</c:v>
                </c:pt>
                <c:pt idx="682">
                  <c:v>1495.65648688539</c:v>
                </c:pt>
                <c:pt idx="683">
                  <c:v>1483.6557872866599</c:v>
                </c:pt>
                <c:pt idx="684">
                  <c:v>1500.0787955782</c:v>
                </c:pt>
                <c:pt idx="685">
                  <c:v>1479.9379265086</c:v>
                </c:pt>
                <c:pt idx="686">
                  <c:v>1497.13816542265</c:v>
                </c:pt>
                <c:pt idx="687">
                  <c:v>1492.4835965847601</c:v>
                </c:pt>
                <c:pt idx="688">
                  <c:v>1481.7971994669001</c:v>
                </c:pt>
                <c:pt idx="689">
                  <c:v>1487.96764830182</c:v>
                </c:pt>
                <c:pt idx="690">
                  <c:v>1487.75751901733</c:v>
                </c:pt>
                <c:pt idx="691">
                  <c:v>1501.9542225756099</c:v>
                </c:pt>
                <c:pt idx="692">
                  <c:v>1501.56580831206</c:v>
                </c:pt>
                <c:pt idx="693">
                  <c:v>1491.8989712207001</c:v>
                </c:pt>
                <c:pt idx="694">
                  <c:v>1497.7780307401699</c:v>
                </c:pt>
                <c:pt idx="695">
                  <c:v>1484.4254800157</c:v>
                </c:pt>
                <c:pt idx="696">
                  <c:v>1497.45444982089</c:v>
                </c:pt>
                <c:pt idx="697">
                  <c:v>1506.8412172160799</c:v>
                </c:pt>
                <c:pt idx="698">
                  <c:v>1489.2606238016101</c:v>
                </c:pt>
                <c:pt idx="699">
                  <c:v>1501.95577772563</c:v>
                </c:pt>
                <c:pt idx="700">
                  <c:v>1501.6887082451599</c:v>
                </c:pt>
                <c:pt idx="701">
                  <c:v>1499.3572730839801</c:v>
                </c:pt>
                <c:pt idx="702">
                  <c:v>1503.3521593441201</c:v>
                </c:pt>
                <c:pt idx="703">
                  <c:v>1487.22034259928</c:v>
                </c:pt>
                <c:pt idx="704">
                  <c:v>1497.2830770948101</c:v>
                </c:pt>
                <c:pt idx="705">
                  <c:v>1501.77122190567</c:v>
                </c:pt>
                <c:pt idx="706">
                  <c:v>1492.81271917709</c:v>
                </c:pt>
                <c:pt idx="707">
                  <c:v>1489.8954874091501</c:v>
                </c:pt>
                <c:pt idx="708">
                  <c:v>1492.72551144217</c:v>
                </c:pt>
                <c:pt idx="709">
                  <c:v>1488.55991625817</c:v>
                </c:pt>
                <c:pt idx="710">
                  <c:v>1496.9030682722801</c:v>
                </c:pt>
                <c:pt idx="711">
                  <c:v>1493.75011254776</c:v>
                </c:pt>
                <c:pt idx="712">
                  <c:v>1500.00922414909</c:v>
                </c:pt>
                <c:pt idx="713">
                  <c:v>1509.4777252787101</c:v>
                </c:pt>
                <c:pt idx="714">
                  <c:v>1495.0466661329301</c:v>
                </c:pt>
                <c:pt idx="715">
                  <c:v>1495.36647598936</c:v>
                </c:pt>
                <c:pt idx="716">
                  <c:v>1500.49583228908</c:v>
                </c:pt>
                <c:pt idx="717">
                  <c:v>1487.1328808822</c:v>
                </c:pt>
                <c:pt idx="718">
                  <c:v>1486.64661067465</c:v>
                </c:pt>
                <c:pt idx="719">
                  <c:v>1500.5388213904801</c:v>
                </c:pt>
                <c:pt idx="720">
                  <c:v>1495.62148592433</c:v>
                </c:pt>
                <c:pt idx="721">
                  <c:v>1514.4241246107299</c:v>
                </c:pt>
                <c:pt idx="722">
                  <c:v>1510.40216145615</c:v>
                </c:pt>
                <c:pt idx="723">
                  <c:v>1511.6033550136001</c:v>
                </c:pt>
                <c:pt idx="724">
                  <c:v>1493.7466225124899</c:v>
                </c:pt>
                <c:pt idx="725">
                  <c:v>1451.7063670986499</c:v>
                </c:pt>
                <c:pt idx="726">
                  <c:v>1549.4423563683999</c:v>
                </c:pt>
                <c:pt idx="727">
                  <c:v>1500.29828634657</c:v>
                </c:pt>
                <c:pt idx="728">
                  <c:v>1496.6319418711</c:v>
                </c:pt>
                <c:pt idx="729">
                  <c:v>1513.27541291734</c:v>
                </c:pt>
                <c:pt idx="730">
                  <c:v>1502.1788481395599</c:v>
                </c:pt>
                <c:pt idx="731">
                  <c:v>1509.5640016287555</c:v>
                </c:pt>
                <c:pt idx="732">
                  <c:v>1490.1187750607817</c:v>
                </c:pt>
                <c:pt idx="733">
                  <c:v>1501.4372629431839</c:v>
                </c:pt>
                <c:pt idx="734">
                  <c:v>1502.5865740417491</c:v>
                </c:pt>
                <c:pt idx="735">
                  <c:v>1493.6455819835621</c:v>
                </c:pt>
                <c:pt idx="736">
                  <c:v>1494.2942158951462</c:v>
                </c:pt>
                <c:pt idx="737">
                  <c:v>1489.8717119964326</c:v>
                </c:pt>
                <c:pt idx="738">
                  <c:v>1491.8292080461401</c:v>
                </c:pt>
                <c:pt idx="739">
                  <c:v>1501.664488393124</c:v>
                </c:pt>
                <c:pt idx="740">
                  <c:v>1499.8501228255066</c:v>
                </c:pt>
                <c:pt idx="741">
                  <c:v>1501.0559176172883</c:v>
                </c:pt>
                <c:pt idx="742">
                  <c:v>1483.698867423175</c:v>
                </c:pt>
                <c:pt idx="743">
                  <c:v>1500.2178816692058</c:v>
                </c:pt>
                <c:pt idx="744">
                  <c:v>1488.5791431189994</c:v>
                </c:pt>
                <c:pt idx="745">
                  <c:v>1482.5228600486175</c:v>
                </c:pt>
                <c:pt idx="746">
                  <c:v>1499.0262286919397</c:v>
                </c:pt>
                <c:pt idx="747">
                  <c:v>1499.1436626722636</c:v>
                </c:pt>
                <c:pt idx="748">
                  <c:v>1494.5943601544152</c:v>
                </c:pt>
                <c:pt idx="749">
                  <c:v>1501.4810814582277</c:v>
                </c:pt>
                <c:pt idx="750">
                  <c:v>1497.2847773794499</c:v>
                </c:pt>
                <c:pt idx="751">
                  <c:v>1512.5821124265469</c:v>
                </c:pt>
                <c:pt idx="752">
                  <c:v>1492.0793158409874</c:v>
                </c:pt>
                <c:pt idx="753">
                  <c:v>1497.3370089447119</c:v>
                </c:pt>
                <c:pt idx="754">
                  <c:v>1491.6049640628833</c:v>
                </c:pt>
                <c:pt idx="755">
                  <c:v>1493.3734399178038</c:v>
                </c:pt>
                <c:pt idx="756">
                  <c:v>1501.0291698374567</c:v>
                </c:pt>
                <c:pt idx="757">
                  <c:v>1502.5168431478526</c:v>
                </c:pt>
                <c:pt idx="758">
                  <c:v>1502.2740411446835</c:v>
                </c:pt>
                <c:pt idx="759">
                  <c:v>1502.7061621374935</c:v>
                </c:pt>
                <c:pt idx="760">
                  <c:v>1500.198862793329</c:v>
                </c:pt>
                <c:pt idx="761">
                  <c:v>1501.954557075785</c:v>
                </c:pt>
                <c:pt idx="762">
                  <c:v>1499.0303400323642</c:v>
                </c:pt>
                <c:pt idx="763">
                  <c:v>1488.3545879748233</c:v>
                </c:pt>
                <c:pt idx="764">
                  <c:v>1496.5295605293102</c:v>
                </c:pt>
                <c:pt idx="765">
                  <c:v>1497.5767430748758</c:v>
                </c:pt>
                <c:pt idx="766">
                  <c:v>1505.4299708310709</c:v>
                </c:pt>
                <c:pt idx="767">
                  <c:v>1500.1478199348719</c:v>
                </c:pt>
                <c:pt idx="768">
                  <c:v>1504.4430916292922</c:v>
                </c:pt>
                <c:pt idx="769">
                  <c:v>1510.4948693502106</c:v>
                </c:pt>
                <c:pt idx="770">
                  <c:v>1498.3618378091658</c:v>
                </c:pt>
                <c:pt idx="771">
                  <c:v>1498.0598972286925</c:v>
                </c:pt>
                <c:pt idx="772">
                  <c:v>1499.4120978677306</c:v>
                </c:pt>
                <c:pt idx="773">
                  <c:v>1492.456880388293</c:v>
                </c:pt>
                <c:pt idx="774">
                  <c:v>1497.1698511645552</c:v>
                </c:pt>
                <c:pt idx="775">
                  <c:v>1503.7660784546945</c:v>
                </c:pt>
                <c:pt idx="776">
                  <c:v>1495.4604483983544</c:v>
                </c:pt>
                <c:pt idx="777">
                  <c:v>1496.2022156001781</c:v>
                </c:pt>
                <c:pt idx="778">
                  <c:v>1510.0863821621756</c:v>
                </c:pt>
                <c:pt idx="779">
                  <c:v>1504.2814659774756</c:v>
                </c:pt>
                <c:pt idx="780">
                  <c:v>1503.1466320523182</c:v>
                </c:pt>
                <c:pt idx="781">
                  <c:v>1511.5776207294107</c:v>
                </c:pt>
                <c:pt idx="782">
                  <c:v>1508.4181588583956</c:v>
                </c:pt>
                <c:pt idx="783">
                  <c:v>1501.0600336211287</c:v>
                </c:pt>
                <c:pt idx="784">
                  <c:v>1495.1163755247485</c:v>
                </c:pt>
                <c:pt idx="785">
                  <c:v>1506.7117854788617</c:v>
                </c:pt>
                <c:pt idx="786">
                  <c:v>1501.2062596819053</c:v>
                </c:pt>
                <c:pt idx="787">
                  <c:v>1512.3132541952475</c:v>
                </c:pt>
                <c:pt idx="788">
                  <c:v>1496.065298480542</c:v>
                </c:pt>
                <c:pt idx="789">
                  <c:v>1486.9730845370666</c:v>
                </c:pt>
                <c:pt idx="790">
                  <c:v>1497.847348697258</c:v>
                </c:pt>
                <c:pt idx="791">
                  <c:v>1494.7505483787659</c:v>
                </c:pt>
                <c:pt idx="792">
                  <c:v>1488.3597958022006</c:v>
                </c:pt>
                <c:pt idx="793">
                  <c:v>1493.4412130975154</c:v>
                </c:pt>
                <c:pt idx="794">
                  <c:v>1514.5131633148867</c:v>
                </c:pt>
                <c:pt idx="795">
                  <c:v>1481.7633970526874</c:v>
                </c:pt>
                <c:pt idx="796">
                  <c:v>1486.0633994085663</c:v>
                </c:pt>
                <c:pt idx="797">
                  <c:v>1494.5491201261891</c:v>
                </c:pt>
                <c:pt idx="798">
                  <c:v>1491.5922975720109</c:v>
                </c:pt>
                <c:pt idx="799">
                  <c:v>1499.0915159984138</c:v>
                </c:pt>
                <c:pt idx="800">
                  <c:v>1502.3006562879968</c:v>
                </c:pt>
                <c:pt idx="801">
                  <c:v>1510.3330199461134</c:v>
                </c:pt>
                <c:pt idx="802">
                  <c:v>1499.8957145441452</c:v>
                </c:pt>
                <c:pt idx="803">
                  <c:v>1490.511994971554</c:v>
                </c:pt>
                <c:pt idx="804">
                  <c:v>1491.7204281769748</c:v>
                </c:pt>
                <c:pt idx="805">
                  <c:v>1494.3668530653904</c:v>
                </c:pt>
                <c:pt idx="806">
                  <c:v>1494.242271886566</c:v>
                </c:pt>
                <c:pt idx="807">
                  <c:v>1496.126063543041</c:v>
                </c:pt>
                <c:pt idx="808">
                  <c:v>1499.2701053334081</c:v>
                </c:pt>
                <c:pt idx="809">
                  <c:v>1494.3551764368235</c:v>
                </c:pt>
                <c:pt idx="810">
                  <c:v>1500.8771552165706</c:v>
                </c:pt>
                <c:pt idx="811">
                  <c:v>1494.7971735724834</c:v>
                </c:pt>
                <c:pt idx="812">
                  <c:v>1499.2945388512851</c:v>
                </c:pt>
                <c:pt idx="813">
                  <c:v>1507.9817278455598</c:v>
                </c:pt>
                <c:pt idx="814">
                  <c:v>1488.7974746939315</c:v>
                </c:pt>
                <c:pt idx="815">
                  <c:v>1496.8190742834493</c:v>
                </c:pt>
                <c:pt idx="816">
                  <c:v>1501.3707678832588</c:v>
                </c:pt>
                <c:pt idx="817">
                  <c:v>1483.6448197567636</c:v>
                </c:pt>
                <c:pt idx="818">
                  <c:v>1512.257305056107</c:v>
                </c:pt>
                <c:pt idx="819">
                  <c:v>1498.5410650379054</c:v>
                </c:pt>
                <c:pt idx="820">
                  <c:v>1491.9984294897881</c:v>
                </c:pt>
                <c:pt idx="821">
                  <c:v>1492.1482054268868</c:v>
                </c:pt>
                <c:pt idx="822">
                  <c:v>1504.2186938026659</c:v>
                </c:pt>
                <c:pt idx="823">
                  <c:v>1497.6397018146126</c:v>
                </c:pt>
                <c:pt idx="824">
                  <c:v>1501.1942017695653</c:v>
                </c:pt>
                <c:pt idx="825">
                  <c:v>1510.524046064063</c:v>
                </c:pt>
                <c:pt idx="826">
                  <c:v>1503.4795113569735</c:v>
                </c:pt>
                <c:pt idx="827">
                  <c:v>1500.8822867580648</c:v>
                </c:pt>
                <c:pt idx="828">
                  <c:v>1502.0612409850207</c:v>
                </c:pt>
                <c:pt idx="829">
                  <c:v>1508.6219100216781</c:v>
                </c:pt>
                <c:pt idx="830">
                  <c:v>1516.4013465158521</c:v>
                </c:pt>
                <c:pt idx="831">
                  <c:v>1504.5125509638503</c:v>
                </c:pt>
                <c:pt idx="832">
                  <c:v>1504.3205025191423</c:v>
                </c:pt>
                <c:pt idx="833">
                  <c:v>1506.5022823445952</c:v>
                </c:pt>
                <c:pt idx="834">
                  <c:v>1488.9295237498777</c:v>
                </c:pt>
                <c:pt idx="835">
                  <c:v>1498.1943021795614</c:v>
                </c:pt>
                <c:pt idx="836">
                  <c:v>1505.4420929523376</c:v>
                </c:pt>
                <c:pt idx="837">
                  <c:v>1502.8708026393297</c:v>
                </c:pt>
                <c:pt idx="838">
                  <c:v>1504.8703488947876</c:v>
                </c:pt>
                <c:pt idx="839">
                  <c:v>1503.3628654593053</c:v>
                </c:pt>
                <c:pt idx="840">
                  <c:v>1506.8113535919331</c:v>
                </c:pt>
                <c:pt idx="841">
                  <c:v>1497.1754980383582</c:v>
                </c:pt>
                <c:pt idx="842">
                  <c:v>1502.8641925917411</c:v>
                </c:pt>
                <c:pt idx="843">
                  <c:v>1506.4233542787313</c:v>
                </c:pt>
                <c:pt idx="844">
                  <c:v>1491.1473764598456</c:v>
                </c:pt>
                <c:pt idx="845">
                  <c:v>1506.4043543484452</c:v>
                </c:pt>
                <c:pt idx="846">
                  <c:v>1511.4615391467432</c:v>
                </c:pt>
                <c:pt idx="847">
                  <c:v>1504.7218897288237</c:v>
                </c:pt>
                <c:pt idx="848">
                  <c:v>1496.9089363789685</c:v>
                </c:pt>
                <c:pt idx="849">
                  <c:v>1499.465895376014</c:v>
                </c:pt>
                <c:pt idx="850">
                  <c:v>1502.8901232016317</c:v>
                </c:pt>
                <c:pt idx="851">
                  <c:v>1503.4486186657562</c:v>
                </c:pt>
                <c:pt idx="852">
                  <c:v>1509.105668275721</c:v>
                </c:pt>
                <c:pt idx="853">
                  <c:v>1499.7151595795151</c:v>
                </c:pt>
                <c:pt idx="854">
                  <c:v>1494.9589757937053</c:v>
                </c:pt>
                <c:pt idx="855">
                  <c:v>1508.7613979936714</c:v>
                </c:pt>
                <c:pt idx="856">
                  <c:v>1517.7877679404376</c:v>
                </c:pt>
                <c:pt idx="857">
                  <c:v>1505.3781005594383</c:v>
                </c:pt>
                <c:pt idx="858">
                  <c:v>1495.6660368256387</c:v>
                </c:pt>
                <c:pt idx="859">
                  <c:v>1504.9204476864948</c:v>
                </c:pt>
                <c:pt idx="860">
                  <c:v>1489.6361576449426</c:v>
                </c:pt>
                <c:pt idx="861">
                  <c:v>1457.7823183496264</c:v>
                </c:pt>
                <c:pt idx="862">
                  <c:v>1505.1024765220229</c:v>
                </c:pt>
                <c:pt idx="863">
                  <c:v>1502.1352793870419</c:v>
                </c:pt>
                <c:pt idx="864">
                  <c:v>1490.9422992367729</c:v>
                </c:pt>
                <c:pt idx="865">
                  <c:v>1483.6307612823416</c:v>
                </c:pt>
                <c:pt idx="866">
                  <c:v>1505.8161668529385</c:v>
                </c:pt>
                <c:pt idx="867">
                  <c:v>1500.2947959424139</c:v>
                </c:pt>
                <c:pt idx="868">
                  <c:v>1503.8878227255091</c:v>
                </c:pt>
                <c:pt idx="869">
                  <c:v>1490.5825842744121</c:v>
                </c:pt>
                <c:pt idx="870">
                  <c:v>1489.8799095166696</c:v>
                </c:pt>
                <c:pt idx="871">
                  <c:v>1500.6297426599949</c:v>
                </c:pt>
                <c:pt idx="872">
                  <c:v>1501.0817040203137</c:v>
                </c:pt>
                <c:pt idx="873">
                  <c:v>1494.81271134245</c:v>
                </c:pt>
                <c:pt idx="874">
                  <c:v>1487.5773166680131</c:v>
                </c:pt>
                <c:pt idx="875">
                  <c:v>1500.4925026428075</c:v>
                </c:pt>
                <c:pt idx="876">
                  <c:v>1494.8596595657812</c:v>
                </c:pt>
                <c:pt idx="877">
                  <c:v>1506.6117942291842</c:v>
                </c:pt>
                <c:pt idx="878">
                  <c:v>1485.4390543443724</c:v>
                </c:pt>
                <c:pt idx="879">
                  <c:v>1511.5517141892935</c:v>
                </c:pt>
                <c:pt idx="880">
                  <c:v>1485.3727776849298</c:v>
                </c:pt>
                <c:pt idx="881">
                  <c:v>1496.5947352410765</c:v>
                </c:pt>
                <c:pt idx="882">
                  <c:v>1506.4159858370867</c:v>
                </c:pt>
                <c:pt idx="883">
                  <c:v>1488.7998542454543</c:v>
                </c:pt>
                <c:pt idx="884">
                  <c:v>1487.2307142747504</c:v>
                </c:pt>
                <c:pt idx="885">
                  <c:v>1488.9029324522594</c:v>
                </c:pt>
                <c:pt idx="886">
                  <c:v>1485.7123873056871</c:v>
                </c:pt>
                <c:pt idx="887">
                  <c:v>1500.5614357935267</c:v>
                </c:pt>
                <c:pt idx="888">
                  <c:v>1504.6146949671945</c:v>
                </c:pt>
                <c:pt idx="889">
                  <c:v>1492.7144316638389</c:v>
                </c:pt>
                <c:pt idx="890">
                  <c:v>1491.8036590438583</c:v>
                </c:pt>
                <c:pt idx="891">
                  <c:v>1503.5373886903587</c:v>
                </c:pt>
                <c:pt idx="892">
                  <c:v>1498.7407022155051</c:v>
                </c:pt>
                <c:pt idx="893">
                  <c:v>1500.0113324019528</c:v>
                </c:pt>
                <c:pt idx="894">
                  <c:v>1486.5443285832303</c:v>
                </c:pt>
                <c:pt idx="895">
                  <c:v>1480.5550414253739</c:v>
                </c:pt>
                <c:pt idx="896">
                  <c:v>1495.466825468616</c:v>
                </c:pt>
                <c:pt idx="897">
                  <c:v>1501.6499994936507</c:v>
                </c:pt>
                <c:pt idx="898">
                  <c:v>1496.8071009752223</c:v>
                </c:pt>
                <c:pt idx="899">
                  <c:v>1495.3002512641426</c:v>
                </c:pt>
                <c:pt idx="900">
                  <c:v>1502.6052702281393</c:v>
                </c:pt>
                <c:pt idx="901">
                  <c:v>1497.2604106159845</c:v>
                </c:pt>
                <c:pt idx="902">
                  <c:v>1494.6346231437933</c:v>
                </c:pt>
                <c:pt idx="903">
                  <c:v>1497.9639208138351</c:v>
                </c:pt>
                <c:pt idx="904">
                  <c:v>1490.9337766337896</c:v>
                </c:pt>
                <c:pt idx="905">
                  <c:v>1507.707169252589</c:v>
                </c:pt>
                <c:pt idx="906">
                  <c:v>1506.1064296993086</c:v>
                </c:pt>
                <c:pt idx="907">
                  <c:v>1495.7669268447235</c:v>
                </c:pt>
                <c:pt idx="908">
                  <c:v>1492.4379482294296</c:v>
                </c:pt>
                <c:pt idx="909">
                  <c:v>1487.104511593767</c:v>
                </c:pt>
                <c:pt idx="910">
                  <c:v>1501.970030158828</c:v>
                </c:pt>
                <c:pt idx="911">
                  <c:v>1507.6074709949271</c:v>
                </c:pt>
                <c:pt idx="912">
                  <c:v>1485.6874081963201</c:v>
                </c:pt>
                <c:pt idx="913">
                  <c:v>1496.6923020100178</c:v>
                </c:pt>
                <c:pt idx="914">
                  <c:v>1495.1391703527581</c:v>
                </c:pt>
                <c:pt idx="915">
                  <c:v>1492.1897270863324</c:v>
                </c:pt>
                <c:pt idx="916">
                  <c:v>1515.2466856131698</c:v>
                </c:pt>
                <c:pt idx="917">
                  <c:v>1500.1209747236333</c:v>
                </c:pt>
                <c:pt idx="918">
                  <c:v>1494.1066775793486</c:v>
                </c:pt>
                <c:pt idx="919">
                  <c:v>1499.4301027873864</c:v>
                </c:pt>
                <c:pt idx="920">
                  <c:v>1500.2717905575162</c:v>
                </c:pt>
                <c:pt idx="921">
                  <c:v>1494.4774740586438</c:v>
                </c:pt>
                <c:pt idx="922">
                  <c:v>1502.1799467325882</c:v>
                </c:pt>
                <c:pt idx="923">
                  <c:v>1498.6344882613166</c:v>
                </c:pt>
                <c:pt idx="924">
                  <c:v>1502.0720625291035</c:v>
                </c:pt>
                <c:pt idx="925">
                  <c:v>1496.4535155265294</c:v>
                </c:pt>
                <c:pt idx="926">
                  <c:v>1505.2822084159181</c:v>
                </c:pt>
                <c:pt idx="927">
                  <c:v>1491.4035698475391</c:v>
                </c:pt>
                <c:pt idx="928">
                  <c:v>1493.7551879527423</c:v>
                </c:pt>
                <c:pt idx="929">
                  <c:v>1503.6044663863111</c:v>
                </c:pt>
                <c:pt idx="930">
                  <c:v>1498.73101047563</c:v>
                </c:pt>
                <c:pt idx="931">
                  <c:v>1489.1246039658631</c:v>
                </c:pt>
                <c:pt idx="932">
                  <c:v>1489.7034789367174</c:v>
                </c:pt>
                <c:pt idx="933">
                  <c:v>1488.3763229393439</c:v>
                </c:pt>
                <c:pt idx="934">
                  <c:v>1498.7847353175496</c:v>
                </c:pt>
                <c:pt idx="935">
                  <c:v>1497.5369732979029</c:v>
                </c:pt>
                <c:pt idx="936">
                  <c:v>1498.5078098275592</c:v>
                </c:pt>
                <c:pt idx="937">
                  <c:v>1503.7901185713779</c:v>
                </c:pt>
                <c:pt idx="938">
                  <c:v>1493.3225879269194</c:v>
                </c:pt>
                <c:pt idx="939">
                  <c:v>1480.2271124786344</c:v>
                </c:pt>
                <c:pt idx="940">
                  <c:v>1501.3723138289236</c:v>
                </c:pt>
                <c:pt idx="941">
                  <c:v>1496.1587513803672</c:v>
                </c:pt>
                <c:pt idx="942">
                  <c:v>1485.415931218668</c:v>
                </c:pt>
                <c:pt idx="943">
                  <c:v>1486.9418958028143</c:v>
                </c:pt>
                <c:pt idx="944">
                  <c:v>1495.5362670665595</c:v>
                </c:pt>
                <c:pt idx="945">
                  <c:v>1499.9909972723528</c:v>
                </c:pt>
                <c:pt idx="946">
                  <c:v>1494.3108070774922</c:v>
                </c:pt>
                <c:pt idx="947">
                  <c:v>1500.5752327403595</c:v>
                </c:pt>
                <c:pt idx="948">
                  <c:v>1499.4336992093729</c:v>
                </c:pt>
                <c:pt idx="949">
                  <c:v>1503.3758987528402</c:v>
                </c:pt>
                <c:pt idx="950">
                  <c:v>1506.2457411359544</c:v>
                </c:pt>
                <c:pt idx="951">
                  <c:v>1493.6655366515929</c:v>
                </c:pt>
                <c:pt idx="952">
                  <c:v>1496.0956412041476</c:v>
                </c:pt>
                <c:pt idx="953">
                  <c:v>1503.4117872973536</c:v>
                </c:pt>
                <c:pt idx="954">
                  <c:v>1515.0298591482644</c:v>
                </c:pt>
                <c:pt idx="955">
                  <c:v>1500.3084582335107</c:v>
                </c:pt>
                <c:pt idx="956">
                  <c:v>1419.0706048789409</c:v>
                </c:pt>
                <c:pt idx="957">
                  <c:v>1534.5969162420477</c:v>
                </c:pt>
                <c:pt idx="958">
                  <c:v>1515.5216947242104</c:v>
                </c:pt>
                <c:pt idx="959">
                  <c:v>1517.9588657633594</c:v>
                </c:pt>
                <c:pt idx="960">
                  <c:v>1506.4998473529758</c:v>
                </c:pt>
                <c:pt idx="961">
                  <c:v>1496.4579010794571</c:v>
                </c:pt>
                <c:pt idx="962">
                  <c:v>1506.2621589072062</c:v>
                </c:pt>
                <c:pt idx="963">
                  <c:v>1514.3458877497396</c:v>
                </c:pt>
                <c:pt idx="964">
                  <c:v>1488.0476433065053</c:v>
                </c:pt>
                <c:pt idx="965">
                  <c:v>1496.0480025241666</c:v>
                </c:pt>
                <c:pt idx="966">
                  <c:v>1493.6859757134878</c:v>
                </c:pt>
                <c:pt idx="967">
                  <c:v>1498.3972641748926</c:v>
                </c:pt>
                <c:pt idx="968">
                  <c:v>1506.8489766341952</c:v>
                </c:pt>
                <c:pt idx="969">
                  <c:v>1496.6128713404619</c:v>
                </c:pt>
                <c:pt idx="970">
                  <c:v>1506.9850205744044</c:v>
                </c:pt>
                <c:pt idx="971">
                  <c:v>1512.7823494018767</c:v>
                </c:pt>
                <c:pt idx="972">
                  <c:v>1490.1395869843718</c:v>
                </c:pt>
                <c:pt idx="973">
                  <c:v>1497.9833920039086</c:v>
                </c:pt>
                <c:pt idx="974">
                  <c:v>1507.3985837588018</c:v>
                </c:pt>
                <c:pt idx="975">
                  <c:v>1503.3882755848856</c:v>
                </c:pt>
                <c:pt idx="976">
                  <c:v>1510.1346906881195</c:v>
                </c:pt>
                <c:pt idx="977">
                  <c:v>1506.8752857099216</c:v>
                </c:pt>
                <c:pt idx="978">
                  <c:v>1510.026331723742</c:v>
                </c:pt>
                <c:pt idx="979">
                  <c:v>1502.7362727417312</c:v>
                </c:pt>
                <c:pt idx="980">
                  <c:v>1502.9340593086763</c:v>
                </c:pt>
                <c:pt idx="981">
                  <c:v>1508.1349324545736</c:v>
                </c:pt>
                <c:pt idx="982">
                  <c:v>1508.4045547522348</c:v>
                </c:pt>
                <c:pt idx="983">
                  <c:v>1516.8184520799673</c:v>
                </c:pt>
                <c:pt idx="984">
                  <c:v>1497.7340893714111</c:v>
                </c:pt>
                <c:pt idx="985">
                  <c:v>1512.0541810458121</c:v>
                </c:pt>
                <c:pt idx="986">
                  <c:v>1505.6868764809569</c:v>
                </c:pt>
                <c:pt idx="987">
                  <c:v>1498.4200721294571</c:v>
                </c:pt>
                <c:pt idx="988">
                  <c:v>1489.6497396112552</c:v>
                </c:pt>
                <c:pt idx="989">
                  <c:v>1494.0810840459817</c:v>
                </c:pt>
                <c:pt idx="990">
                  <c:v>1502.6735153646612</c:v>
                </c:pt>
                <c:pt idx="991">
                  <c:v>1501.2070343229482</c:v>
                </c:pt>
                <c:pt idx="992">
                  <c:v>1503.5121090993637</c:v>
                </c:pt>
                <c:pt idx="993">
                  <c:v>1505.9535490796707</c:v>
                </c:pt>
                <c:pt idx="994">
                  <c:v>1503.8392071835272</c:v>
                </c:pt>
                <c:pt idx="995">
                  <c:v>1499.8903421681857</c:v>
                </c:pt>
                <c:pt idx="996">
                  <c:v>1495.8677195124344</c:v>
                </c:pt>
                <c:pt idx="997">
                  <c:v>1488.1552970984762</c:v>
                </c:pt>
                <c:pt idx="998">
                  <c:v>1492.6101714210615</c:v>
                </c:pt>
                <c:pt idx="999">
                  <c:v>1497.2475224726638</c:v>
                </c:pt>
                <c:pt idx="1000">
                  <c:v>1491.9510410861933</c:v>
                </c:pt>
                <c:pt idx="1001">
                  <c:v>1484.3142337042652</c:v>
                </c:pt>
                <c:pt idx="1002">
                  <c:v>1494.7753354215649</c:v>
                </c:pt>
                <c:pt idx="1003">
                  <c:v>1493.3284980103699</c:v>
                </c:pt>
                <c:pt idx="1004">
                  <c:v>1489.6214432774664</c:v>
                </c:pt>
                <c:pt idx="1005">
                  <c:v>1483.9427215103269</c:v>
                </c:pt>
                <c:pt idx="1006">
                  <c:v>1503.5960439570003</c:v>
                </c:pt>
                <c:pt idx="1007">
                  <c:v>1513.1430257654722</c:v>
                </c:pt>
                <c:pt idx="1008">
                  <c:v>1505.0406353444978</c:v>
                </c:pt>
                <c:pt idx="1009">
                  <c:v>1481.2454991227585</c:v>
                </c:pt>
                <c:pt idx="1010">
                  <c:v>1489.3596934367417</c:v>
                </c:pt>
                <c:pt idx="1011">
                  <c:v>1493.9052930869891</c:v>
                </c:pt>
                <c:pt idx="1012">
                  <c:v>1485.9391900867124</c:v>
                </c:pt>
                <c:pt idx="1013">
                  <c:v>1490.733212944052</c:v>
                </c:pt>
                <c:pt idx="1014">
                  <c:v>1477.8448160529545</c:v>
                </c:pt>
                <c:pt idx="1015">
                  <c:v>1514.3749317191362</c:v>
                </c:pt>
                <c:pt idx="1016">
                  <c:v>1504.4504941672105</c:v>
                </c:pt>
                <c:pt idx="1017">
                  <c:v>1501.2324021706252</c:v>
                </c:pt>
                <c:pt idx="1018">
                  <c:v>1490.9722079618152</c:v>
                </c:pt>
                <c:pt idx="1019">
                  <c:v>1492.1734895174509</c:v>
                </c:pt>
                <c:pt idx="1020">
                  <c:v>1489.7561087368872</c:v>
                </c:pt>
                <c:pt idx="1021">
                  <c:v>1488.5292141659661</c:v>
                </c:pt>
                <c:pt idx="1022">
                  <c:v>1498.4291705576265</c:v>
                </c:pt>
                <c:pt idx="1023">
                  <c:v>1480.6870401180433</c:v>
                </c:pt>
                <c:pt idx="1024">
                  <c:v>1494.0280292608575</c:v>
                </c:pt>
                <c:pt idx="1025">
                  <c:v>1503.3937228486227</c:v>
                </c:pt>
                <c:pt idx="1026">
                  <c:v>1481.6354120502504</c:v>
                </c:pt>
                <c:pt idx="1027">
                  <c:v>1480.5963433565805</c:v>
                </c:pt>
                <c:pt idx="1028">
                  <c:v>1499.0371425780816</c:v>
                </c:pt>
                <c:pt idx="1029">
                  <c:v>1500.1332418648174</c:v>
                </c:pt>
                <c:pt idx="1030">
                  <c:v>1451.6448937799296</c:v>
                </c:pt>
                <c:pt idx="1031">
                  <c:v>1498.0173320538352</c:v>
                </c:pt>
                <c:pt idx="1032">
                  <c:v>1487.0565728220718</c:v>
                </c:pt>
                <c:pt idx="1033">
                  <c:v>1484.7058284611776</c:v>
                </c:pt>
                <c:pt idx="1034">
                  <c:v>1491.2300480583615</c:v>
                </c:pt>
                <c:pt idx="1035">
                  <c:v>1496.5153319920296</c:v>
                </c:pt>
                <c:pt idx="1036">
                  <c:v>1497.3129293791844</c:v>
                </c:pt>
                <c:pt idx="1037">
                  <c:v>1499.1896909534032</c:v>
                </c:pt>
                <c:pt idx="1038">
                  <c:v>1498.4910073928324</c:v>
                </c:pt>
                <c:pt idx="1039">
                  <c:v>1505.3068734059332</c:v>
                </c:pt>
                <c:pt idx="1040">
                  <c:v>1522.150344982892</c:v>
                </c:pt>
                <c:pt idx="1041">
                  <c:v>1508.5755028515227</c:v>
                </c:pt>
                <c:pt idx="1042">
                  <c:v>1494.1467574098388</c:v>
                </c:pt>
                <c:pt idx="1043">
                  <c:v>1484.9481203250821</c:v>
                </c:pt>
                <c:pt idx="1044">
                  <c:v>1490.4755890699435</c:v>
                </c:pt>
                <c:pt idx="1045">
                  <c:v>1481.6424051925453</c:v>
                </c:pt>
                <c:pt idx="1046">
                  <c:v>1498.2304838403995</c:v>
                </c:pt>
                <c:pt idx="1047">
                  <c:v>1483.6928460315621</c:v>
                </c:pt>
                <c:pt idx="1048">
                  <c:v>1483.753909048688</c:v>
                </c:pt>
                <c:pt idx="1049">
                  <c:v>1476.614307624644</c:v>
                </c:pt>
                <c:pt idx="1050">
                  <c:v>1485.2813124323643</c:v>
                </c:pt>
                <c:pt idx="1051">
                  <c:v>1494.4411043184898</c:v>
                </c:pt>
                <c:pt idx="1052">
                  <c:v>1493.7858372390151</c:v>
                </c:pt>
                <c:pt idx="1053">
                  <c:v>1502.1177346783081</c:v>
                </c:pt>
                <c:pt idx="1054">
                  <c:v>1483.8416623673902</c:v>
                </c:pt>
                <c:pt idx="1055">
                  <c:v>1482.294898890116</c:v>
                </c:pt>
                <c:pt idx="1056">
                  <c:v>1471.0457734170652</c:v>
                </c:pt>
                <c:pt idx="1057">
                  <c:v>1495.6114557566195</c:v>
                </c:pt>
                <c:pt idx="1058">
                  <c:v>1480.9037804952138</c:v>
                </c:pt>
                <c:pt idx="1059">
                  <c:v>1480.4244113647389</c:v>
                </c:pt>
                <c:pt idx="1060">
                  <c:v>1487.0473362691505</c:v>
                </c:pt>
                <c:pt idx="1061">
                  <c:v>1480.8395812283634</c:v>
                </c:pt>
                <c:pt idx="1062">
                  <c:v>1491.3815538639999</c:v>
                </c:pt>
                <c:pt idx="1063">
                  <c:v>1496.2908017907296</c:v>
                </c:pt>
                <c:pt idx="1064">
                  <c:v>1501.4926004537551</c:v>
                </c:pt>
                <c:pt idx="1065">
                  <c:v>1480.9544115204792</c:v>
                </c:pt>
                <c:pt idx="1066">
                  <c:v>1482.8835616882288</c:v>
                </c:pt>
                <c:pt idx="1067">
                  <c:v>1499.4715431393754</c:v>
                </c:pt>
                <c:pt idx="1068">
                  <c:v>1500.3117310757796</c:v>
                </c:pt>
                <c:pt idx="1069">
                  <c:v>1489.130531405754</c:v>
                </c:pt>
                <c:pt idx="1070">
                  <c:v>1486.9741220915039</c:v>
                </c:pt>
                <c:pt idx="1071">
                  <c:v>1483.6535733482399</c:v>
                </c:pt>
                <c:pt idx="1072">
                  <c:v>1509.8346537360196</c:v>
                </c:pt>
                <c:pt idx="1073">
                  <c:v>1502.4889088018501</c:v>
                </c:pt>
                <c:pt idx="1074">
                  <c:v>1492.8456822486696</c:v>
                </c:pt>
                <c:pt idx="1075">
                  <c:v>1492.4379451181399</c:v>
                </c:pt>
                <c:pt idx="1076">
                  <c:v>1497.6262222084899</c:v>
                </c:pt>
                <c:pt idx="1077">
                  <c:v>1482.036614409365</c:v>
                </c:pt>
                <c:pt idx="1078">
                  <c:v>1493.5538220085707</c:v>
                </c:pt>
                <c:pt idx="1079">
                  <c:v>1491.0590452209567</c:v>
                </c:pt>
                <c:pt idx="1080">
                  <c:v>1499.3142722774842</c:v>
                </c:pt>
                <c:pt idx="1081">
                  <c:v>1499.5693879993846</c:v>
                </c:pt>
                <c:pt idx="1082">
                  <c:v>1492.9557913254453</c:v>
                </c:pt>
                <c:pt idx="1083">
                  <c:v>1494.6807343644202</c:v>
                </c:pt>
                <c:pt idx="1084">
                  <c:v>1499.6292844439047</c:v>
                </c:pt>
                <c:pt idx="1085">
                  <c:v>1517.2324174710827</c:v>
                </c:pt>
                <c:pt idx="1086">
                  <c:v>1499.8766231793063</c:v>
                </c:pt>
                <c:pt idx="1087">
                  <c:v>1495.6972185656978</c:v>
                </c:pt>
                <c:pt idx="1088">
                  <c:v>1489.3810225152918</c:v>
                </c:pt>
                <c:pt idx="1089">
                  <c:v>1496.7667276435857</c:v>
                </c:pt>
                <c:pt idx="1090">
                  <c:v>1498.4852981173449</c:v>
                </c:pt>
                <c:pt idx="1091">
                  <c:v>1491.8512342377985</c:v>
                </c:pt>
                <c:pt idx="1092">
                  <c:v>1498.8913048812879</c:v>
                </c:pt>
                <c:pt idx="1093">
                  <c:v>1484.3915105832075</c:v>
                </c:pt>
                <c:pt idx="1094">
                  <c:v>1498.1055934062233</c:v>
                </c:pt>
                <c:pt idx="1095">
                  <c:v>1497.7084383624351</c:v>
                </c:pt>
              </c:numCache>
            </c:numRef>
          </c:xVal>
          <c:yVal>
            <c:numRef>
              <c:f>'[Final Graph 2.xlsx]Parameters ranges for ANN step1'!$AR$3:$AR$1131</c:f>
              <c:numCache>
                <c:formatCode>0</c:formatCode>
                <c:ptCount val="1129"/>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2571-47F0-A4A5-9DF808FB9ABA}"/>
            </c:ext>
          </c:extLst>
        </c:ser>
        <c:dLbls>
          <c:showLegendKey val="0"/>
          <c:showVal val="0"/>
          <c:showCatName val="0"/>
          <c:showSerName val="0"/>
          <c:showPercent val="0"/>
          <c:showBubbleSize val="0"/>
        </c:dLbls>
        <c:axId val="1730713807"/>
        <c:axId val="1730725455"/>
      </c:scatterChart>
      <c:valAx>
        <c:axId val="1730713807"/>
        <c:scaling>
          <c:orientation val="minMax"/>
          <c:max val="1520"/>
          <c:min val="148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25455"/>
        <c:crosses val="autoZero"/>
        <c:crossBetween val="midCat"/>
      </c:valAx>
      <c:valAx>
        <c:axId val="1730725455"/>
        <c:scaling>
          <c:orientation val="minMax"/>
          <c:max val="1170"/>
          <c:min val="111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13807"/>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ot Blast Temp. °</a:t>
            </a:r>
            <a:r>
              <a:rPr lang="en-US" dirty="0" smtClean="0"/>
              <a:t>C v/s C in Hot Metal(Kg)</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C$3:$AC$1131</c:f>
              <c:numCache>
                <c:formatCode>0</c:formatCode>
                <c:ptCount val="1129"/>
                <c:pt idx="0">
                  <c:v>46.663678543516028</c:v>
                </c:pt>
                <c:pt idx="1">
                  <c:v>46.593651497481801</c:v>
                </c:pt>
                <c:pt idx="2">
                  <c:v>46.876360813340256</c:v>
                </c:pt>
                <c:pt idx="3">
                  <c:v>47.113421914120359</c:v>
                </c:pt>
                <c:pt idx="4">
                  <c:v>46.20835371205041</c:v>
                </c:pt>
                <c:pt idx="5">
                  <c:v>44.779848169544756</c:v>
                </c:pt>
                <c:pt idx="6">
                  <c:v>45.460968146440621</c:v>
                </c:pt>
                <c:pt idx="7">
                  <c:v>46.114579931676346</c:v>
                </c:pt>
                <c:pt idx="8">
                  <c:v>46.460783764097101</c:v>
                </c:pt>
                <c:pt idx="9">
                  <c:v>45.803928331907279</c:v>
                </c:pt>
                <c:pt idx="10">
                  <c:v>46.471095449817447</c:v>
                </c:pt>
                <c:pt idx="11">
                  <c:v>46.268589814507095</c:v>
                </c:pt>
                <c:pt idx="12">
                  <c:v>46.296885805435522</c:v>
                </c:pt>
                <c:pt idx="13">
                  <c:v>45.405460107289798</c:v>
                </c:pt>
                <c:pt idx="14">
                  <c:v>46.069393725140692</c:v>
                </c:pt>
                <c:pt idx="15">
                  <c:v>45.309381634927</c:v>
                </c:pt>
                <c:pt idx="16">
                  <c:v>47.22273536974604</c:v>
                </c:pt>
                <c:pt idx="17">
                  <c:v>46.876360813340256</c:v>
                </c:pt>
                <c:pt idx="18">
                  <c:v>46.71869631248051</c:v>
                </c:pt>
                <c:pt idx="19">
                  <c:v>45.854146963740774</c:v>
                </c:pt>
                <c:pt idx="20">
                  <c:v>46.407604391077363</c:v>
                </c:pt>
                <c:pt idx="21">
                  <c:v>45.672567323766124</c:v>
                </c:pt>
                <c:pt idx="22">
                  <c:v>46.557232757434328</c:v>
                </c:pt>
                <c:pt idx="23">
                  <c:v>46.608624055583491</c:v>
                </c:pt>
                <c:pt idx="24">
                  <c:v>46.609839631610029</c:v>
                </c:pt>
                <c:pt idx="25">
                  <c:v>47.304999699480156</c:v>
                </c:pt>
                <c:pt idx="26">
                  <c:v>46.513828598621416</c:v>
                </c:pt>
                <c:pt idx="27">
                  <c:v>45.915324882565507</c:v>
                </c:pt>
                <c:pt idx="28">
                  <c:v>46.574390689266608</c:v>
                </c:pt>
                <c:pt idx="29">
                  <c:v>46.876360813340256</c:v>
                </c:pt>
                <c:pt idx="30">
                  <c:v>46.87303522836342</c:v>
                </c:pt>
                <c:pt idx="31">
                  <c:v>46.691500235574168</c:v>
                </c:pt>
                <c:pt idx="32">
                  <c:v>47.0229843984349</c:v>
                </c:pt>
                <c:pt idx="33">
                  <c:v>47.209333681566207</c:v>
                </c:pt>
                <c:pt idx="34">
                  <c:v>46.543950495131575</c:v>
                </c:pt>
                <c:pt idx="35">
                  <c:v>46.543950495131575</c:v>
                </c:pt>
                <c:pt idx="36">
                  <c:v>46.842454962431987</c:v>
                </c:pt>
                <c:pt idx="37">
                  <c:v>46.691049148181072</c:v>
                </c:pt>
                <c:pt idx="38">
                  <c:v>46.618779024000567</c:v>
                </c:pt>
                <c:pt idx="39">
                  <c:v>46.215061398189711</c:v>
                </c:pt>
                <c:pt idx="40">
                  <c:v>45.275763062050757</c:v>
                </c:pt>
                <c:pt idx="41">
                  <c:v>45.784537830006435</c:v>
                </c:pt>
                <c:pt idx="42">
                  <c:v>45.207244098943171</c:v>
                </c:pt>
                <c:pt idx="43">
                  <c:v>45.838702684281365</c:v>
                </c:pt>
                <c:pt idx="44">
                  <c:v>44.725901872318872</c:v>
                </c:pt>
                <c:pt idx="45">
                  <c:v>43.658926358958503</c:v>
                </c:pt>
                <c:pt idx="46">
                  <c:v>45.304789858911896</c:v>
                </c:pt>
                <c:pt idx="47">
                  <c:v>45.688640941000891</c:v>
                </c:pt>
                <c:pt idx="48">
                  <c:v>45.436500581784813</c:v>
                </c:pt>
                <c:pt idx="49">
                  <c:v>46.222209667488798</c:v>
                </c:pt>
                <c:pt idx="50">
                  <c:v>43.981441831675411</c:v>
                </c:pt>
                <c:pt idx="51">
                  <c:v>46.67346914884439</c:v>
                </c:pt>
                <c:pt idx="52">
                  <c:v>46.570680188385523</c:v>
                </c:pt>
                <c:pt idx="53">
                  <c:v>46.038667241941084</c:v>
                </c:pt>
                <c:pt idx="54" formatCode="0.0">
                  <c:v>46.506694761281544</c:v>
                </c:pt>
                <c:pt idx="55" formatCode="0.0">
                  <c:v>46.432054914066711</c:v>
                </c:pt>
                <c:pt idx="56">
                  <c:v>46.101608587280211</c:v>
                </c:pt>
                <c:pt idx="57" formatCode="0.0">
                  <c:v>46.356965027632803</c:v>
                </c:pt>
                <c:pt idx="58" formatCode="0.0">
                  <c:v>46.23966714515884</c:v>
                </c:pt>
                <c:pt idx="59">
                  <c:v>45.531641653239454</c:v>
                </c:pt>
                <c:pt idx="60">
                  <c:v>46.384473825923926</c:v>
                </c:pt>
                <c:pt idx="61">
                  <c:v>45.882397862991212</c:v>
                </c:pt>
                <c:pt idx="62">
                  <c:v>46.622506889576592</c:v>
                </c:pt>
                <c:pt idx="63">
                  <c:v>45.995544019269502</c:v>
                </c:pt>
                <c:pt idx="64">
                  <c:v>45.716147360715134</c:v>
                </c:pt>
                <c:pt idx="65">
                  <c:v>46.326342697827279</c:v>
                </c:pt>
                <c:pt idx="66">
                  <c:v>46.063942978738936</c:v>
                </c:pt>
                <c:pt idx="67">
                  <c:v>45.966942624492205</c:v>
                </c:pt>
                <c:pt idx="68">
                  <c:v>46.306608285849229</c:v>
                </c:pt>
                <c:pt idx="69">
                  <c:v>46.807377733686614</c:v>
                </c:pt>
                <c:pt idx="70">
                  <c:v>46.95065298966859</c:v>
                </c:pt>
                <c:pt idx="71">
                  <c:v>46.497862658628364</c:v>
                </c:pt>
                <c:pt idx="72" formatCode="0.0">
                  <c:v>47.034454032021166</c:v>
                </c:pt>
                <c:pt idx="73">
                  <c:v>46.705892762305901</c:v>
                </c:pt>
                <c:pt idx="74">
                  <c:v>46.839301392575187</c:v>
                </c:pt>
                <c:pt idx="75">
                  <c:v>46.211517807870976</c:v>
                </c:pt>
                <c:pt idx="76">
                  <c:v>46.303984005336297</c:v>
                </c:pt>
                <c:pt idx="77">
                  <c:v>46.363741206943452</c:v>
                </c:pt>
                <c:pt idx="78">
                  <c:v>46.470738994343328</c:v>
                </c:pt>
                <c:pt idx="79">
                  <c:v>46.811737745352886</c:v>
                </c:pt>
                <c:pt idx="80">
                  <c:v>46.100052525356347</c:v>
                </c:pt>
                <c:pt idx="81">
                  <c:v>46.340304001746695</c:v>
                </c:pt>
                <c:pt idx="82">
                  <c:v>45.903391183267111</c:v>
                </c:pt>
                <c:pt idx="83">
                  <c:v>46.094710590201792</c:v>
                </c:pt>
                <c:pt idx="84">
                  <c:v>46.628450782268558</c:v>
                </c:pt>
                <c:pt idx="85">
                  <c:v>46.364178384804035</c:v>
                </c:pt>
                <c:pt idx="86">
                  <c:v>45.481924309547971</c:v>
                </c:pt>
                <c:pt idx="87">
                  <c:v>45.542749922433494</c:v>
                </c:pt>
                <c:pt idx="88">
                  <c:v>45.619517407846331</c:v>
                </c:pt>
                <c:pt idx="89">
                  <c:v>46.619117464265052</c:v>
                </c:pt>
                <c:pt idx="90">
                  <c:v>46.340304001746695</c:v>
                </c:pt>
                <c:pt idx="91">
                  <c:v>46.346270558991741</c:v>
                </c:pt>
                <c:pt idx="92" formatCode="0.0">
                  <c:v>46.107513271863965</c:v>
                </c:pt>
                <c:pt idx="93" formatCode="0.0">
                  <c:v>45.674608335283168</c:v>
                </c:pt>
                <c:pt idx="94" formatCode="0.0">
                  <c:v>46.048054687905086</c:v>
                </c:pt>
                <c:pt idx="95" formatCode="0.0">
                  <c:v>46.249874018228013</c:v>
                </c:pt>
                <c:pt idx="96" formatCode="0.0">
                  <c:v>46.214289065244444</c:v>
                </c:pt>
                <c:pt idx="97" formatCode="0.0">
                  <c:v>46.21894852321654</c:v>
                </c:pt>
                <c:pt idx="98" formatCode="0.0">
                  <c:v>46.141079140164145</c:v>
                </c:pt>
                <c:pt idx="99" formatCode="0.0">
                  <c:v>46.300776164134035</c:v>
                </c:pt>
                <c:pt idx="100" formatCode="0.0">
                  <c:v>46.320986052966042</c:v>
                </c:pt>
                <c:pt idx="101" formatCode="0.0">
                  <c:v>46.396480550884732</c:v>
                </c:pt>
                <c:pt idx="102" formatCode="0.0">
                  <c:v>45.986918446280932</c:v>
                </c:pt>
                <c:pt idx="103" formatCode="0.0">
                  <c:v>46.103274560181063</c:v>
                </c:pt>
                <c:pt idx="104" formatCode="0.0">
                  <c:v>46.326781785960975</c:v>
                </c:pt>
                <c:pt idx="105" formatCode="0.0">
                  <c:v>46.36108901458438</c:v>
                </c:pt>
                <c:pt idx="106" formatCode="0.0">
                  <c:v>46.463792523540533</c:v>
                </c:pt>
                <c:pt idx="107" formatCode="0.0">
                  <c:v>46.30971103020385</c:v>
                </c:pt>
                <c:pt idx="108" formatCode="0.0">
                  <c:v>46.864608594535113</c:v>
                </c:pt>
                <c:pt idx="109" formatCode="0.0">
                  <c:v>46.311342669434865</c:v>
                </c:pt>
                <c:pt idx="110" formatCode="0.0">
                  <c:v>46.544349422902087</c:v>
                </c:pt>
                <c:pt idx="111" formatCode="0.0">
                  <c:v>46.249086511386679</c:v>
                </c:pt>
                <c:pt idx="112" formatCode="0.0">
                  <c:v>46.662486520390303</c:v>
                </c:pt>
                <c:pt idx="113" formatCode="0.0">
                  <c:v>45.205959010893217</c:v>
                </c:pt>
                <c:pt idx="114" formatCode="0.0">
                  <c:v>45.650140593132633</c:v>
                </c:pt>
                <c:pt idx="115" formatCode="0.0">
                  <c:v>45.225485541535029</c:v>
                </c:pt>
                <c:pt idx="116" formatCode="0.0">
                  <c:v>45.466293070147742</c:v>
                </c:pt>
                <c:pt idx="117" formatCode="0.0">
                  <c:v>46.177518108232974</c:v>
                </c:pt>
                <c:pt idx="118" formatCode="0.0">
                  <c:v>45.49274110058289</c:v>
                </c:pt>
                <c:pt idx="119" formatCode="0.0">
                  <c:v>45.286553887781899</c:v>
                </c:pt>
                <c:pt idx="120" formatCode="0.0">
                  <c:v>46.6930719436495</c:v>
                </c:pt>
                <c:pt idx="121" formatCode="0.0">
                  <c:v>46.501958319880295</c:v>
                </c:pt>
                <c:pt idx="122" formatCode="0.0">
                  <c:v>46.783684321022193</c:v>
                </c:pt>
                <c:pt idx="123" formatCode="0.0">
                  <c:v>46.507981699900498</c:v>
                </c:pt>
                <c:pt idx="124" formatCode="0.0">
                  <c:v>46.183756993093603</c:v>
                </c:pt>
                <c:pt idx="125" formatCode="0.0">
                  <c:v>45.812861706681105</c:v>
                </c:pt>
                <c:pt idx="126" formatCode="0.0">
                  <c:v>46.535535862025199</c:v>
                </c:pt>
                <c:pt idx="127" formatCode="0.0">
                  <c:v>46.5788240253681</c:v>
                </c:pt>
                <c:pt idx="128" formatCode="0.0">
                  <c:v>46.313674152871499</c:v>
                </c:pt>
                <c:pt idx="129" formatCode="0.0">
                  <c:v>47.125034518139095</c:v>
                </c:pt>
                <c:pt idx="130" formatCode="0.0">
                  <c:v>46.3216959598617</c:v>
                </c:pt>
                <c:pt idx="131" formatCode="0.0">
                  <c:v>46.743238717129294</c:v>
                </c:pt>
                <c:pt idx="132" formatCode="0.0">
                  <c:v>46.869140977840502</c:v>
                </c:pt>
                <c:pt idx="133" formatCode="0.0">
                  <c:v>46.567842161674506</c:v>
                </c:pt>
                <c:pt idx="134" formatCode="0.0">
                  <c:v>46.521307820924996</c:v>
                </c:pt>
                <c:pt idx="135" formatCode="0.0">
                  <c:v>45.846244587296795</c:v>
                </c:pt>
                <c:pt idx="136" formatCode="0.0">
                  <c:v>46.092314714202502</c:v>
                </c:pt>
                <c:pt idx="137" formatCode="0.0">
                  <c:v>46.9979308617893</c:v>
                </c:pt>
                <c:pt idx="138" formatCode="0.0">
                  <c:v>45.491109713765702</c:v>
                </c:pt>
                <c:pt idx="139" formatCode="0.0">
                  <c:v>45.4687040223601</c:v>
                </c:pt>
                <c:pt idx="140" formatCode="0.0">
                  <c:v>45.772549487483801</c:v>
                </c:pt>
                <c:pt idx="141" formatCode="0.0">
                  <c:v>45.369984984680599</c:v>
                </c:pt>
                <c:pt idx="142" formatCode="0.0">
                  <c:v>46.889598220288597</c:v>
                </c:pt>
                <c:pt idx="143" formatCode="0.0">
                  <c:v>46.066339370888798</c:v>
                </c:pt>
                <c:pt idx="144" formatCode="0.0">
                  <c:v>43.009792494332103</c:v>
                </c:pt>
                <c:pt idx="145" formatCode="0.0">
                  <c:v>0</c:v>
                </c:pt>
                <c:pt idx="146" formatCode="0.0">
                  <c:v>0</c:v>
                </c:pt>
                <c:pt idx="147" formatCode="0.0">
                  <c:v>0</c:v>
                </c:pt>
                <c:pt idx="148" formatCode="0.0">
                  <c:v>0</c:v>
                </c:pt>
                <c:pt idx="149" formatCode="0.0">
                  <c:v>46.581678931063394</c:v>
                </c:pt>
                <c:pt idx="150" formatCode="0.0">
                  <c:v>46.308807397896999</c:v>
                </c:pt>
                <c:pt idx="151" formatCode="0.0">
                  <c:v>45.358990551597898</c:v>
                </c:pt>
                <c:pt idx="152" formatCode="0.0">
                  <c:v>45.304026267780202</c:v>
                </c:pt>
                <c:pt idx="153" formatCode="0.0">
                  <c:v>45.869862551327103</c:v>
                </c:pt>
                <c:pt idx="154" formatCode="0.0">
                  <c:v>46.110211839383702</c:v>
                </c:pt>
                <c:pt idx="155" formatCode="0.0">
                  <c:v>46.804025051513293</c:v>
                </c:pt>
                <c:pt idx="156" formatCode="0.0">
                  <c:v>46.148317593057598</c:v>
                </c:pt>
                <c:pt idx="157" formatCode="0.0">
                  <c:v>46.575451175797298</c:v>
                </c:pt>
                <c:pt idx="158" formatCode="0.0">
                  <c:v>46.306632695969697</c:v>
                </c:pt>
                <c:pt idx="159" formatCode="0.0">
                  <c:v>46.081072936069098</c:v>
                </c:pt>
                <c:pt idx="160" formatCode="0.0">
                  <c:v>46.071765847274804</c:v>
                </c:pt>
                <c:pt idx="161" formatCode="0.0">
                  <c:v>46.527098784626702</c:v>
                </c:pt>
                <c:pt idx="162" formatCode="0.0">
                  <c:v>46.218246999384903</c:v>
                </c:pt>
                <c:pt idx="163" formatCode="0.0">
                  <c:v>45.143464716369095</c:v>
                </c:pt>
                <c:pt idx="164" formatCode="0.0">
                  <c:v>46.380856376138901</c:v>
                </c:pt>
                <c:pt idx="165" formatCode="0.0">
                  <c:v>45.657040616572402</c:v>
                </c:pt>
                <c:pt idx="166" formatCode="0.0">
                  <c:v>46.096873898275099</c:v>
                </c:pt>
                <c:pt idx="167" formatCode="0.0">
                  <c:v>45.604111091386301</c:v>
                </c:pt>
                <c:pt idx="168" formatCode="0.0">
                  <c:v>0</c:v>
                </c:pt>
                <c:pt idx="169" formatCode="0.0">
                  <c:v>44.762209921655</c:v>
                </c:pt>
                <c:pt idx="170" formatCode="0.0">
                  <c:v>45.9345042933613</c:v>
                </c:pt>
                <c:pt idx="171" formatCode="0.0">
                  <c:v>46.08970167549549</c:v>
                </c:pt>
                <c:pt idx="172" formatCode="0.0">
                  <c:v>48.844133205963303</c:v>
                </c:pt>
                <c:pt idx="173" formatCode="0.0">
                  <c:v>45.819273729307497</c:v>
                </c:pt>
                <c:pt idx="174" formatCode="0.0">
                  <c:v>46.079425793882798</c:v>
                </c:pt>
                <c:pt idx="175" formatCode="0.0">
                  <c:v>46.077266168348395</c:v>
                </c:pt>
                <c:pt idx="176" formatCode="0.0">
                  <c:v>46.248807303887901</c:v>
                </c:pt>
                <c:pt idx="177" formatCode="0.0">
                  <c:v>46.189581347083902</c:v>
                </c:pt>
                <c:pt idx="178" formatCode="0.0">
                  <c:v>46.044206005556497</c:v>
                </c:pt>
                <c:pt idx="179" formatCode="0.0">
                  <c:v>46.868820047337813</c:v>
                </c:pt>
                <c:pt idx="180" formatCode="0.0">
                  <c:v>47.240097613873104</c:v>
                </c:pt>
                <c:pt idx="181" formatCode="0.0">
                  <c:v>47.658119052845706</c:v>
                </c:pt>
                <c:pt idx="182" formatCode="0.0">
                  <c:v>47.309292391704389</c:v>
                </c:pt>
                <c:pt idx="183" formatCode="0.0">
                  <c:v>47.227741958677704</c:v>
                </c:pt>
                <c:pt idx="184" formatCode="0.0">
                  <c:v>47.083093467883899</c:v>
                </c:pt>
                <c:pt idx="185" formatCode="0.0">
                  <c:v>45.300000001854301</c:v>
                </c:pt>
                <c:pt idx="186" formatCode="0.0">
                  <c:v>45.353061382583498</c:v>
                </c:pt>
                <c:pt idx="187" formatCode="0.0">
                  <c:v>45.009043335082801</c:v>
                </c:pt>
                <c:pt idx="188" formatCode="0.0">
                  <c:v>45.354054784737102</c:v>
                </c:pt>
                <c:pt idx="189" formatCode="0.0">
                  <c:v>45.1316539538672</c:v>
                </c:pt>
                <c:pt idx="190" formatCode="0.0">
                  <c:v>45.107582338861093</c:v>
                </c:pt>
                <c:pt idx="191" formatCode="0.0">
                  <c:v>45.623444897912897</c:v>
                </c:pt>
                <c:pt idx="192" formatCode="0.0">
                  <c:v>45.107100810538796</c:v>
                </c:pt>
                <c:pt idx="193" formatCode="0.0">
                  <c:v>45.113749909751903</c:v>
                </c:pt>
                <c:pt idx="194" formatCode="0.0">
                  <c:v>45.177093625430601</c:v>
                </c:pt>
                <c:pt idx="195" formatCode="0.0">
                  <c:v>45.382945238340298</c:v>
                </c:pt>
                <c:pt idx="196" formatCode="0.0">
                  <c:v>45.730425421727602</c:v>
                </c:pt>
                <c:pt idx="197" formatCode="0.0">
                  <c:v>45.914819473579499</c:v>
                </c:pt>
                <c:pt idx="198" formatCode="0.0">
                  <c:v>45.955569492193604</c:v>
                </c:pt>
                <c:pt idx="199" formatCode="0.0">
                  <c:v>46.020706957420103</c:v>
                </c:pt>
                <c:pt idx="200" formatCode="0.0">
                  <c:v>45.989374852440704</c:v>
                </c:pt>
                <c:pt idx="201" formatCode="0.0">
                  <c:v>46.665433031632197</c:v>
                </c:pt>
                <c:pt idx="202" formatCode="0.0">
                  <c:v>46.057055301640702</c:v>
                </c:pt>
                <c:pt idx="203" formatCode="0.0">
                  <c:v>45.994433439956303</c:v>
                </c:pt>
                <c:pt idx="204" formatCode="0.0">
                  <c:v>46.272506732128598</c:v>
                </c:pt>
                <c:pt idx="205" formatCode="0.0">
                  <c:v>45.929892725368504</c:v>
                </c:pt>
                <c:pt idx="206" formatCode="0.0">
                  <c:v>45.417404767967902</c:v>
                </c:pt>
                <c:pt idx="207" formatCode="0.0">
                  <c:v>45.108270927401094</c:v>
                </c:pt>
                <c:pt idx="208" formatCode="0.0">
                  <c:v>44.4121093485426</c:v>
                </c:pt>
                <c:pt idx="209" formatCode="0.0">
                  <c:v>45.674957196539701</c:v>
                </c:pt>
                <c:pt idx="210" formatCode="0.0">
                  <c:v>45.7023836203767</c:v>
                </c:pt>
                <c:pt idx="211" formatCode="0.0">
                  <c:v>45.419136499510302</c:v>
                </c:pt>
                <c:pt idx="212" formatCode="0.0">
                  <c:v>45.818608444166699</c:v>
                </c:pt>
                <c:pt idx="213" formatCode="0.0">
                  <c:v>45.2214212990907</c:v>
                </c:pt>
                <c:pt idx="214" formatCode="0.0">
                  <c:v>45.383813467855802</c:v>
                </c:pt>
                <c:pt idx="215" formatCode="0.0">
                  <c:v>45.019240896653699</c:v>
                </c:pt>
                <c:pt idx="216" formatCode="0.0">
                  <c:v>45.620664689858103</c:v>
                </c:pt>
                <c:pt idx="217" formatCode="0.0">
                  <c:v>46.701517076307191</c:v>
                </c:pt>
                <c:pt idx="218" formatCode="0.0">
                  <c:v>45.308915323818695</c:v>
                </c:pt>
                <c:pt idx="219" formatCode="0.0">
                  <c:v>46.147889700020407</c:v>
                </c:pt>
                <c:pt idx="220" formatCode="0.0">
                  <c:v>45.066962761182801</c:v>
                </c:pt>
                <c:pt idx="221" formatCode="0.0">
                  <c:v>45.202013064877001</c:v>
                </c:pt>
                <c:pt idx="222" formatCode="0.0">
                  <c:v>45.579375649495603</c:v>
                </c:pt>
                <c:pt idx="223" formatCode="0.0">
                  <c:v>45.202107419307396</c:v>
                </c:pt>
                <c:pt idx="224" formatCode="0.0">
                  <c:v>45.517395441536607</c:v>
                </c:pt>
                <c:pt idx="225" formatCode="0.0">
                  <c:v>46.242557632790302</c:v>
                </c:pt>
                <c:pt idx="226" formatCode="0.0">
                  <c:v>45.821016086358895</c:v>
                </c:pt>
                <c:pt idx="227" formatCode="0.0">
                  <c:v>45.9177346527213</c:v>
                </c:pt>
                <c:pt idx="228" formatCode="0.0">
                  <c:v>45.520023419141403</c:v>
                </c:pt>
                <c:pt idx="229" formatCode="0.0">
                  <c:v>45.456539825578503</c:v>
                </c:pt>
                <c:pt idx="230" formatCode="0.0">
                  <c:v>45.580889632791198</c:v>
                </c:pt>
                <c:pt idx="231" formatCode="0.0">
                  <c:v>45.862885386767296</c:v>
                </c:pt>
                <c:pt idx="232" formatCode="0.0">
                  <c:v>46.539167044123204</c:v>
                </c:pt>
                <c:pt idx="233" formatCode="0.0">
                  <c:v>46.5939795571608</c:v>
                </c:pt>
                <c:pt idx="234" formatCode="0.0">
                  <c:v>46.914953362855201</c:v>
                </c:pt>
                <c:pt idx="235" formatCode="0.0">
                  <c:v>46.5085661944413</c:v>
                </c:pt>
                <c:pt idx="236" formatCode="0.0">
                  <c:v>45.877262366976701</c:v>
                </c:pt>
                <c:pt idx="237" formatCode="0.0">
                  <c:v>46.504866077731897</c:v>
                </c:pt>
                <c:pt idx="238" formatCode="0.0">
                  <c:v>45.710410449826497</c:v>
                </c:pt>
                <c:pt idx="239" formatCode="0.0">
                  <c:v>46.514679289964398</c:v>
                </c:pt>
                <c:pt idx="240" formatCode="0.0">
                  <c:v>45.347101587935697</c:v>
                </c:pt>
                <c:pt idx="241" formatCode="0.0">
                  <c:v>46.525862627128099</c:v>
                </c:pt>
                <c:pt idx="242" formatCode="0.0">
                  <c:v>46.295053995284398</c:v>
                </c:pt>
                <c:pt idx="243" formatCode="0.0">
                  <c:v>46.177295491472407</c:v>
                </c:pt>
                <c:pt idx="244" formatCode="0.0">
                  <c:v>44.752072312142793</c:v>
                </c:pt>
                <c:pt idx="245" formatCode="0.0">
                  <c:v>46.6432042772486</c:v>
                </c:pt>
                <c:pt idx="246" formatCode="0.0">
                  <c:v>46.531295042765599</c:v>
                </c:pt>
                <c:pt idx="247" formatCode="0.0">
                  <c:v>46.398951601753602</c:v>
                </c:pt>
                <c:pt idx="248" formatCode="0.0">
                  <c:v>45.9435874155173</c:v>
                </c:pt>
                <c:pt idx="249" formatCode="0.0">
                  <c:v>46.515720078433304</c:v>
                </c:pt>
                <c:pt idx="250" formatCode="0.0">
                  <c:v>46.673154636966999</c:v>
                </c:pt>
                <c:pt idx="251" formatCode="0.0">
                  <c:v>46.105316274600298</c:v>
                </c:pt>
                <c:pt idx="252" formatCode="0.0">
                  <c:v>46.1195274258572</c:v>
                </c:pt>
                <c:pt idx="253" formatCode="0.0">
                  <c:v>45.6088229909247</c:v>
                </c:pt>
                <c:pt idx="254" formatCode="0.0">
                  <c:v>45.353813656098197</c:v>
                </c:pt>
                <c:pt idx="255" formatCode="0.0">
                  <c:v>46.3157686982019</c:v>
                </c:pt>
                <c:pt idx="256" formatCode="0.0">
                  <c:v>45.955632919616896</c:v>
                </c:pt>
                <c:pt idx="257" formatCode="0.0">
                  <c:v>46.5600067681886</c:v>
                </c:pt>
                <c:pt idx="258" formatCode="0.0">
                  <c:v>44.4192547250017</c:v>
                </c:pt>
                <c:pt idx="259" formatCode="0.0">
                  <c:v>44.206013980273596</c:v>
                </c:pt>
                <c:pt idx="260" formatCode="0.0">
                  <c:v>47.277469688511104</c:v>
                </c:pt>
                <c:pt idx="261" formatCode="0.0">
                  <c:v>46.130435048071696</c:v>
                </c:pt>
                <c:pt idx="262" formatCode="0.0">
                  <c:v>45.277899478716499</c:v>
                </c:pt>
                <c:pt idx="263" formatCode="0.0">
                  <c:v>45.660055016151503</c:v>
                </c:pt>
                <c:pt idx="264" formatCode="0.0">
                  <c:v>45.722891735880694</c:v>
                </c:pt>
                <c:pt idx="265" formatCode="0.0">
                  <c:v>45.8554251851819</c:v>
                </c:pt>
                <c:pt idx="266" formatCode="0.0">
                  <c:v>45.590306910584104</c:v>
                </c:pt>
                <c:pt idx="267" formatCode="0.0">
                  <c:v>44.266845343978105</c:v>
                </c:pt>
                <c:pt idx="268" formatCode="0.0">
                  <c:v>45.917241357525604</c:v>
                </c:pt>
                <c:pt idx="269" formatCode="0.0">
                  <c:v>45.523880212174397</c:v>
                </c:pt>
                <c:pt idx="270" formatCode="0.0">
                  <c:v>46.340407551902096</c:v>
                </c:pt>
                <c:pt idx="271" formatCode="0.0">
                  <c:v>46.091496609455803</c:v>
                </c:pt>
                <c:pt idx="272" formatCode="0.0">
                  <c:v>46.214527491537396</c:v>
                </c:pt>
                <c:pt idx="273" formatCode="0.0">
                  <c:v>46.335469223217096</c:v>
                </c:pt>
                <c:pt idx="274" formatCode="0.0">
                  <c:v>46.081148138884998</c:v>
                </c:pt>
                <c:pt idx="275" formatCode="0.0">
                  <c:v>45.7595960168236</c:v>
                </c:pt>
                <c:pt idx="276" formatCode="0.0">
                  <c:v>46.025454892225</c:v>
                </c:pt>
                <c:pt idx="277" formatCode="0.0">
                  <c:v>46.013429750930001</c:v>
                </c:pt>
                <c:pt idx="278" formatCode="0.0">
                  <c:v>45.717660824113302</c:v>
                </c:pt>
                <c:pt idx="279" formatCode="0.0">
                  <c:v>44.949309660538205</c:v>
                </c:pt>
                <c:pt idx="280" formatCode="0.0">
                  <c:v>45.059228468485905</c:v>
                </c:pt>
                <c:pt idx="281" formatCode="0.0">
                  <c:v>45.6009142305004</c:v>
                </c:pt>
                <c:pt idx="282" formatCode="0.0">
                  <c:v>45.089478542859702</c:v>
                </c:pt>
                <c:pt idx="283" formatCode="0.0">
                  <c:v>46.035856404615501</c:v>
                </c:pt>
                <c:pt idx="284" formatCode="0.0">
                  <c:v>45.901149606421505</c:v>
                </c:pt>
                <c:pt idx="285" formatCode="0.0">
                  <c:v>46.018774237992702</c:v>
                </c:pt>
                <c:pt idx="286" formatCode="0.0">
                  <c:v>46.774028001830303</c:v>
                </c:pt>
                <c:pt idx="287" formatCode="0.0">
                  <c:v>46.774028001830303</c:v>
                </c:pt>
                <c:pt idx="288" formatCode="0.0">
                  <c:v>45.132599133137703</c:v>
                </c:pt>
                <c:pt idx="289" formatCode="0.0">
                  <c:v>45.821807324360606</c:v>
                </c:pt>
                <c:pt idx="290" formatCode="0.0">
                  <c:v>46.292018580184404</c:v>
                </c:pt>
                <c:pt idx="291" formatCode="0.0">
                  <c:v>46.160366197943794</c:v>
                </c:pt>
                <c:pt idx="292" formatCode="0.0">
                  <c:v>45.375562491652701</c:v>
                </c:pt>
                <c:pt idx="293" formatCode="0.0">
                  <c:v>45.865950648023102</c:v>
                </c:pt>
                <c:pt idx="294" formatCode="0.0">
                  <c:v>45.207451458775701</c:v>
                </c:pt>
                <c:pt idx="295" formatCode="0.0">
                  <c:v>45.532179019028696</c:v>
                </c:pt>
                <c:pt idx="296" formatCode="0.0">
                  <c:v>45.580797264416297</c:v>
                </c:pt>
                <c:pt idx="297" formatCode="0.0">
                  <c:v>45.308839731919903</c:v>
                </c:pt>
                <c:pt idx="298" formatCode="0.0">
                  <c:v>45.453200714461303</c:v>
                </c:pt>
                <c:pt idx="299" formatCode="0.0">
                  <c:v>46.198210720085697</c:v>
                </c:pt>
                <c:pt idx="300" formatCode="0.0">
                  <c:v>45.551088664844599</c:v>
                </c:pt>
                <c:pt idx="301" formatCode="0.0">
                  <c:v>44.615160524289095</c:v>
                </c:pt>
                <c:pt idx="302" formatCode="0.0">
                  <c:v>45.211791460813799</c:v>
                </c:pt>
                <c:pt idx="303" formatCode="0.0">
                  <c:v>45.7596903791461</c:v>
                </c:pt>
                <c:pt idx="304" formatCode="0.0">
                  <c:v>45.299384484081003</c:v>
                </c:pt>
                <c:pt idx="305" formatCode="0.0">
                  <c:v>45.443868595486599</c:v>
                </c:pt>
                <c:pt idx="306" formatCode="0.0">
                  <c:v>45.948026482046401</c:v>
                </c:pt>
                <c:pt idx="307" formatCode="0.0">
                  <c:v>45.872022847446203</c:v>
                </c:pt>
                <c:pt idx="308" formatCode="0.0">
                  <c:v>45.836717516533994</c:v>
                </c:pt>
                <c:pt idx="309" formatCode="0.0">
                  <c:v>46.0126282775433</c:v>
                </c:pt>
                <c:pt idx="310" formatCode="0.0">
                  <c:v>45.234409506551103</c:v>
                </c:pt>
                <c:pt idx="311" formatCode="0.0">
                  <c:v>45.815555463531403</c:v>
                </c:pt>
                <c:pt idx="312" formatCode="0.0">
                  <c:v>46.4934670517478</c:v>
                </c:pt>
                <c:pt idx="313" formatCode="0.0">
                  <c:v>46.229011918780103</c:v>
                </c:pt>
                <c:pt idx="314" formatCode="0.0">
                  <c:v>45.481141368014598</c:v>
                </c:pt>
                <c:pt idx="315" formatCode="0.0">
                  <c:v>44.544970473800007</c:v>
                </c:pt>
                <c:pt idx="316" formatCode="0.0">
                  <c:v>45.441375690775494</c:v>
                </c:pt>
                <c:pt idx="317" formatCode="0.0">
                  <c:v>45.503540364675899</c:v>
                </c:pt>
                <c:pt idx="318" formatCode="0.0">
                  <c:v>45.447456092529293</c:v>
                </c:pt>
                <c:pt idx="319" formatCode="0.0">
                  <c:v>45.848862066709898</c:v>
                </c:pt>
                <c:pt idx="320" formatCode="0.0">
                  <c:v>45.846138929131797</c:v>
                </c:pt>
                <c:pt idx="321" formatCode="0.0">
                  <c:v>46.034130416380293</c:v>
                </c:pt>
                <c:pt idx="322" formatCode="0.0">
                  <c:v>45.859663292224198</c:v>
                </c:pt>
                <c:pt idx="323" formatCode="0.0">
                  <c:v>45.151468300791805</c:v>
                </c:pt>
                <c:pt idx="324" formatCode="0.0">
                  <c:v>45.447863929798601</c:v>
                </c:pt>
                <c:pt idx="325" formatCode="0.0">
                  <c:v>45.778610583355103</c:v>
                </c:pt>
                <c:pt idx="326" formatCode="0.0">
                  <c:v>45.472011844723795</c:v>
                </c:pt>
                <c:pt idx="327" formatCode="0.0">
                  <c:v>45.395917066743095</c:v>
                </c:pt>
                <c:pt idx="328" formatCode="0.0">
                  <c:v>45.066303640417004</c:v>
                </c:pt>
                <c:pt idx="329" formatCode="0.0">
                  <c:v>45.533516847789301</c:v>
                </c:pt>
                <c:pt idx="330" formatCode="0.0">
                  <c:v>45.715941610871802</c:v>
                </c:pt>
                <c:pt idx="331" formatCode="0.0">
                  <c:v>45.498510838015001</c:v>
                </c:pt>
                <c:pt idx="332" formatCode="0.0">
                  <c:v>44.562499394684998</c:v>
                </c:pt>
                <c:pt idx="333" formatCode="0.0">
                  <c:v>44.839096683390906</c:v>
                </c:pt>
                <c:pt idx="334" formatCode="0.0">
                  <c:v>44.010500299645201</c:v>
                </c:pt>
                <c:pt idx="335" formatCode="0.0">
                  <c:v>43.516268869535295</c:v>
                </c:pt>
                <c:pt idx="336" formatCode="0.0">
                  <c:v>44.535482464890904</c:v>
                </c:pt>
                <c:pt idx="337" formatCode="0.0">
                  <c:v>44.186282557474001</c:v>
                </c:pt>
                <c:pt idx="338" formatCode="0.0">
                  <c:v>44.307818074697103</c:v>
                </c:pt>
                <c:pt idx="339" formatCode="0.0">
                  <c:v>44.683019886928093</c:v>
                </c:pt>
                <c:pt idx="340" formatCode="0.0">
                  <c:v>45.1995145464522</c:v>
                </c:pt>
                <c:pt idx="341" formatCode="0.0">
                  <c:v>44.743009122924803</c:v>
                </c:pt>
                <c:pt idx="342" formatCode="0.0">
                  <c:v>45.171127965166406</c:v>
                </c:pt>
                <c:pt idx="343" formatCode="0.0">
                  <c:v>44.806441240068004</c:v>
                </c:pt>
                <c:pt idx="344" formatCode="0.0">
                  <c:v>45.931440633602904</c:v>
                </c:pt>
                <c:pt idx="345" formatCode="0.0">
                  <c:v>45.656575067761594</c:v>
                </c:pt>
                <c:pt idx="346" formatCode="0.0">
                  <c:v>46.2734956189217</c:v>
                </c:pt>
                <c:pt idx="347" formatCode="0.0">
                  <c:v>46.308002261000098</c:v>
                </c:pt>
                <c:pt idx="348" formatCode="0.0">
                  <c:v>45.938127111306002</c:v>
                </c:pt>
                <c:pt idx="349" formatCode="0.0">
                  <c:v>45.779841783117298</c:v>
                </c:pt>
                <c:pt idx="350" formatCode="0.0">
                  <c:v>45.834179167298799</c:v>
                </c:pt>
                <c:pt idx="351" formatCode="0.0">
                  <c:v>44.451710497169302</c:v>
                </c:pt>
                <c:pt idx="352" formatCode="0.0">
                  <c:v>45.542674862149106</c:v>
                </c:pt>
                <c:pt idx="353" formatCode="0.0">
                  <c:v>45.187400852946894</c:v>
                </c:pt>
                <c:pt idx="354" formatCode="0.0">
                  <c:v>44.913008102841701</c:v>
                </c:pt>
                <c:pt idx="355" formatCode="0.0">
                  <c:v>44.690835365991703</c:v>
                </c:pt>
                <c:pt idx="356" formatCode="0.0">
                  <c:v>42.276138246420096</c:v>
                </c:pt>
                <c:pt idx="357" formatCode="0.0">
                  <c:v>44.289166966743792</c:v>
                </c:pt>
                <c:pt idx="358" formatCode="0.0">
                  <c:v>45.296557147288503</c:v>
                </c:pt>
                <c:pt idx="359" formatCode="0.0">
                  <c:v>45.709333934080298</c:v>
                </c:pt>
                <c:pt idx="360" formatCode="0.0">
                  <c:v>44.7725966340968</c:v>
                </c:pt>
                <c:pt idx="361" formatCode="0.0">
                  <c:v>44.754312412638996</c:v>
                </c:pt>
                <c:pt idx="362" formatCode="0.0">
                  <c:v>44.573964203508197</c:v>
                </c:pt>
                <c:pt idx="363" formatCode="0.0">
                  <c:v>44.743074199544701</c:v>
                </c:pt>
                <c:pt idx="364">
                  <c:v>43.993758054827801</c:v>
                </c:pt>
                <c:pt idx="365">
                  <c:v>45.846440573350506</c:v>
                </c:pt>
                <c:pt idx="366">
                  <c:v>45.810900038934705</c:v>
                </c:pt>
                <c:pt idx="367">
                  <c:v>46.214272925824602</c:v>
                </c:pt>
                <c:pt idx="368">
                  <c:v>46.9688351421227</c:v>
                </c:pt>
                <c:pt idx="369">
                  <c:v>46.393614696346297</c:v>
                </c:pt>
                <c:pt idx="370">
                  <c:v>45.884220102188202</c:v>
                </c:pt>
                <c:pt idx="371">
                  <c:v>46.126105299580502</c:v>
                </c:pt>
                <c:pt idx="372">
                  <c:v>44.884656367578899</c:v>
                </c:pt>
                <c:pt idx="373">
                  <c:v>45.108313330381698</c:v>
                </c:pt>
                <c:pt idx="374">
                  <c:v>46.145744263571899</c:v>
                </c:pt>
                <c:pt idx="375">
                  <c:v>45.479578481906799</c:v>
                </c:pt>
                <c:pt idx="376">
                  <c:v>45.423787839555601</c:v>
                </c:pt>
                <c:pt idx="377">
                  <c:v>45.796056947320494</c:v>
                </c:pt>
                <c:pt idx="378">
                  <c:v>46.419407341923701</c:v>
                </c:pt>
                <c:pt idx="379">
                  <c:v>45.401194947210499</c:v>
                </c:pt>
                <c:pt idx="380">
                  <c:v>45.423895031430305</c:v>
                </c:pt>
                <c:pt idx="381">
                  <c:v>45.4609987620669</c:v>
                </c:pt>
                <c:pt idx="382">
                  <c:v>45.499233192576597</c:v>
                </c:pt>
                <c:pt idx="383">
                  <c:v>46.032233350275398</c:v>
                </c:pt>
                <c:pt idx="384">
                  <c:v>45.599129283254697</c:v>
                </c:pt>
                <c:pt idx="385">
                  <c:v>45.661331926539397</c:v>
                </c:pt>
                <c:pt idx="386">
                  <c:v>46.248489184734105</c:v>
                </c:pt>
                <c:pt idx="387">
                  <c:v>46.431859921508298</c:v>
                </c:pt>
                <c:pt idx="388">
                  <c:v>45.7886833637398</c:v>
                </c:pt>
                <c:pt idx="389">
                  <c:v>45.781727136195698</c:v>
                </c:pt>
                <c:pt idx="390">
                  <c:v>46.528115112362499</c:v>
                </c:pt>
                <c:pt idx="391">
                  <c:v>45.813164528806098</c:v>
                </c:pt>
                <c:pt idx="392">
                  <c:v>46.320618167334601</c:v>
                </c:pt>
                <c:pt idx="393">
                  <c:v>45.219519815402698</c:v>
                </c:pt>
                <c:pt idx="394">
                  <c:v>45.696849665504004</c:v>
                </c:pt>
                <c:pt idx="395">
                  <c:v>46.0614627486014</c:v>
                </c:pt>
                <c:pt idx="396">
                  <c:v>45.377815353342896</c:v>
                </c:pt>
                <c:pt idx="397">
                  <c:v>45.717804438383794</c:v>
                </c:pt>
                <c:pt idx="398">
                  <c:v>1018.2034756944399</c:v>
                </c:pt>
                <c:pt idx="399">
                  <c:v>44.960441951761105</c:v>
                </c:pt>
                <c:pt idx="400">
                  <c:v>46.511299892234902</c:v>
                </c:pt>
                <c:pt idx="401">
                  <c:v>45.461693518881397</c:v>
                </c:pt>
                <c:pt idx="402">
                  <c:v>46.3556985775122</c:v>
                </c:pt>
                <c:pt idx="403">
                  <c:v>46.073559246155796</c:v>
                </c:pt>
                <c:pt idx="404">
                  <c:v>45.575764360570602</c:v>
                </c:pt>
                <c:pt idx="405">
                  <c:v>46.324092601074199</c:v>
                </c:pt>
                <c:pt idx="406">
                  <c:v>46.400149103734392</c:v>
                </c:pt>
                <c:pt idx="407">
                  <c:v>45.834511329010297</c:v>
                </c:pt>
                <c:pt idx="408">
                  <c:v>45.401542875087905</c:v>
                </c:pt>
                <c:pt idx="409">
                  <c:v>45.96312799495049</c:v>
                </c:pt>
                <c:pt idx="410">
                  <c:v>46.074013083481702</c:v>
                </c:pt>
                <c:pt idx="411">
                  <c:v>45.218491363081803</c:v>
                </c:pt>
                <c:pt idx="412">
                  <c:v>45.833104182050008</c:v>
                </c:pt>
                <c:pt idx="413">
                  <c:v>45.729564595651404</c:v>
                </c:pt>
                <c:pt idx="414">
                  <c:v>45.054382144240897</c:v>
                </c:pt>
                <c:pt idx="415">
                  <c:v>45.304669875785002</c:v>
                </c:pt>
                <c:pt idx="416">
                  <c:v>45.5114789434381</c:v>
                </c:pt>
                <c:pt idx="417">
                  <c:v>45.520804393431504</c:v>
                </c:pt>
                <c:pt idx="418">
                  <c:v>46.0830356487891</c:v>
                </c:pt>
                <c:pt idx="419">
                  <c:v>46.495301471618603</c:v>
                </c:pt>
                <c:pt idx="420">
                  <c:v>46.801795774594993</c:v>
                </c:pt>
                <c:pt idx="421">
                  <c:v>46.365924568993904</c:v>
                </c:pt>
                <c:pt idx="422">
                  <c:v>47.055911038953695</c:v>
                </c:pt>
                <c:pt idx="423">
                  <c:v>47.265860990477499</c:v>
                </c:pt>
                <c:pt idx="424">
                  <c:v>46.165161707814804</c:v>
                </c:pt>
                <c:pt idx="425">
                  <c:v>45.556864623550801</c:v>
                </c:pt>
                <c:pt idx="426">
                  <c:v>45.3381797991673</c:v>
                </c:pt>
                <c:pt idx="427">
                  <c:v>45.2362357829724</c:v>
                </c:pt>
                <c:pt idx="428">
                  <c:v>45.499282275075501</c:v>
                </c:pt>
                <c:pt idx="429">
                  <c:v>45.642792971164397</c:v>
                </c:pt>
                <c:pt idx="430">
                  <c:v>44.954943780618805</c:v>
                </c:pt>
                <c:pt idx="431">
                  <c:v>45.509383090093898</c:v>
                </c:pt>
                <c:pt idx="432">
                  <c:v>46.644971571896299</c:v>
                </c:pt>
                <c:pt idx="433">
                  <c:v>45.619993996804602</c:v>
                </c:pt>
                <c:pt idx="434">
                  <c:v>46.488778296514106</c:v>
                </c:pt>
                <c:pt idx="435">
                  <c:v>46.299993070882493</c:v>
                </c:pt>
                <c:pt idx="436">
                  <c:v>45.575032210740794</c:v>
                </c:pt>
                <c:pt idx="437">
                  <c:v>44.906301275264198</c:v>
                </c:pt>
                <c:pt idx="438" formatCode="0.0">
                  <c:v>45.353458648932097</c:v>
                </c:pt>
                <c:pt idx="439">
                  <c:v>45.439173533267606</c:v>
                </c:pt>
                <c:pt idx="440">
                  <c:v>0</c:v>
                </c:pt>
                <c:pt idx="441">
                  <c:v>0</c:v>
                </c:pt>
                <c:pt idx="442">
                  <c:v>0</c:v>
                </c:pt>
                <c:pt idx="443">
                  <c:v>46.247688985746798</c:v>
                </c:pt>
                <c:pt idx="444">
                  <c:v>45.033841871732193</c:v>
                </c:pt>
                <c:pt idx="445">
                  <c:v>45.564147789086604</c:v>
                </c:pt>
                <c:pt idx="446">
                  <c:v>45.5</c:v>
                </c:pt>
                <c:pt idx="447">
                  <c:v>45.547246816370695</c:v>
                </c:pt>
                <c:pt idx="448">
                  <c:v>44.857785240324695</c:v>
                </c:pt>
                <c:pt idx="449">
                  <c:v>45.085003448509802</c:v>
                </c:pt>
                <c:pt idx="450">
                  <c:v>45.826948451907299</c:v>
                </c:pt>
                <c:pt idx="451">
                  <c:v>45.940749300505502</c:v>
                </c:pt>
                <c:pt idx="452">
                  <c:v>44.639112154639506</c:v>
                </c:pt>
                <c:pt idx="453">
                  <c:v>44.460261420070907</c:v>
                </c:pt>
                <c:pt idx="454">
                  <c:v>44.192076251843801</c:v>
                </c:pt>
                <c:pt idx="455">
                  <c:v>44.840074475480598</c:v>
                </c:pt>
                <c:pt idx="456">
                  <c:v>44.938956888544688</c:v>
                </c:pt>
                <c:pt idx="457">
                  <c:v>45.425611788559699</c:v>
                </c:pt>
                <c:pt idx="458" formatCode="0.0">
                  <c:v>45.166037924126201</c:v>
                </c:pt>
                <c:pt idx="459" formatCode="0.0">
                  <c:v>44.785650702711699</c:v>
                </c:pt>
                <c:pt idx="460" formatCode="0.0">
                  <c:v>44.526636471323499</c:v>
                </c:pt>
                <c:pt idx="461" formatCode="0.0">
                  <c:v>44.956648592869399</c:v>
                </c:pt>
                <c:pt idx="462" formatCode="0.0">
                  <c:v>44.442657523241294</c:v>
                </c:pt>
                <c:pt idx="463" formatCode="0.0">
                  <c:v>44.936837838265404</c:v>
                </c:pt>
                <c:pt idx="464" formatCode="0.0">
                  <c:v>44.427463461172401</c:v>
                </c:pt>
                <c:pt idx="465" formatCode="0.0">
                  <c:v>45.672774415595796</c:v>
                </c:pt>
                <c:pt idx="466" formatCode="0.0">
                  <c:v>46.165501900826698</c:v>
                </c:pt>
                <c:pt idx="467" formatCode="0.0">
                  <c:v>46.078214294188498</c:v>
                </c:pt>
                <c:pt idx="468" formatCode="0.0">
                  <c:v>44.538405184908299</c:v>
                </c:pt>
                <c:pt idx="469" formatCode="0.0">
                  <c:v>46.454150503378806</c:v>
                </c:pt>
                <c:pt idx="470" formatCode="0.0">
                  <c:v>47.0187658561509</c:v>
                </c:pt>
                <c:pt idx="471" formatCode="0.0">
                  <c:v>46.717028141791495</c:v>
                </c:pt>
                <c:pt idx="472" formatCode="0.0">
                  <c:v>47.063548405395295</c:v>
                </c:pt>
                <c:pt idx="473" formatCode="0.0">
                  <c:v>46.959262321705296</c:v>
                </c:pt>
                <c:pt idx="474" formatCode="0.0">
                  <c:v>46.600862310215803</c:v>
                </c:pt>
                <c:pt idx="475" formatCode="0.0">
                  <c:v>46.653360180862705</c:v>
                </c:pt>
                <c:pt idx="476" formatCode="0.0">
                  <c:v>46.778720581347102</c:v>
                </c:pt>
                <c:pt idx="477" formatCode="0.0">
                  <c:v>46.878655998230499</c:v>
                </c:pt>
                <c:pt idx="478" formatCode="0.0">
                  <c:v>46.382487158793296</c:v>
                </c:pt>
                <c:pt idx="479" formatCode="0.0">
                  <c:v>45.739891039556596</c:v>
                </c:pt>
                <c:pt idx="480" formatCode="0.0">
                  <c:v>46.7371968341456</c:v>
                </c:pt>
                <c:pt idx="481" formatCode="0.0">
                  <c:v>45.640939843351504</c:v>
                </c:pt>
                <c:pt idx="482" formatCode="0.0">
                  <c:v>46.029848573154098</c:v>
                </c:pt>
                <c:pt idx="483" formatCode="0.0">
                  <c:v>46.064859477747497</c:v>
                </c:pt>
                <c:pt idx="484" formatCode="0.0">
                  <c:v>45.497731538937501</c:v>
                </c:pt>
                <c:pt idx="485" formatCode="0.0">
                  <c:v>45.91985526885</c:v>
                </c:pt>
                <c:pt idx="486" formatCode="0.0">
                  <c:v>44.678464807860593</c:v>
                </c:pt>
                <c:pt idx="487" formatCode="0.0">
                  <c:v>44.473240908381598</c:v>
                </c:pt>
                <c:pt idx="488" formatCode="0.0">
                  <c:v>45.480354259730397</c:v>
                </c:pt>
                <c:pt idx="489" formatCode="0.0">
                  <c:v>45.313039618875699</c:v>
                </c:pt>
                <c:pt idx="490" formatCode="0.0">
                  <c:v>45.751956981604998</c:v>
                </c:pt>
                <c:pt idx="491" formatCode="0.0">
                  <c:v>46.374280796500294</c:v>
                </c:pt>
                <c:pt idx="492" formatCode="0.0">
                  <c:v>46.084277382490001</c:v>
                </c:pt>
                <c:pt idx="493" formatCode="0.0">
                  <c:v>46.206412031089002</c:v>
                </c:pt>
                <c:pt idx="494" formatCode="0.0">
                  <c:v>45.104632745185604</c:v>
                </c:pt>
                <c:pt idx="495" formatCode="0.0">
                  <c:v>43.626255104918201</c:v>
                </c:pt>
                <c:pt idx="496" formatCode="0.0">
                  <c:v>43.377027232512503</c:v>
                </c:pt>
                <c:pt idx="497" formatCode="0.0">
                  <c:v>0</c:v>
                </c:pt>
                <c:pt idx="498" formatCode="0.0">
                  <c:v>0</c:v>
                </c:pt>
                <c:pt idx="499" formatCode="0.0">
                  <c:v>44.349995247251101</c:v>
                </c:pt>
                <c:pt idx="500" formatCode="0.0">
                  <c:v>44.526630239257599</c:v>
                </c:pt>
                <c:pt idx="501" formatCode="0.0">
                  <c:v>44.301413322696497</c:v>
                </c:pt>
                <c:pt idx="502" formatCode="0.0">
                  <c:v>44.106122770349401</c:v>
                </c:pt>
                <c:pt idx="503" formatCode="0.0">
                  <c:v>44.497311968566002</c:v>
                </c:pt>
                <c:pt idx="504" formatCode="0.0">
                  <c:v>44.614776007356902</c:v>
                </c:pt>
                <c:pt idx="505" formatCode="0.0">
                  <c:v>44.1768855823168</c:v>
                </c:pt>
                <c:pt idx="506" formatCode="0.0">
                  <c:v>43.780312437961157</c:v>
                </c:pt>
                <c:pt idx="507" formatCode="0.0">
                  <c:v>43.780376216970296</c:v>
                </c:pt>
                <c:pt idx="508" formatCode="0.0">
                  <c:v>43.7031295830121</c:v>
                </c:pt>
                <c:pt idx="509" formatCode="0.0">
                  <c:v>44.267154327801805</c:v>
                </c:pt>
                <c:pt idx="510" formatCode="0.0">
                  <c:v>44.328342317956896</c:v>
                </c:pt>
                <c:pt idx="511" formatCode="0.0">
                  <c:v>44.495806187585103</c:v>
                </c:pt>
                <c:pt idx="512" formatCode="0.0">
                  <c:v>45.315078756676101</c:v>
                </c:pt>
                <c:pt idx="513" formatCode="0.0">
                  <c:v>45.383577723575101</c:v>
                </c:pt>
                <c:pt idx="514" formatCode="0.0">
                  <c:v>45.839378291554894</c:v>
                </c:pt>
                <c:pt idx="515" formatCode="0.0">
                  <c:v>44.822841104792204</c:v>
                </c:pt>
                <c:pt idx="516" formatCode="0.0">
                  <c:v>44.3240420110548</c:v>
                </c:pt>
                <c:pt idx="517" formatCode="0.0">
                  <c:v>44.780158613116001</c:v>
                </c:pt>
                <c:pt idx="518" formatCode="0.0">
                  <c:v>44.832312496656101</c:v>
                </c:pt>
                <c:pt idx="519" formatCode="0.0">
                  <c:v>44.772081111819595</c:v>
                </c:pt>
                <c:pt idx="520" formatCode="0.0">
                  <c:v>44.7278294771193</c:v>
                </c:pt>
                <c:pt idx="521" formatCode="0.0">
                  <c:v>44.368200041169999</c:v>
                </c:pt>
                <c:pt idx="522" formatCode="0.0">
                  <c:v>44.332827529942904</c:v>
                </c:pt>
                <c:pt idx="523" formatCode="0.0">
                  <c:v>44.850487812057594</c:v>
                </c:pt>
                <c:pt idx="524" formatCode="0.0">
                  <c:v>45.485346027979105</c:v>
                </c:pt>
                <c:pt idx="525" formatCode="0.0">
                  <c:v>45.161786718878695</c:v>
                </c:pt>
                <c:pt idx="526" formatCode="0.0">
                  <c:v>46.773661386654702</c:v>
                </c:pt>
                <c:pt idx="527" formatCode="0.0">
                  <c:v>45.020957597348897</c:v>
                </c:pt>
                <c:pt idx="528" formatCode="0.0">
                  <c:v>43.014171455908105</c:v>
                </c:pt>
                <c:pt idx="529" formatCode="0.0">
                  <c:v>43.272371647059906</c:v>
                </c:pt>
                <c:pt idx="530" formatCode="0.0">
                  <c:v>44.931312954729698</c:v>
                </c:pt>
                <c:pt idx="531" formatCode="0.0">
                  <c:v>46</c:v>
                </c:pt>
                <c:pt idx="532" formatCode="0.0">
                  <c:v>46.575073931989095</c:v>
                </c:pt>
                <c:pt idx="533" formatCode="0.0">
                  <c:v>45.088110247653901</c:v>
                </c:pt>
                <c:pt idx="534" formatCode="0.0">
                  <c:v>44.0752681187574</c:v>
                </c:pt>
                <c:pt idx="535" formatCode="0.0">
                  <c:v>44.099874008988806</c:v>
                </c:pt>
                <c:pt idx="536" formatCode="0.0">
                  <c:v>44.729290614763102</c:v>
                </c:pt>
                <c:pt idx="537" formatCode="0.0">
                  <c:v>44.600243671404698</c:v>
                </c:pt>
                <c:pt idx="538" formatCode="0.0">
                  <c:v>44.695732787064799</c:v>
                </c:pt>
                <c:pt idx="539" formatCode="0.0">
                  <c:v>45.860212263990398</c:v>
                </c:pt>
                <c:pt idx="540" formatCode="0.0">
                  <c:v>46.580161230259506</c:v>
                </c:pt>
                <c:pt idx="541" formatCode="0.0">
                  <c:v>45.132180178691705</c:v>
                </c:pt>
                <c:pt idx="542" formatCode="0.0">
                  <c:v>45.689730196338502</c:v>
                </c:pt>
                <c:pt idx="543" formatCode="0.0">
                  <c:v>45.4866099772902</c:v>
                </c:pt>
                <c:pt idx="544" formatCode="0.0">
                  <c:v>45.321289573744295</c:v>
                </c:pt>
                <c:pt idx="545" formatCode="0.0">
                  <c:v>44.503202649079199</c:v>
                </c:pt>
                <c:pt idx="546" formatCode="0.0">
                  <c:v>44.352102975185595</c:v>
                </c:pt>
                <c:pt idx="547" formatCode="0.0">
                  <c:v>43.524493964388604</c:v>
                </c:pt>
                <c:pt idx="548" formatCode="0.0">
                  <c:v>44.332302756541807</c:v>
                </c:pt>
                <c:pt idx="549" formatCode="0.0">
                  <c:v>44.639675262959997</c:v>
                </c:pt>
                <c:pt idx="550" formatCode="0.0">
                  <c:v>44.081958474033399</c:v>
                </c:pt>
                <c:pt idx="551" formatCode="0.0">
                  <c:v>45.175392925408502</c:v>
                </c:pt>
                <c:pt idx="552" formatCode="0.0">
                  <c:v>45.072339931808102</c:v>
                </c:pt>
                <c:pt idx="553" formatCode="0.0">
                  <c:v>45.305573198272896</c:v>
                </c:pt>
                <c:pt idx="554" formatCode="0.0">
                  <c:v>46.226360651876803</c:v>
                </c:pt>
                <c:pt idx="555" formatCode="0.0">
                  <c:v>44.413209425287903</c:v>
                </c:pt>
                <c:pt idx="556" formatCode="0.0">
                  <c:v>45.180387499346104</c:v>
                </c:pt>
                <c:pt idx="557" formatCode="0.0">
                  <c:v>45.1057552642147</c:v>
                </c:pt>
                <c:pt idx="558" formatCode="0.0">
                  <c:v>44.5297277159166</c:v>
                </c:pt>
                <c:pt idx="559" formatCode="0.0">
                  <c:v>44.717555593150699</c:v>
                </c:pt>
                <c:pt idx="560" formatCode="0.0">
                  <c:v>46.047495479805704</c:v>
                </c:pt>
                <c:pt idx="561" formatCode="0.0">
                  <c:v>46.689123902856402</c:v>
                </c:pt>
                <c:pt idx="562" formatCode="0.0">
                  <c:v>44.879987124738314</c:v>
                </c:pt>
                <c:pt idx="563" formatCode="0.0">
                  <c:v>43.7178006859249</c:v>
                </c:pt>
                <c:pt idx="564" formatCode="0.0">
                  <c:v>43.864269029272101</c:v>
                </c:pt>
                <c:pt idx="565" formatCode="0.0">
                  <c:v>45.271096562995801</c:v>
                </c:pt>
                <c:pt idx="566" formatCode="0.0">
                  <c:v>44.632533450882306</c:v>
                </c:pt>
                <c:pt idx="567" formatCode="0.0">
                  <c:v>46.739170062003993</c:v>
                </c:pt>
                <c:pt idx="568" formatCode="0.0">
                  <c:v>47.387240676151393</c:v>
                </c:pt>
                <c:pt idx="569" formatCode="0.0">
                  <c:v>45.867637082767203</c:v>
                </c:pt>
                <c:pt idx="570" formatCode="0.0">
                  <c:v>45.904605457761392</c:v>
                </c:pt>
                <c:pt idx="571" formatCode="0.0">
                  <c:v>45.605783916750504</c:v>
                </c:pt>
                <c:pt idx="572" formatCode="0.0">
                  <c:v>46.130255525167598</c:v>
                </c:pt>
                <c:pt idx="573" formatCode="0.0">
                  <c:v>45.380175221736692</c:v>
                </c:pt>
                <c:pt idx="574" formatCode="0.0">
                  <c:v>46.280672034567999</c:v>
                </c:pt>
                <c:pt idx="575" formatCode="0.0">
                  <c:v>45.960628032925001</c:v>
                </c:pt>
                <c:pt idx="576" formatCode="0.0">
                  <c:v>45.681201666078493</c:v>
                </c:pt>
                <c:pt idx="577" formatCode="0.0">
                  <c:v>45.317520836841602</c:v>
                </c:pt>
                <c:pt idx="578" formatCode="0.0">
                  <c:v>43.588393370705496</c:v>
                </c:pt>
                <c:pt idx="579" formatCode="0.0">
                  <c:v>44.342100087775798</c:v>
                </c:pt>
                <c:pt idx="580" formatCode="0.0">
                  <c:v>44.805934611011502</c:v>
                </c:pt>
                <c:pt idx="581" formatCode="0.0">
                  <c:v>45.248472097333803</c:v>
                </c:pt>
                <c:pt idx="582" formatCode="0.0">
                  <c:v>44.794282073409406</c:v>
                </c:pt>
                <c:pt idx="583" formatCode="0.0">
                  <c:v>44.915687675631006</c:v>
                </c:pt>
                <c:pt idx="584" formatCode="0.0">
                  <c:v>44.303834988516897</c:v>
                </c:pt>
                <c:pt idx="585" formatCode="0.0">
                  <c:v>44.407931995633504</c:v>
                </c:pt>
                <c:pt idx="586" formatCode="0.0">
                  <c:v>43.800336732406706</c:v>
                </c:pt>
                <c:pt idx="587" formatCode="0.0">
                  <c:v>44.733604616113503</c:v>
                </c:pt>
                <c:pt idx="588" formatCode="0.0">
                  <c:v>44.739558659060101</c:v>
                </c:pt>
                <c:pt idx="589" formatCode="0.0">
                  <c:v>44.600614367811801</c:v>
                </c:pt>
                <c:pt idx="590" formatCode="0.0">
                  <c:v>44.931907533378904</c:v>
                </c:pt>
                <c:pt idx="591" formatCode="0.0">
                  <c:v>45.379162921741894</c:v>
                </c:pt>
                <c:pt idx="592" formatCode="0.0">
                  <c:v>44.892698868607503</c:v>
                </c:pt>
                <c:pt idx="593" formatCode="0.0">
                  <c:v>45.167397468874704</c:v>
                </c:pt>
                <c:pt idx="594" formatCode="0.0">
                  <c:v>44.887664161324501</c:v>
                </c:pt>
                <c:pt idx="595" formatCode="0.0">
                  <c:v>44.869248109682196</c:v>
                </c:pt>
                <c:pt idx="596" formatCode="0.0">
                  <c:v>45.566486771792</c:v>
                </c:pt>
                <c:pt idx="597" formatCode="0.0">
                  <c:v>45.899628792383098</c:v>
                </c:pt>
                <c:pt idx="598" formatCode="0.0">
                  <c:v>46.663086018052098</c:v>
                </c:pt>
                <c:pt idx="599" formatCode="0.0">
                  <c:v>47.036693556280596</c:v>
                </c:pt>
                <c:pt idx="600" formatCode="0.0">
                  <c:v>46.266960614689594</c:v>
                </c:pt>
                <c:pt idx="601" formatCode="0.0">
                  <c:v>45.872746407235205</c:v>
                </c:pt>
                <c:pt idx="602" formatCode="0.0">
                  <c:v>44.728758926459406</c:v>
                </c:pt>
                <c:pt idx="603" formatCode="0.0">
                  <c:v>45.4593279602812</c:v>
                </c:pt>
                <c:pt idx="604" formatCode="0.0">
                  <c:v>44.995619159880604</c:v>
                </c:pt>
                <c:pt idx="605" formatCode="0.0">
                  <c:v>45.475845731464304</c:v>
                </c:pt>
                <c:pt idx="606" formatCode="0.0">
                  <c:v>45.017196186225299</c:v>
                </c:pt>
                <c:pt idx="607" formatCode="0.0">
                  <c:v>44.325204310742905</c:v>
                </c:pt>
                <c:pt idx="608" formatCode="0.0">
                  <c:v>45.106280966549399</c:v>
                </c:pt>
                <c:pt idx="609" formatCode="0.0">
                  <c:v>44.8330893901284</c:v>
                </c:pt>
                <c:pt idx="610" formatCode="0.0">
                  <c:v>44.5441103354257</c:v>
                </c:pt>
                <c:pt idx="611" formatCode="0.0">
                  <c:v>46.254847396102605</c:v>
                </c:pt>
                <c:pt idx="612" formatCode="0.0">
                  <c:v>46.468759228918898</c:v>
                </c:pt>
                <c:pt idx="613" formatCode="0.0">
                  <c:v>46.090686043602496</c:v>
                </c:pt>
                <c:pt idx="614" formatCode="0.0">
                  <c:v>46.430590086533996</c:v>
                </c:pt>
                <c:pt idx="615" formatCode="0.0">
                  <c:v>46.403657386281402</c:v>
                </c:pt>
                <c:pt idx="616" formatCode="0.0">
                  <c:v>46.259258358679205</c:v>
                </c:pt>
                <c:pt idx="617" formatCode="0.0">
                  <c:v>46.214767350276496</c:v>
                </c:pt>
                <c:pt idx="618" formatCode="0.0">
                  <c:v>46.529501105328904</c:v>
                </c:pt>
                <c:pt idx="619" formatCode="0.0">
                  <c:v>45.123027396674502</c:v>
                </c:pt>
                <c:pt idx="620" formatCode="0.0">
                  <c:v>45.246048429659204</c:v>
                </c:pt>
                <c:pt idx="621" formatCode="0.0">
                  <c:v>45.196929761312703</c:v>
                </c:pt>
                <c:pt idx="622" formatCode="0.0">
                  <c:v>45.653189327459501</c:v>
                </c:pt>
                <c:pt idx="623" formatCode="0.0">
                  <c:v>45.179056985657596</c:v>
                </c:pt>
                <c:pt idx="624" formatCode="0.0">
                  <c:v>45.549390207048397</c:v>
                </c:pt>
                <c:pt idx="625" formatCode="0.0">
                  <c:v>45.438711135210603</c:v>
                </c:pt>
                <c:pt idx="626" formatCode="0.0">
                  <c:v>45.3655985278236</c:v>
                </c:pt>
                <c:pt idx="627" formatCode="0.0">
                  <c:v>45.689068666267104</c:v>
                </c:pt>
                <c:pt idx="628" formatCode="0.0">
                  <c:v>45.308642647832301</c:v>
                </c:pt>
                <c:pt idx="629" formatCode="0.0">
                  <c:v>45.981602065420802</c:v>
                </c:pt>
                <c:pt idx="630" formatCode="0.0">
                  <c:v>45.762978068721992</c:v>
                </c:pt>
                <c:pt idx="631" formatCode="0.0">
                  <c:v>44.306567630720799</c:v>
                </c:pt>
                <c:pt idx="632" formatCode="0.0">
                  <c:v>44.165694199379701</c:v>
                </c:pt>
                <c:pt idx="633" formatCode="0.0">
                  <c:v>44.334633826997198</c:v>
                </c:pt>
                <c:pt idx="634" formatCode="0.0">
                  <c:v>45.103527874250403</c:v>
                </c:pt>
                <c:pt idx="635" formatCode="0.0">
                  <c:v>45.689920599715407</c:v>
                </c:pt>
                <c:pt idx="636" formatCode="0.0">
                  <c:v>45.410040876103601</c:v>
                </c:pt>
                <c:pt idx="637" formatCode="0.0">
                  <c:v>45.674414438119697</c:v>
                </c:pt>
                <c:pt idx="638" formatCode="0.0">
                  <c:v>45.969041636864205</c:v>
                </c:pt>
                <c:pt idx="639" formatCode="0.0">
                  <c:v>45.577148758350397</c:v>
                </c:pt>
                <c:pt idx="640" formatCode="0.0">
                  <c:v>45.670703480825203</c:v>
                </c:pt>
                <c:pt idx="641" formatCode="0.0">
                  <c:v>43.941353733572797</c:v>
                </c:pt>
                <c:pt idx="642" formatCode="0.0">
                  <c:v>0</c:v>
                </c:pt>
                <c:pt idx="643" formatCode="0.0">
                  <c:v>43.608475632798196</c:v>
                </c:pt>
                <c:pt idx="644" formatCode="0.0">
                  <c:v>45.702997618641703</c:v>
                </c:pt>
                <c:pt idx="645" formatCode="0.0">
                  <c:v>46.040196868803406</c:v>
                </c:pt>
                <c:pt idx="646" formatCode="0.0">
                  <c:v>44.623573253146596</c:v>
                </c:pt>
                <c:pt idx="647" formatCode="0.0">
                  <c:v>44.845854223376698</c:v>
                </c:pt>
                <c:pt idx="648" formatCode="0.0">
                  <c:v>45.093207133277602</c:v>
                </c:pt>
                <c:pt idx="649" formatCode="0.0">
                  <c:v>44.7778505053654</c:v>
                </c:pt>
                <c:pt idx="650" formatCode="0.0">
                  <c:v>43.811131472348805</c:v>
                </c:pt>
                <c:pt idx="651" formatCode="0.0">
                  <c:v>45.281391842543997</c:v>
                </c:pt>
                <c:pt idx="652" formatCode="0.0">
                  <c:v>45.353585789818908</c:v>
                </c:pt>
                <c:pt idx="653" formatCode="0.0">
                  <c:v>45.545575044018406</c:v>
                </c:pt>
                <c:pt idx="654" formatCode="0.0">
                  <c:v>45.4434615560629</c:v>
                </c:pt>
                <c:pt idx="655" formatCode="0.0">
                  <c:v>45.750766935992402</c:v>
                </c:pt>
                <c:pt idx="656" formatCode="0.0">
                  <c:v>46.0891774960253</c:v>
                </c:pt>
                <c:pt idx="657" formatCode="0.0">
                  <c:v>45.738639770934398</c:v>
                </c:pt>
                <c:pt idx="658" formatCode="0.0">
                  <c:v>45.935132657947904</c:v>
                </c:pt>
                <c:pt idx="659" formatCode="0.0">
                  <c:v>45.798099899464901</c:v>
                </c:pt>
                <c:pt idx="660" formatCode="0.0">
                  <c:v>45.823396179262403</c:v>
                </c:pt>
                <c:pt idx="661" formatCode="0.0">
                  <c:v>46.184296095631694</c:v>
                </c:pt>
                <c:pt idx="662" formatCode="0.0">
                  <c:v>45.497876032689405</c:v>
                </c:pt>
                <c:pt idx="663" formatCode="0.0">
                  <c:v>46.641949826918804</c:v>
                </c:pt>
                <c:pt idx="664" formatCode="0.0">
                  <c:v>46.220850767514193</c:v>
                </c:pt>
                <c:pt idx="665" formatCode="0.0">
                  <c:v>45.793351625977898</c:v>
                </c:pt>
                <c:pt idx="666" formatCode="0.0">
                  <c:v>46.551155954388705</c:v>
                </c:pt>
                <c:pt idx="667" formatCode="0.0">
                  <c:v>45.038595212694297</c:v>
                </c:pt>
                <c:pt idx="668" formatCode="0.0">
                  <c:v>45.929391156616603</c:v>
                </c:pt>
                <c:pt idx="669" formatCode="0.0">
                  <c:v>46.202300238499802</c:v>
                </c:pt>
                <c:pt idx="670" formatCode="0.0">
                  <c:v>46.354476734208404</c:v>
                </c:pt>
                <c:pt idx="671" formatCode="0.0">
                  <c:v>45.880586283481094</c:v>
                </c:pt>
                <c:pt idx="672" formatCode="0.0">
                  <c:v>44.7611679841133</c:v>
                </c:pt>
                <c:pt idx="673" formatCode="0.0">
                  <c:v>45.3718825092622</c:v>
                </c:pt>
                <c:pt idx="674" formatCode="0.0">
                  <c:v>45.3655787765139</c:v>
                </c:pt>
                <c:pt idx="675" formatCode="0.0">
                  <c:v>44.655255788425102</c:v>
                </c:pt>
                <c:pt idx="676" formatCode="0.0">
                  <c:v>44.603776282393397</c:v>
                </c:pt>
                <c:pt idx="677" formatCode="0.0">
                  <c:v>44.826425188955596</c:v>
                </c:pt>
                <c:pt idx="678" formatCode="0.0">
                  <c:v>45.003650443638904</c:v>
                </c:pt>
                <c:pt idx="679" formatCode="0.0">
                  <c:v>44.129176968701699</c:v>
                </c:pt>
                <c:pt idx="680" formatCode="0.0">
                  <c:v>45.308975812807901</c:v>
                </c:pt>
                <c:pt idx="681" formatCode="0.0">
                  <c:v>45.485051317921901</c:v>
                </c:pt>
                <c:pt idx="682" formatCode="0.0">
                  <c:v>44.702193146055002</c:v>
                </c:pt>
                <c:pt idx="683" formatCode="0.0">
                  <c:v>45.142570740954106</c:v>
                </c:pt>
                <c:pt idx="684" formatCode="0.0">
                  <c:v>45.379346844018798</c:v>
                </c:pt>
                <c:pt idx="685" formatCode="0.0">
                  <c:v>44.373226846364098</c:v>
                </c:pt>
                <c:pt idx="686" formatCode="0.0">
                  <c:v>44.742505785564603</c:v>
                </c:pt>
                <c:pt idx="687" formatCode="0.0">
                  <c:v>44.292034074716504</c:v>
                </c:pt>
                <c:pt idx="688" formatCode="0.0">
                  <c:v>44.582496055540901</c:v>
                </c:pt>
                <c:pt idx="689" formatCode="0.0">
                  <c:v>45.725794416808505</c:v>
                </c:pt>
                <c:pt idx="690" formatCode="0.0">
                  <c:v>45.290206668117499</c:v>
                </c:pt>
                <c:pt idx="691" formatCode="0.0">
                  <c:v>45.100876343388599</c:v>
                </c:pt>
                <c:pt idx="692" formatCode="0.0">
                  <c:v>45.353583784790395</c:v>
                </c:pt>
                <c:pt idx="693" formatCode="0.0">
                  <c:v>45.315281636028502</c:v>
                </c:pt>
                <c:pt idx="694" formatCode="0.0">
                  <c:v>45.801918900493803</c:v>
                </c:pt>
                <c:pt idx="695" formatCode="0.0">
                  <c:v>45.464548815915897</c:v>
                </c:pt>
                <c:pt idx="696" formatCode="0.0">
                  <c:v>45.582594398911596</c:v>
                </c:pt>
                <c:pt idx="697" formatCode="0.0">
                  <c:v>45.479079879745399</c:v>
                </c:pt>
                <c:pt idx="698" formatCode="0.0">
                  <c:v>46.008236828999898</c:v>
                </c:pt>
                <c:pt idx="699" formatCode="0.0">
                  <c:v>46.1375299302074</c:v>
                </c:pt>
                <c:pt idx="700" formatCode="0.0">
                  <c:v>46.402162065530902</c:v>
                </c:pt>
                <c:pt idx="701" formatCode="0.0">
                  <c:v>45.33019097247</c:v>
                </c:pt>
                <c:pt idx="702" formatCode="0.0">
                  <c:v>45.404899869770794</c:v>
                </c:pt>
                <c:pt idx="703" formatCode="0.0">
                  <c:v>45.699610604922604</c:v>
                </c:pt>
                <c:pt idx="704" formatCode="0.0">
                  <c:v>46.150512612512102</c:v>
                </c:pt>
                <c:pt idx="705" formatCode="0.0">
                  <c:v>45.695505570172699</c:v>
                </c:pt>
                <c:pt idx="706" formatCode="0.0">
                  <c:v>45.078218859101398</c:v>
                </c:pt>
                <c:pt idx="707" formatCode="0.0">
                  <c:v>44.791690051189399</c:v>
                </c:pt>
                <c:pt idx="708" formatCode="0.0">
                  <c:v>44.080397382133789</c:v>
                </c:pt>
                <c:pt idx="709" formatCode="0.0">
                  <c:v>44.480544424388597</c:v>
                </c:pt>
                <c:pt idx="710" formatCode="0.0">
                  <c:v>45.138621137519607</c:v>
                </c:pt>
                <c:pt idx="711" formatCode="0.0">
                  <c:v>44.431909968891397</c:v>
                </c:pt>
                <c:pt idx="712" formatCode="0.0">
                  <c:v>43.805572578012004</c:v>
                </c:pt>
                <c:pt idx="713" formatCode="0.0">
                  <c:v>44.687529413382599</c:v>
                </c:pt>
                <c:pt idx="714" formatCode="0.0">
                  <c:v>44.688513828195099</c:v>
                </c:pt>
                <c:pt idx="715" formatCode="0.0">
                  <c:v>44.496734494361299</c:v>
                </c:pt>
                <c:pt idx="716" formatCode="0.0">
                  <c:v>44.041650168483002</c:v>
                </c:pt>
                <c:pt idx="717" formatCode="0.0">
                  <c:v>44.034798950719704</c:v>
                </c:pt>
                <c:pt idx="718" formatCode="0.0">
                  <c:v>44.218499078355606</c:v>
                </c:pt>
                <c:pt idx="719" formatCode="0.0">
                  <c:v>44.569439644232205</c:v>
                </c:pt>
                <c:pt idx="720" formatCode="0.0">
                  <c:v>45.496355837970199</c:v>
                </c:pt>
                <c:pt idx="721" formatCode="0.0">
                  <c:v>46.094891067333101</c:v>
                </c:pt>
                <c:pt idx="722" formatCode="0.0">
                  <c:v>44.591626227561001</c:v>
                </c:pt>
                <c:pt idx="723" formatCode="0.0">
                  <c:v>45.956781755358698</c:v>
                </c:pt>
                <c:pt idx="724" formatCode="0.0">
                  <c:v>43.918143539288302</c:v>
                </c:pt>
                <c:pt idx="725" formatCode="0.0">
                  <c:v>41.088027979824496</c:v>
                </c:pt>
                <c:pt idx="726" formatCode="General">
                  <c:v>44.465596882350702</c:v>
                </c:pt>
                <c:pt idx="727" formatCode="General">
                  <c:v>45.271258365811001</c:v>
                </c:pt>
                <c:pt idx="728" formatCode="General">
                  <c:v>44.734354910957599</c:v>
                </c:pt>
                <c:pt idx="729" formatCode="General">
                  <c:v>43.562973946795296</c:v>
                </c:pt>
                <c:pt idx="730">
                  <c:v>44.533855043473096</c:v>
                </c:pt>
                <c:pt idx="731">
                  <c:v>44.830281227744621</c:v>
                </c:pt>
                <c:pt idx="732">
                  <c:v>44.696334697704998</c:v>
                </c:pt>
                <c:pt idx="733">
                  <c:v>44.780260320847546</c:v>
                </c:pt>
                <c:pt idx="734">
                  <c:v>45.23918321441257</c:v>
                </c:pt>
                <c:pt idx="735">
                  <c:v>44.674370210938086</c:v>
                </c:pt>
                <c:pt idx="736">
                  <c:v>45.974094557092322</c:v>
                </c:pt>
                <c:pt idx="737">
                  <c:v>45.57295361302959</c:v>
                </c:pt>
                <c:pt idx="738">
                  <c:v>46.089568911323731</c:v>
                </c:pt>
                <c:pt idx="739">
                  <c:v>45.781379254188437</c:v>
                </c:pt>
                <c:pt idx="740">
                  <c:v>45.354644357774163</c:v>
                </c:pt>
                <c:pt idx="741">
                  <c:v>44.961236742079329</c:v>
                </c:pt>
                <c:pt idx="742">
                  <c:v>45.697606204014001</c:v>
                </c:pt>
                <c:pt idx="743">
                  <c:v>44.386097952327376</c:v>
                </c:pt>
                <c:pt idx="744">
                  <c:v>44.067327009277911</c:v>
                </c:pt>
                <c:pt idx="745">
                  <c:v>43.759243448030261</c:v>
                </c:pt>
                <c:pt idx="746">
                  <c:v>44.279019762488041</c:v>
                </c:pt>
                <c:pt idx="747">
                  <c:v>44.132327082417994</c:v>
                </c:pt>
                <c:pt idx="748">
                  <c:v>44.692019493827132</c:v>
                </c:pt>
                <c:pt idx="749">
                  <c:v>43.898087301140293</c:v>
                </c:pt>
                <c:pt idx="750">
                  <c:v>43.626064568402576</c:v>
                </c:pt>
                <c:pt idx="751">
                  <c:v>44.247016631098283</c:v>
                </c:pt>
                <c:pt idx="752">
                  <c:v>45.770331037960197</c:v>
                </c:pt>
                <c:pt idx="753">
                  <c:v>44.996503386255455</c:v>
                </c:pt>
                <c:pt idx="754">
                  <c:v>45.220261463508074</c:v>
                </c:pt>
                <c:pt idx="755">
                  <c:v>45.989133814572867</c:v>
                </c:pt>
                <c:pt idx="756">
                  <c:v>43.734074606633023</c:v>
                </c:pt>
                <c:pt idx="757">
                  <c:v>45.082053373460568</c:v>
                </c:pt>
                <c:pt idx="758">
                  <c:v>46.861459935715757</c:v>
                </c:pt>
                <c:pt idx="759">
                  <c:v>45.783818057102543</c:v>
                </c:pt>
                <c:pt idx="760">
                  <c:v>46.958116542993046</c:v>
                </c:pt>
                <c:pt idx="761">
                  <c:v>46.324937922543484</c:v>
                </c:pt>
                <c:pt idx="762">
                  <c:v>45.453223240299437</c:v>
                </c:pt>
                <c:pt idx="763">
                  <c:v>44.030988701432669</c:v>
                </c:pt>
                <c:pt idx="764">
                  <c:v>45.126579192499619</c:v>
                </c:pt>
                <c:pt idx="765">
                  <c:v>45.498969613996458</c:v>
                </c:pt>
                <c:pt idx="766">
                  <c:v>44.877898825648231</c:v>
                </c:pt>
                <c:pt idx="767">
                  <c:v>44.298960399475561</c:v>
                </c:pt>
                <c:pt idx="768">
                  <c:v>44.106087515281224</c:v>
                </c:pt>
                <c:pt idx="769">
                  <c:v>45.265528368879274</c:v>
                </c:pt>
                <c:pt idx="770">
                  <c:v>44.015974951664617</c:v>
                </c:pt>
                <c:pt idx="771">
                  <c:v>44.939950966712061</c:v>
                </c:pt>
                <c:pt idx="772">
                  <c:v>45.251310895388514</c:v>
                </c:pt>
                <c:pt idx="773">
                  <c:v>45.026383163041004</c:v>
                </c:pt>
                <c:pt idx="774">
                  <c:v>45.166271682047416</c:v>
                </c:pt>
                <c:pt idx="775">
                  <c:v>44.97382459501403</c:v>
                </c:pt>
                <c:pt idx="776">
                  <c:v>45.469087337733257</c:v>
                </c:pt>
                <c:pt idx="777">
                  <c:v>46.361142836733663</c:v>
                </c:pt>
                <c:pt idx="778">
                  <c:v>44.089010173745081</c:v>
                </c:pt>
                <c:pt idx="779">
                  <c:v>43.827671597501123</c:v>
                </c:pt>
                <c:pt idx="780">
                  <c:v>44.182629941549678</c:v>
                </c:pt>
                <c:pt idx="781">
                  <c:v>44.226677849472509</c:v>
                </c:pt>
                <c:pt idx="782">
                  <c:v>45.052618586870764</c:v>
                </c:pt>
                <c:pt idx="783">
                  <c:v>45.512073468744205</c:v>
                </c:pt>
                <c:pt idx="784">
                  <c:v>45.606674788021628</c:v>
                </c:pt>
                <c:pt idx="785">
                  <c:v>44.017829382923438</c:v>
                </c:pt>
                <c:pt idx="786">
                  <c:v>45.467524283396294</c:v>
                </c:pt>
                <c:pt idx="787">
                  <c:v>45.504496006560245</c:v>
                </c:pt>
                <c:pt idx="788">
                  <c:v>45.118479022479924</c:v>
                </c:pt>
                <c:pt idx="789">
                  <c:v>44.937155398600133</c:v>
                </c:pt>
                <c:pt idx="790">
                  <c:v>44.866136214033965</c:v>
                </c:pt>
                <c:pt idx="791">
                  <c:v>44.378288337490879</c:v>
                </c:pt>
                <c:pt idx="792">
                  <c:v>44.407470342544819</c:v>
                </c:pt>
                <c:pt idx="793">
                  <c:v>45.481084656772879</c:v>
                </c:pt>
                <c:pt idx="794">
                  <c:v>45.489739164273409</c:v>
                </c:pt>
                <c:pt idx="795">
                  <c:v>45.625992069199548</c:v>
                </c:pt>
                <c:pt idx="796">
                  <c:v>45.213710996318007</c:v>
                </c:pt>
                <c:pt idx="797">
                  <c:v>44.581783417085454</c:v>
                </c:pt>
                <c:pt idx="798">
                  <c:v>44.935970764198629</c:v>
                </c:pt>
                <c:pt idx="799">
                  <c:v>45.29329989083589</c:v>
                </c:pt>
                <c:pt idx="800">
                  <c:v>45.433292450221728</c:v>
                </c:pt>
                <c:pt idx="801">
                  <c:v>45.313975832861772</c:v>
                </c:pt>
                <c:pt idx="802">
                  <c:v>45.292951244042008</c:v>
                </c:pt>
                <c:pt idx="803">
                  <c:v>43.876736045386821</c:v>
                </c:pt>
                <c:pt idx="804">
                  <c:v>44.871767285759184</c:v>
                </c:pt>
                <c:pt idx="805">
                  <c:v>45.184775512511862</c:v>
                </c:pt>
                <c:pt idx="806">
                  <c:v>45.619630131101246</c:v>
                </c:pt>
                <c:pt idx="807">
                  <c:v>46.370913247460813</c:v>
                </c:pt>
                <c:pt idx="808">
                  <c:v>46.17829553853484</c:v>
                </c:pt>
                <c:pt idx="809">
                  <c:v>44.480519932431839</c:v>
                </c:pt>
                <c:pt idx="810">
                  <c:v>43.938661251271405</c:v>
                </c:pt>
                <c:pt idx="811">
                  <c:v>45.009319794202966</c:v>
                </c:pt>
                <c:pt idx="812">
                  <c:v>45.157595906999219</c:v>
                </c:pt>
                <c:pt idx="813">
                  <c:v>44.854670655832038</c:v>
                </c:pt>
                <c:pt idx="814">
                  <c:v>45.116239363557469</c:v>
                </c:pt>
                <c:pt idx="815">
                  <c:v>45.482040875647428</c:v>
                </c:pt>
                <c:pt idx="816">
                  <c:v>45.256446885051318</c:v>
                </c:pt>
                <c:pt idx="817">
                  <c:v>45.618973497277352</c:v>
                </c:pt>
                <c:pt idx="818">
                  <c:v>45.847520765423546</c:v>
                </c:pt>
                <c:pt idx="819">
                  <c:v>45.556164323252126</c:v>
                </c:pt>
                <c:pt idx="820">
                  <c:v>45.496228157597912</c:v>
                </c:pt>
                <c:pt idx="821">
                  <c:v>46.061839983540679</c:v>
                </c:pt>
                <c:pt idx="822">
                  <c:v>45.914229940899077</c:v>
                </c:pt>
                <c:pt idx="823">
                  <c:v>45.825385332633175</c:v>
                </c:pt>
                <c:pt idx="824" formatCode="0.0">
                  <c:v>45.323554625151026</c:v>
                </c:pt>
                <c:pt idx="825" formatCode="0.0">
                  <c:v>45.081750949513989</c:v>
                </c:pt>
                <c:pt idx="826" formatCode="0.0">
                  <c:v>45.767380172480465</c:v>
                </c:pt>
                <c:pt idx="827" formatCode="0.0">
                  <c:v>46.249569882718077</c:v>
                </c:pt>
                <c:pt idx="828" formatCode="0.0">
                  <c:v>45.590284126935202</c:v>
                </c:pt>
                <c:pt idx="829" formatCode="0.0">
                  <c:v>46.257788360549974</c:v>
                </c:pt>
                <c:pt idx="830" formatCode="0.0">
                  <c:v>45.699571554233515</c:v>
                </c:pt>
                <c:pt idx="831" formatCode="0.0">
                  <c:v>45.865208571968459</c:v>
                </c:pt>
                <c:pt idx="832" formatCode="0.0">
                  <c:v>46.317512245223767</c:v>
                </c:pt>
                <c:pt idx="833" formatCode="0.0">
                  <c:v>44.780300989146767</c:v>
                </c:pt>
                <c:pt idx="834" formatCode="0.0">
                  <c:v>43.975972537082804</c:v>
                </c:pt>
                <c:pt idx="835" formatCode="0.0">
                  <c:v>44.073726552443858</c:v>
                </c:pt>
                <c:pt idx="836" formatCode="0.0">
                  <c:v>43.415845529924688</c:v>
                </c:pt>
                <c:pt idx="837" formatCode="0.0">
                  <c:v>44.170511471014272</c:v>
                </c:pt>
                <c:pt idx="838" formatCode="0.0">
                  <c:v>44.446159013331517</c:v>
                </c:pt>
                <c:pt idx="839" formatCode="0.0">
                  <c:v>44.312307334062638</c:v>
                </c:pt>
                <c:pt idx="840" formatCode="0.0">
                  <c:v>45.571223516141742</c:v>
                </c:pt>
                <c:pt idx="841" formatCode="0.0">
                  <c:v>46.259640160552131</c:v>
                </c:pt>
                <c:pt idx="842" formatCode="0.0">
                  <c:v>46.427487576192078</c:v>
                </c:pt>
                <c:pt idx="843" formatCode="0.0">
                  <c:v>45.046104343017284</c:v>
                </c:pt>
                <c:pt idx="844" formatCode="0.0">
                  <c:v>43.825543684985206</c:v>
                </c:pt>
                <c:pt idx="845" formatCode="0.0">
                  <c:v>44.921502466240526</c:v>
                </c:pt>
                <c:pt idx="846" formatCode="0.0">
                  <c:v>44.706357348443085</c:v>
                </c:pt>
                <c:pt idx="847" formatCode="0.0">
                  <c:v>44.159734592298705</c:v>
                </c:pt>
                <c:pt idx="848" formatCode="0.0">
                  <c:v>44.560160328721039</c:v>
                </c:pt>
                <c:pt idx="849" formatCode="0.0">
                  <c:v>44.27993444768444</c:v>
                </c:pt>
                <c:pt idx="850" formatCode="0.0">
                  <c:v>43.468530007349806</c:v>
                </c:pt>
                <c:pt idx="851" formatCode="0.0">
                  <c:v>45.700119831918869</c:v>
                </c:pt>
                <c:pt idx="852" formatCode="0.0">
                  <c:v>45.606849859795979</c:v>
                </c:pt>
                <c:pt idx="853" formatCode="0.0">
                  <c:v>46.062387109256079</c:v>
                </c:pt>
                <c:pt idx="854" formatCode="0.0">
                  <c:v>44.626897792544753</c:v>
                </c:pt>
                <c:pt idx="855" formatCode="0.0">
                  <c:v>45.139089493657721</c:v>
                </c:pt>
                <c:pt idx="856" formatCode="0.0">
                  <c:v>45.125529573175243</c:v>
                </c:pt>
                <c:pt idx="857" formatCode="0.0">
                  <c:v>43.796358899315521</c:v>
                </c:pt>
                <c:pt idx="858" formatCode="0.0">
                  <c:v>43.770799609633031</c:v>
                </c:pt>
                <c:pt idx="859" formatCode="0.0">
                  <c:v>44.013487317005925</c:v>
                </c:pt>
                <c:pt idx="860" formatCode="0.0">
                  <c:v>43.285923916341901</c:v>
                </c:pt>
                <c:pt idx="861" formatCode="0.0">
                  <c:v>42.497952726506476</c:v>
                </c:pt>
                <c:pt idx="862" formatCode="0.0">
                  <c:v>44.299457077656548</c:v>
                </c:pt>
                <c:pt idx="863" formatCode="0.0">
                  <c:v>45.70786498858142</c:v>
                </c:pt>
                <c:pt idx="864" formatCode="0.0">
                  <c:v>45.699352461654222</c:v>
                </c:pt>
                <c:pt idx="865" formatCode="0.0">
                  <c:v>44.426591506144305</c:v>
                </c:pt>
                <c:pt idx="866" formatCode="0.0">
                  <c:v>45.72198123709812</c:v>
                </c:pt>
                <c:pt idx="867" formatCode="0.0">
                  <c:v>46.489322042772436</c:v>
                </c:pt>
                <c:pt idx="868" formatCode="0.0">
                  <c:v>46.829790966652652</c:v>
                </c:pt>
                <c:pt idx="869" formatCode="0.0">
                  <c:v>46.424173303548429</c:v>
                </c:pt>
                <c:pt idx="870" formatCode="0.0">
                  <c:v>46.176960802927482</c:v>
                </c:pt>
                <c:pt idx="871" formatCode="0.0">
                  <c:v>46.146571773252205</c:v>
                </c:pt>
                <c:pt idx="872" formatCode="0.0">
                  <c:v>46.831356211008355</c:v>
                </c:pt>
                <c:pt idx="873" formatCode="0.0">
                  <c:v>46.352399603527473</c:v>
                </c:pt>
                <c:pt idx="874" formatCode="0.0">
                  <c:v>46.683449037948755</c:v>
                </c:pt>
                <c:pt idx="875" formatCode="0.0">
                  <c:v>46.906862419802906</c:v>
                </c:pt>
                <c:pt idx="876" formatCode="0.0">
                  <c:v>46.537827710621194</c:v>
                </c:pt>
                <c:pt idx="877" formatCode="0.0">
                  <c:v>46.883755937542553</c:v>
                </c:pt>
                <c:pt idx="878" formatCode="0.0">
                  <c:v>46.983863663572777</c:v>
                </c:pt>
                <c:pt idx="879" formatCode="0.0">
                  <c:v>46.493905883277975</c:v>
                </c:pt>
                <c:pt idx="880" formatCode="0.0">
                  <c:v>45.484238515332656</c:v>
                </c:pt>
                <c:pt idx="881" formatCode="0.0">
                  <c:v>45.464600041246769</c:v>
                </c:pt>
                <c:pt idx="882" formatCode="0.0">
                  <c:v>46.299918573978324</c:v>
                </c:pt>
                <c:pt idx="883" formatCode="0.0">
                  <c:v>45.922546732790408</c:v>
                </c:pt>
                <c:pt idx="884" formatCode="0.0">
                  <c:v>45.836003070880729</c:v>
                </c:pt>
                <c:pt idx="885" formatCode="0.0">
                  <c:v>46.000192992322653</c:v>
                </c:pt>
                <c:pt idx="886" formatCode="0.0">
                  <c:v>46.184759918370197</c:v>
                </c:pt>
                <c:pt idx="887" formatCode="0.0">
                  <c:v>46.245350657527439</c:v>
                </c:pt>
                <c:pt idx="888" formatCode="0.0">
                  <c:v>46.230860623086343</c:v>
                </c:pt>
                <c:pt idx="889" formatCode="0.0">
                  <c:v>45.411458329342196</c:v>
                </c:pt>
                <c:pt idx="890" formatCode="0.0">
                  <c:v>45.411458329342196</c:v>
                </c:pt>
                <c:pt idx="891" formatCode="0.0">
                  <c:v>46.473693383663132</c:v>
                </c:pt>
                <c:pt idx="892" formatCode="0.0">
                  <c:v>45.204984120011588</c:v>
                </c:pt>
                <c:pt idx="893" formatCode="0.0">
                  <c:v>46.300406312753537</c:v>
                </c:pt>
                <c:pt idx="894" formatCode="0.0">
                  <c:v>45.818588309409577</c:v>
                </c:pt>
                <c:pt idx="895" formatCode="0.0">
                  <c:v>45.865432151622485</c:v>
                </c:pt>
                <c:pt idx="896" formatCode="0.0">
                  <c:v>46.427870263959804</c:v>
                </c:pt>
                <c:pt idx="897" formatCode="0.0">
                  <c:v>45.708032331625638</c:v>
                </c:pt>
                <c:pt idx="898" formatCode="0.0">
                  <c:v>45.799325212320454</c:v>
                </c:pt>
                <c:pt idx="899" formatCode="0.0">
                  <c:v>44.837134237411014</c:v>
                </c:pt>
                <c:pt idx="900" formatCode="0.0">
                  <c:v>44.255259211572316</c:v>
                </c:pt>
                <c:pt idx="901" formatCode="0.0">
                  <c:v>45.113734369726259</c:v>
                </c:pt>
                <c:pt idx="902" formatCode="0.0">
                  <c:v>45.465561650845878</c:v>
                </c:pt>
                <c:pt idx="903" formatCode="0.0">
                  <c:v>46.044457764673538</c:v>
                </c:pt>
                <c:pt idx="904" formatCode="0.0">
                  <c:v>45.30905806251095</c:v>
                </c:pt>
                <c:pt idx="905" formatCode="0.0">
                  <c:v>44.997210497834608</c:v>
                </c:pt>
                <c:pt idx="906" formatCode="0.0">
                  <c:v>43.864366704626796</c:v>
                </c:pt>
                <c:pt idx="907" formatCode="0.0">
                  <c:v>43.805223942672356</c:v>
                </c:pt>
                <c:pt idx="908" formatCode="0.0">
                  <c:v>45.588370327590667</c:v>
                </c:pt>
                <c:pt idx="909" formatCode="0.0">
                  <c:v>47.046445252057261</c:v>
                </c:pt>
                <c:pt idx="910" formatCode="0.0">
                  <c:v>47.1769139514263</c:v>
                </c:pt>
                <c:pt idx="911" formatCode="0.0">
                  <c:v>46.418772424526054</c:v>
                </c:pt>
                <c:pt idx="912" formatCode="0.0">
                  <c:v>46.256860089676877</c:v>
                </c:pt>
                <c:pt idx="913" formatCode="0.0">
                  <c:v>46.755449672514722</c:v>
                </c:pt>
                <c:pt idx="914" formatCode="0.0">
                  <c:v>46.980966514338775</c:v>
                </c:pt>
                <c:pt idx="915" formatCode="0.0">
                  <c:v>46.383153168720341</c:v>
                </c:pt>
                <c:pt idx="916" formatCode="0.0">
                  <c:v>46.383153168720341</c:v>
                </c:pt>
                <c:pt idx="917" formatCode="0.0">
                  <c:v>45.538835960757766</c:v>
                </c:pt>
                <c:pt idx="918" formatCode="0.0">
                  <c:v>45.110289199189452</c:v>
                </c:pt>
                <c:pt idx="919" formatCode="0.0">
                  <c:v>45.125932541902365</c:v>
                </c:pt>
                <c:pt idx="920" formatCode="0.0">
                  <c:v>46.371683102816419</c:v>
                </c:pt>
                <c:pt idx="921" formatCode="0.0">
                  <c:v>45.41953093195778</c:v>
                </c:pt>
                <c:pt idx="922" formatCode="0.0">
                  <c:v>45.876749662044887</c:v>
                </c:pt>
                <c:pt idx="923" formatCode="0.0">
                  <c:v>46.36287246937141</c:v>
                </c:pt>
                <c:pt idx="924" formatCode="0.0">
                  <c:v>46.200113741358152</c:v>
                </c:pt>
                <c:pt idx="925" formatCode="0.0">
                  <c:v>46.258471029913608</c:v>
                </c:pt>
                <c:pt idx="926" formatCode="0.0">
                  <c:v>46.125681181481596</c:v>
                </c:pt>
                <c:pt idx="927" formatCode="0.0">
                  <c:v>46.125681181481596</c:v>
                </c:pt>
                <c:pt idx="928" formatCode="0.0">
                  <c:v>46.186245044948407</c:v>
                </c:pt>
                <c:pt idx="929" formatCode="0.0">
                  <c:v>45.765162024389447</c:v>
                </c:pt>
                <c:pt idx="930" formatCode="0.0">
                  <c:v>45.489256587510205</c:v>
                </c:pt>
                <c:pt idx="931" formatCode="0.0">
                  <c:v>45.874718089492987</c:v>
                </c:pt>
                <c:pt idx="932" formatCode="0.0">
                  <c:v>46.017646670871613</c:v>
                </c:pt>
                <c:pt idx="933" formatCode="0.0">
                  <c:v>46.082160871206952</c:v>
                </c:pt>
                <c:pt idx="934" formatCode="0.0">
                  <c:v>46.002939474750725</c:v>
                </c:pt>
                <c:pt idx="935" formatCode="0.0">
                  <c:v>46.054174750547773</c:v>
                </c:pt>
                <c:pt idx="936" formatCode="0.0">
                  <c:v>46.335584648125689</c:v>
                </c:pt>
                <c:pt idx="937" formatCode="0.0">
                  <c:v>46.572124891861549</c:v>
                </c:pt>
                <c:pt idx="938" formatCode="0.0">
                  <c:v>45.926076486285112</c:v>
                </c:pt>
                <c:pt idx="939" formatCode="0.0">
                  <c:v>46.22315252851714</c:v>
                </c:pt>
                <c:pt idx="940" formatCode="0.0">
                  <c:v>45.188351370301291</c:v>
                </c:pt>
                <c:pt idx="941" formatCode="0.0">
                  <c:v>45.006154654606661</c:v>
                </c:pt>
                <c:pt idx="942" formatCode="0.0">
                  <c:v>45.982298509041925</c:v>
                </c:pt>
                <c:pt idx="943" formatCode="0.0">
                  <c:v>44.755801501462201</c:v>
                </c:pt>
                <c:pt idx="944" formatCode="0.0">
                  <c:v>45.38105796343882</c:v>
                </c:pt>
                <c:pt idx="945" formatCode="0.0">
                  <c:v>46.290984287585736</c:v>
                </c:pt>
                <c:pt idx="946" formatCode="0.0">
                  <c:v>46.374539823588165</c:v>
                </c:pt>
                <c:pt idx="947" formatCode="0.0">
                  <c:v>46.29299543550944</c:v>
                </c:pt>
                <c:pt idx="948" formatCode="0.0">
                  <c:v>46.287898858410372</c:v>
                </c:pt>
                <c:pt idx="949" formatCode="0.0">
                  <c:v>46.404782030671043</c:v>
                </c:pt>
                <c:pt idx="950" formatCode="0.0">
                  <c:v>46.415590315811627</c:v>
                </c:pt>
                <c:pt idx="951" formatCode="0.0">
                  <c:v>46.203631182347863</c:v>
                </c:pt>
                <c:pt idx="952" formatCode="0.0">
                  <c:v>46.393328004507133</c:v>
                </c:pt>
                <c:pt idx="953" formatCode="0.0">
                  <c:v>45.935058872670737</c:v>
                </c:pt>
                <c:pt idx="954" formatCode="0.0">
                  <c:v>46.351980894941072</c:v>
                </c:pt>
                <c:pt idx="955" formatCode="0.0">
                  <c:v>46.114233763959078</c:v>
                </c:pt>
                <c:pt idx="956" formatCode="0.0">
                  <c:v>43.94202813183658</c:v>
                </c:pt>
                <c:pt idx="957" formatCode="0.0">
                  <c:v>46.315445880882969</c:v>
                </c:pt>
                <c:pt idx="958" formatCode="0.0">
                  <c:v>45.963116542819968</c:v>
                </c:pt>
                <c:pt idx="959" formatCode="0.0">
                  <c:v>45.943788279312642</c:v>
                </c:pt>
                <c:pt idx="960" formatCode="0.0">
                  <c:v>45.997770795775068</c:v>
                </c:pt>
                <c:pt idx="961" formatCode="0.0">
                  <c:v>45.430004219347317</c:v>
                </c:pt>
                <c:pt idx="962" formatCode="0.0">
                  <c:v>46.02072534976044</c:v>
                </c:pt>
                <c:pt idx="963" formatCode="0.0">
                  <c:v>46.823463022725377</c:v>
                </c:pt>
                <c:pt idx="964" formatCode="0.0">
                  <c:v>45.656349271554532</c:v>
                </c:pt>
                <c:pt idx="965" formatCode="0.0">
                  <c:v>46.562615587552202</c:v>
                </c:pt>
                <c:pt idx="966" formatCode="0.0">
                  <c:v>45.891861277258606</c:v>
                </c:pt>
                <c:pt idx="967" formatCode="0.0">
                  <c:v>46.216360875424201</c:v>
                </c:pt>
                <c:pt idx="968" formatCode="0.0">
                  <c:v>46.27352745572675</c:v>
                </c:pt>
                <c:pt idx="969" formatCode="0.0">
                  <c:v>46.274970307992675</c:v>
                </c:pt>
                <c:pt idx="970" formatCode="0.0">
                  <c:v>46.336599350875218</c:v>
                </c:pt>
                <c:pt idx="971" formatCode="0.0">
                  <c:v>46.410445297012011</c:v>
                </c:pt>
                <c:pt idx="972" formatCode="0.0">
                  <c:v>46.144409865714394</c:v>
                </c:pt>
                <c:pt idx="973" formatCode="0.0">
                  <c:v>46.026010190840054</c:v>
                </c:pt>
                <c:pt idx="974" formatCode="0.0">
                  <c:v>46.328423142244645</c:v>
                </c:pt>
                <c:pt idx="975" formatCode="0.0">
                  <c:v>46.488544755976008</c:v>
                </c:pt>
                <c:pt idx="976" formatCode="0.0">
                  <c:v>46.192320657605137</c:v>
                </c:pt>
                <c:pt idx="977" formatCode="0.0">
                  <c:v>45.783097025918053</c:v>
                </c:pt>
                <c:pt idx="978" formatCode="0.0">
                  <c:v>46.380218630894099</c:v>
                </c:pt>
                <c:pt idx="979" formatCode="0.0">
                  <c:v>46.447319085265313</c:v>
                </c:pt>
                <c:pt idx="980" formatCode="0.0">
                  <c:v>46.468575511973675</c:v>
                </c:pt>
                <c:pt idx="981" formatCode="0.0">
                  <c:v>47.020576503511869</c:v>
                </c:pt>
                <c:pt idx="982" formatCode="0.0">
                  <c:v>46.761736866983377</c:v>
                </c:pt>
                <c:pt idx="983" formatCode="0.0">
                  <c:v>46.110799934355462</c:v>
                </c:pt>
                <c:pt idx="984" formatCode="0.0">
                  <c:v>46.373001106647777</c:v>
                </c:pt>
                <c:pt idx="985" formatCode="0.0">
                  <c:v>46.622512886787035</c:v>
                </c:pt>
                <c:pt idx="986" formatCode="0.0">
                  <c:v>45.984181700651696</c:v>
                </c:pt>
                <c:pt idx="987" formatCode="0.0">
                  <c:v>45.836834364189933</c:v>
                </c:pt>
                <c:pt idx="988" formatCode="0.0">
                  <c:v>45.600881460081155</c:v>
                </c:pt>
                <c:pt idx="989" formatCode="0.0">
                  <c:v>45.611558084893282</c:v>
                </c:pt>
                <c:pt idx="990" formatCode="0.0">
                  <c:v>46.371084561855284</c:v>
                </c:pt>
                <c:pt idx="991" formatCode="0.0">
                  <c:v>46.649949582407579</c:v>
                </c:pt>
                <c:pt idx="992" formatCode="0.0">
                  <c:v>46.978642315885928</c:v>
                </c:pt>
                <c:pt idx="993" formatCode="0.0">
                  <c:v>47.070686137409901</c:v>
                </c:pt>
                <c:pt idx="994" formatCode="0.0">
                  <c:v>46.458908054096703</c:v>
                </c:pt>
                <c:pt idx="995" formatCode="0.0">
                  <c:v>46.409505987830435</c:v>
                </c:pt>
                <c:pt idx="996" formatCode="0.0">
                  <c:v>46.208214552794416</c:v>
                </c:pt>
                <c:pt idx="997" formatCode="0.0">
                  <c:v>45.307666765580841</c:v>
                </c:pt>
                <c:pt idx="998" formatCode="0.0">
                  <c:v>46.641806357069022</c:v>
                </c:pt>
                <c:pt idx="999" formatCode="0.0">
                  <c:v>47.088430965432394</c:v>
                </c:pt>
                <c:pt idx="1000" formatCode="0.0">
                  <c:v>46.957247989283772</c:v>
                </c:pt>
                <c:pt idx="1001" formatCode="0.0">
                  <c:v>46.1691327039999</c:v>
                </c:pt>
                <c:pt idx="1002" formatCode="0.0">
                  <c:v>46.300765792190717</c:v>
                </c:pt>
                <c:pt idx="1003" formatCode="0.0">
                  <c:v>46.579017827607871</c:v>
                </c:pt>
                <c:pt idx="1004" formatCode="0.0">
                  <c:v>46.725269403782228</c:v>
                </c:pt>
                <c:pt idx="1005" formatCode="0.0">
                  <c:v>46.547593419179343</c:v>
                </c:pt>
                <c:pt idx="1006" formatCode="0.0">
                  <c:v>46.584523397227116</c:v>
                </c:pt>
                <c:pt idx="1007" formatCode="0.0">
                  <c:v>46.08008718477835</c:v>
                </c:pt>
                <c:pt idx="1008" formatCode="0.0">
                  <c:v>46.016481320780144</c:v>
                </c:pt>
                <c:pt idx="1009" formatCode="0.0">
                  <c:v>46.867417638838511</c:v>
                </c:pt>
                <c:pt idx="1010" formatCode="0.0">
                  <c:v>46.509558999024811</c:v>
                </c:pt>
                <c:pt idx="1011" formatCode="0.0">
                  <c:v>46.226986966580498</c:v>
                </c:pt>
                <c:pt idx="1012" formatCode="0.0">
                  <c:v>46.369544691718502</c:v>
                </c:pt>
                <c:pt idx="1013" formatCode="0.0">
                  <c:v>46.383356372933548</c:v>
                </c:pt>
                <c:pt idx="1014" formatCode="0.0">
                  <c:v>46.314732506641796</c:v>
                </c:pt>
                <c:pt idx="1015" formatCode="0.0">
                  <c:v>46.34855202019304</c:v>
                </c:pt>
                <c:pt idx="1016" formatCode="0.0">
                  <c:v>45.791157394752879</c:v>
                </c:pt>
                <c:pt idx="1017" formatCode="0.0">
                  <c:v>45.533470474712857</c:v>
                </c:pt>
                <c:pt idx="1018" formatCode="0.0">
                  <c:v>46.410793784059649</c:v>
                </c:pt>
                <c:pt idx="1019" formatCode="0.0">
                  <c:v>45.669514257773798</c:v>
                </c:pt>
                <c:pt idx="1020" formatCode="0.0">
                  <c:v>45.251479816122014</c:v>
                </c:pt>
                <c:pt idx="1021" formatCode="0.0">
                  <c:v>46.396356202425686</c:v>
                </c:pt>
                <c:pt idx="1022" formatCode="0.0">
                  <c:v>46.898358679233965</c:v>
                </c:pt>
                <c:pt idx="1023" formatCode="0.0">
                  <c:v>46.469377543530101</c:v>
                </c:pt>
                <c:pt idx="1024" formatCode="0.0">
                  <c:v>46.485853168937183</c:v>
                </c:pt>
                <c:pt idx="1025" formatCode="0.0">
                  <c:v>46.937590251212335</c:v>
                </c:pt>
                <c:pt idx="1026" formatCode="General">
                  <c:v>45.720574539287242</c:v>
                </c:pt>
                <c:pt idx="1027">
                  <c:v>45.958461891026765</c:v>
                </c:pt>
                <c:pt idx="1028">
                  <c:v>46.433468444391551</c:v>
                </c:pt>
                <c:pt idx="1029">
                  <c:v>46.765911317187275</c:v>
                </c:pt>
                <c:pt idx="1030">
                  <c:v>44.476272804922949</c:v>
                </c:pt>
                <c:pt idx="1031" formatCode="General">
                  <c:v>43.791123568790383</c:v>
                </c:pt>
                <c:pt idx="1032" formatCode="0.0">
                  <c:v>46.411392067420792</c:v>
                </c:pt>
                <c:pt idx="1033" formatCode="0.0">
                  <c:v>45.894755954035887</c:v>
                </c:pt>
                <c:pt idx="1034" formatCode="General">
                  <c:v>46.140312632746927</c:v>
                </c:pt>
                <c:pt idx="1035" formatCode="General">
                  <c:v>46.388308364625615</c:v>
                </c:pt>
                <c:pt idx="1036" formatCode="0.0">
                  <c:v>46.29401060445354</c:v>
                </c:pt>
                <c:pt idx="1037" formatCode="General">
                  <c:v>46.065234689017593</c:v>
                </c:pt>
                <c:pt idx="1038" formatCode="General">
                  <c:v>45.003466449551574</c:v>
                </c:pt>
                <c:pt idx="1039">
                  <c:v>45.672399603956613</c:v>
                </c:pt>
                <c:pt idx="1040">
                  <c:v>45.527080669009067</c:v>
                </c:pt>
                <c:pt idx="1041">
                  <c:v>45.037860817871611</c:v>
                </c:pt>
                <c:pt idx="1042">
                  <c:v>45.460473679323421</c:v>
                </c:pt>
                <c:pt idx="1043">
                  <c:v>44.843547279138292</c:v>
                </c:pt>
                <c:pt idx="1044">
                  <c:v>44.990747742003748</c:v>
                </c:pt>
                <c:pt idx="1045">
                  <c:v>45.545408262187898</c:v>
                </c:pt>
                <c:pt idx="1046">
                  <c:v>45.697927877784103</c:v>
                </c:pt>
                <c:pt idx="1047">
                  <c:v>45.546144460372197</c:v>
                </c:pt>
                <c:pt idx="1048">
                  <c:v>44.652869426350883</c:v>
                </c:pt>
                <c:pt idx="1049">
                  <c:v>44.938133663787681</c:v>
                </c:pt>
                <c:pt idx="1050">
                  <c:v>45.114979096032712</c:v>
                </c:pt>
                <c:pt idx="1051">
                  <c:v>46.015404379480351</c:v>
                </c:pt>
                <c:pt idx="1052">
                  <c:v>46.314008372762274</c:v>
                </c:pt>
                <c:pt idx="1053" formatCode="0.0">
                  <c:v>45.935328245178098</c:v>
                </c:pt>
                <c:pt idx="1054" formatCode="General">
                  <c:v>45.275789255749295</c:v>
                </c:pt>
                <c:pt idx="1055">
                  <c:v>45.091592870120174</c:v>
                </c:pt>
                <c:pt idx="1056">
                  <c:v>44.213837149769375</c:v>
                </c:pt>
                <c:pt idx="1057">
                  <c:v>44.985106827548975</c:v>
                </c:pt>
                <c:pt idx="1058">
                  <c:v>45.518965640277344</c:v>
                </c:pt>
                <c:pt idx="1059">
                  <c:v>44.866989170229267</c:v>
                </c:pt>
                <c:pt idx="1060" formatCode="0.0">
                  <c:v>44.760942960547602</c:v>
                </c:pt>
                <c:pt idx="1061" formatCode="0.0">
                  <c:v>44.861698751387664</c:v>
                </c:pt>
                <c:pt idx="1062" formatCode="0.0">
                  <c:v>44.418720967236851</c:v>
                </c:pt>
                <c:pt idx="1063" formatCode="General">
                  <c:v>44.276905632753262</c:v>
                </c:pt>
                <c:pt idx="1064" formatCode="0.0">
                  <c:v>44.120123259185021</c:v>
                </c:pt>
                <c:pt idx="1065" formatCode="General">
                  <c:v>44.024528658026838</c:v>
                </c:pt>
                <c:pt idx="1066" formatCode="General">
                  <c:v>44.437653796381355</c:v>
                </c:pt>
                <c:pt idx="1067" formatCode="General">
                  <c:v>46.719038400642248</c:v>
                </c:pt>
                <c:pt idx="1068" formatCode="General">
                  <c:v>45.320311193712911</c:v>
                </c:pt>
                <c:pt idx="1069" formatCode="General">
                  <c:v>46.320108503945036</c:v>
                </c:pt>
                <c:pt idx="1070" formatCode="General">
                  <c:v>46.205811330793573</c:v>
                </c:pt>
                <c:pt idx="1071" formatCode="General">
                  <c:v>45.682757625860347</c:v>
                </c:pt>
                <c:pt idx="1072" formatCode="General">
                  <c:v>45.755307043648763</c:v>
                </c:pt>
                <c:pt idx="1073" formatCode="0.0">
                  <c:v>46.070832276802022</c:v>
                </c:pt>
                <c:pt idx="1074" formatCode="0.0">
                  <c:v>46.439555769768305</c:v>
                </c:pt>
                <c:pt idx="1075" formatCode="General">
                  <c:v>46.628454730531423</c:v>
                </c:pt>
                <c:pt idx="1076" formatCode="General">
                  <c:v>46.535999973671537</c:v>
                </c:pt>
                <c:pt idx="1077" formatCode="0.0">
                  <c:v>45.965403947885093</c:v>
                </c:pt>
                <c:pt idx="1078" formatCode="General">
                  <c:v>46.328005085488314</c:v>
                </c:pt>
                <c:pt idx="1079" formatCode="General">
                  <c:v>46.478633497327586</c:v>
                </c:pt>
                <c:pt idx="1080" formatCode="General">
                  <c:v>45.875189964765859</c:v>
                </c:pt>
                <c:pt idx="1081" formatCode="General">
                  <c:v>46.011463928610617</c:v>
                </c:pt>
                <c:pt idx="1082" formatCode="General">
                  <c:v>46.247144398409219</c:v>
                </c:pt>
                <c:pt idx="1083" formatCode="General">
                  <c:v>46.143018372904976</c:v>
                </c:pt>
                <c:pt idx="1084" formatCode="General">
                  <c:v>46.46922314606114</c:v>
                </c:pt>
                <c:pt idx="1085" formatCode="General">
                  <c:v>46.002580188401481</c:v>
                </c:pt>
                <c:pt idx="1086" formatCode="General">
                  <c:v>45.958622362885926</c:v>
                </c:pt>
                <c:pt idx="1087" formatCode="General">
                  <c:v>46.56786760770909</c:v>
                </c:pt>
                <c:pt idx="1088" formatCode="General">
                  <c:v>46.62399492242929</c:v>
                </c:pt>
                <c:pt idx="1089" formatCode="General">
                  <c:v>46.875968828063044</c:v>
                </c:pt>
                <c:pt idx="1090" formatCode="General">
                  <c:v>46.687247338193302</c:v>
                </c:pt>
                <c:pt idx="1091" formatCode="General">
                  <c:v>46.472341416565122</c:v>
                </c:pt>
                <c:pt idx="1092" formatCode="General">
                  <c:v>46.229256452676751</c:v>
                </c:pt>
                <c:pt idx="1093" formatCode="General">
                  <c:v>46.062360536715786</c:v>
                </c:pt>
                <c:pt idx="1094" formatCode="General">
                  <c:v>46.58072533962806</c:v>
                </c:pt>
                <c:pt idx="1095" formatCode="General">
                  <c:v>46.225730096131407</c:v>
                </c:pt>
              </c:numCache>
            </c:numRef>
          </c:xVal>
          <c:yVal>
            <c:numRef>
              <c:f>'[Final Graph 2.xlsx]Parameters ranges for ANN step1'!$AR$3:$AR$1131</c:f>
              <c:numCache>
                <c:formatCode>0</c:formatCode>
                <c:ptCount val="1129"/>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C0F2-4E7F-AD09-668BC43BC07F}"/>
            </c:ext>
          </c:extLst>
        </c:ser>
        <c:dLbls>
          <c:showLegendKey val="0"/>
          <c:showVal val="0"/>
          <c:showCatName val="0"/>
          <c:showSerName val="0"/>
          <c:showPercent val="0"/>
          <c:showBubbleSize val="0"/>
        </c:dLbls>
        <c:axId val="1326898911"/>
        <c:axId val="1326899327"/>
      </c:scatterChart>
      <c:valAx>
        <c:axId val="1326898911"/>
        <c:scaling>
          <c:orientation val="minMax"/>
          <c:max val="47.5"/>
          <c:min val="43.5"/>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99327"/>
        <c:crosses val="autoZero"/>
        <c:crossBetween val="midCat"/>
      </c:valAx>
      <c:valAx>
        <c:axId val="1326899327"/>
        <c:scaling>
          <c:orientation val="minMax"/>
          <c:min val="111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6898911"/>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ot Blast Temp. °</a:t>
            </a:r>
            <a:r>
              <a:rPr lang="en-US" dirty="0" smtClean="0"/>
              <a:t>C v/s Input Energy(Kcal)</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Final Graph 2.xlsx]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Final Graph 2.xlsx]Parameters ranges for ANN step1'!$AF$3:$AF$1131</c:f>
              <c:numCache>
                <c:formatCode>0.00</c:formatCode>
                <c:ptCount val="1129"/>
                <c:pt idx="0">
                  <c:v>3636725.2757284632</c:v>
                </c:pt>
                <c:pt idx="1">
                  <c:v>3599554.9799319329</c:v>
                </c:pt>
                <c:pt idx="2">
                  <c:v>3609808.3459291705</c:v>
                </c:pt>
                <c:pt idx="3">
                  <c:v>3572360.5549783679</c:v>
                </c:pt>
                <c:pt idx="4">
                  <c:v>3607894.8230633144</c:v>
                </c:pt>
                <c:pt idx="5">
                  <c:v>3631294.8665722902</c:v>
                </c:pt>
                <c:pt idx="6">
                  <c:v>3739678.0390270962</c:v>
                </c:pt>
                <c:pt idx="7">
                  <c:v>3632784.0637022671</c:v>
                </c:pt>
                <c:pt idx="8">
                  <c:v>3629483.9254891337</c:v>
                </c:pt>
                <c:pt idx="9">
                  <c:v>3642200.5912040924</c:v>
                </c:pt>
                <c:pt idx="10">
                  <c:v>3608023.7351989979</c:v>
                </c:pt>
                <c:pt idx="11">
                  <c:v>3628947.982823391</c:v>
                </c:pt>
                <c:pt idx="12">
                  <c:v>3651156.1117609339</c:v>
                </c:pt>
                <c:pt idx="13">
                  <c:v>3731198.7660904517</c:v>
                </c:pt>
                <c:pt idx="14">
                  <c:v>3668005.1057057073</c:v>
                </c:pt>
                <c:pt idx="15">
                  <c:v>3615147.7832901292</c:v>
                </c:pt>
                <c:pt idx="16">
                  <c:v>3614153.1898455266</c:v>
                </c:pt>
                <c:pt idx="17">
                  <c:v>3686126.3295556107</c:v>
                </c:pt>
                <c:pt idx="18">
                  <c:v>3700858.2046743003</c:v>
                </c:pt>
                <c:pt idx="19">
                  <c:v>3655977.3044621851</c:v>
                </c:pt>
                <c:pt idx="20">
                  <c:v>3640996.8800112549</c:v>
                </c:pt>
                <c:pt idx="21">
                  <c:v>3614227.2552205171</c:v>
                </c:pt>
                <c:pt idx="22">
                  <c:v>3618793.6185410097</c:v>
                </c:pt>
                <c:pt idx="23">
                  <c:v>3657911.5781089212</c:v>
                </c:pt>
                <c:pt idx="24">
                  <c:v>2067115.5445801036</c:v>
                </c:pt>
                <c:pt idx="25">
                  <c:v>2104954.2204692462</c:v>
                </c:pt>
                <c:pt idx="26">
                  <c:v>3730395.3996310416</c:v>
                </c:pt>
                <c:pt idx="27">
                  <c:v>3724426.4708718224</c:v>
                </c:pt>
                <c:pt idx="28">
                  <c:v>3664540.9017959628</c:v>
                </c:pt>
                <c:pt idx="29">
                  <c:v>3708425.514343671</c:v>
                </c:pt>
                <c:pt idx="30">
                  <c:v>3699632.0017941617</c:v>
                </c:pt>
                <c:pt idx="31">
                  <c:v>3634956.3075154615</c:v>
                </c:pt>
                <c:pt idx="32">
                  <c:v>3666547.7633475489</c:v>
                </c:pt>
                <c:pt idx="33">
                  <c:v>3667470.1227976852</c:v>
                </c:pt>
                <c:pt idx="34">
                  <c:v>3728347.5408095159</c:v>
                </c:pt>
                <c:pt idx="35">
                  <c:v>1971566.1121476039</c:v>
                </c:pt>
                <c:pt idx="36">
                  <c:v>2011153.4021329361</c:v>
                </c:pt>
                <c:pt idx="37">
                  <c:v>3696983.6360937878</c:v>
                </c:pt>
                <c:pt idx="38">
                  <c:v>3663536.3503362406</c:v>
                </c:pt>
                <c:pt idx="39">
                  <c:v>3676599.2978546266</c:v>
                </c:pt>
                <c:pt idx="40">
                  <c:v>3655525.3015373917</c:v>
                </c:pt>
                <c:pt idx="41">
                  <c:v>3709708.4756910126</c:v>
                </c:pt>
                <c:pt idx="42">
                  <c:v>3763070.5293486952</c:v>
                </c:pt>
                <c:pt idx="43">
                  <c:v>3817618.5428384836</c:v>
                </c:pt>
                <c:pt idx="44">
                  <c:v>3831417.5072102337</c:v>
                </c:pt>
                <c:pt idx="45">
                  <c:v>4766912.1219277252</c:v>
                </c:pt>
                <c:pt idx="46">
                  <c:v>4398069.9828176191</c:v>
                </c:pt>
                <c:pt idx="47">
                  <c:v>3782653.0755211646</c:v>
                </c:pt>
                <c:pt idx="48">
                  <c:v>3723489.0856501549</c:v>
                </c:pt>
                <c:pt idx="49">
                  <c:v>3711459.0600004941</c:v>
                </c:pt>
                <c:pt idx="50">
                  <c:v>3737754.4592644833</c:v>
                </c:pt>
                <c:pt idx="51">
                  <c:v>3732002.5293831024</c:v>
                </c:pt>
                <c:pt idx="52">
                  <c:v>3718384.8066014205</c:v>
                </c:pt>
                <c:pt idx="53">
                  <c:v>3661072.3587299935</c:v>
                </c:pt>
                <c:pt idx="54">
                  <c:v>3661628.4411358815</c:v>
                </c:pt>
                <c:pt idx="55">
                  <c:v>3659070.0137464642</c:v>
                </c:pt>
                <c:pt idx="56">
                  <c:v>3650612.1582813361</c:v>
                </c:pt>
                <c:pt idx="57">
                  <c:v>3734074.8030980215</c:v>
                </c:pt>
                <c:pt idx="58">
                  <c:v>3706243.1065658219</c:v>
                </c:pt>
                <c:pt idx="59">
                  <c:v>3716571.5204224302</c:v>
                </c:pt>
                <c:pt idx="60">
                  <c:v>3633669.5626494614</c:v>
                </c:pt>
                <c:pt idx="61">
                  <c:v>3653873.5911605889</c:v>
                </c:pt>
                <c:pt idx="62">
                  <c:v>3638118.9616075978</c:v>
                </c:pt>
                <c:pt idx="63">
                  <c:v>3637074.4066561386</c:v>
                </c:pt>
                <c:pt idx="64">
                  <c:v>3672912.8248326103</c:v>
                </c:pt>
                <c:pt idx="65">
                  <c:v>3650980.9015184711</c:v>
                </c:pt>
                <c:pt idx="66">
                  <c:v>3658136.1498483303</c:v>
                </c:pt>
                <c:pt idx="67">
                  <c:v>3689569.3040010771</c:v>
                </c:pt>
                <c:pt idx="68">
                  <c:v>3742871.3103459394</c:v>
                </c:pt>
                <c:pt idx="69">
                  <c:v>3779953.5952627645</c:v>
                </c:pt>
                <c:pt idx="70">
                  <c:v>3699046.8494161796</c:v>
                </c:pt>
                <c:pt idx="71">
                  <c:v>3724418.8214752376</c:v>
                </c:pt>
                <c:pt idx="72">
                  <c:v>3694732.1851235051</c:v>
                </c:pt>
                <c:pt idx="73">
                  <c:v>3642520.8305090512</c:v>
                </c:pt>
                <c:pt idx="74">
                  <c:v>3675551.442976844</c:v>
                </c:pt>
                <c:pt idx="75">
                  <c:v>3658364.8784052231</c:v>
                </c:pt>
                <c:pt idx="76">
                  <c:v>3633247.3003638159</c:v>
                </c:pt>
                <c:pt idx="77">
                  <c:v>3621774.389869872</c:v>
                </c:pt>
                <c:pt idx="78">
                  <c:v>3636894.9299929021</c:v>
                </c:pt>
                <c:pt idx="79">
                  <c:v>3638636.9833716066</c:v>
                </c:pt>
                <c:pt idx="80">
                  <c:v>3625281.9145060657</c:v>
                </c:pt>
                <c:pt idx="81">
                  <c:v>3671913.86306663</c:v>
                </c:pt>
                <c:pt idx="82">
                  <c:v>3652550.3242538101</c:v>
                </c:pt>
                <c:pt idx="83">
                  <c:v>3671228.9705203655</c:v>
                </c:pt>
                <c:pt idx="84">
                  <c:v>3741563.5259570447</c:v>
                </c:pt>
                <c:pt idx="85">
                  <c:v>3718969.0228939303</c:v>
                </c:pt>
                <c:pt idx="86">
                  <c:v>3695943.3136921288</c:v>
                </c:pt>
                <c:pt idx="87">
                  <c:v>3668945.8497910914</c:v>
                </c:pt>
                <c:pt idx="88">
                  <c:v>3659784.7781994231</c:v>
                </c:pt>
                <c:pt idx="89">
                  <c:v>3663501.822771227</c:v>
                </c:pt>
                <c:pt idx="90">
                  <c:v>3662326.1323074368</c:v>
                </c:pt>
                <c:pt idx="91">
                  <c:v>3671968.9706553263</c:v>
                </c:pt>
                <c:pt idx="92">
                  <c:v>3662841.4806098449</c:v>
                </c:pt>
                <c:pt idx="93">
                  <c:v>3602338.165188645</c:v>
                </c:pt>
                <c:pt idx="94">
                  <c:v>3658206.4339472251</c:v>
                </c:pt>
                <c:pt idx="95">
                  <c:v>3666016.5607227753</c:v>
                </c:pt>
                <c:pt idx="96">
                  <c:v>3652381.3162052343</c:v>
                </c:pt>
                <c:pt idx="97">
                  <c:v>3692220.8624967672</c:v>
                </c:pt>
                <c:pt idx="98">
                  <c:v>3659516.5391145428</c:v>
                </c:pt>
                <c:pt idx="99">
                  <c:v>3715317.5701302122</c:v>
                </c:pt>
                <c:pt idx="100">
                  <c:v>3688610.0193220093</c:v>
                </c:pt>
                <c:pt idx="101">
                  <c:v>3655394.5727618202</c:v>
                </c:pt>
                <c:pt idx="102">
                  <c:v>3658043.5272280029</c:v>
                </c:pt>
                <c:pt idx="103">
                  <c:v>3661054.2088660044</c:v>
                </c:pt>
                <c:pt idx="104">
                  <c:v>3710501.6164808851</c:v>
                </c:pt>
                <c:pt idx="105">
                  <c:v>3741788.6065936033</c:v>
                </c:pt>
                <c:pt idx="106">
                  <c:v>3696415.5349200452</c:v>
                </c:pt>
                <c:pt idx="107">
                  <c:v>3660611.5576120899</c:v>
                </c:pt>
                <c:pt idx="108">
                  <c:v>3672086.0232971478</c:v>
                </c:pt>
                <c:pt idx="109">
                  <c:v>3691158.9899610025</c:v>
                </c:pt>
                <c:pt idx="110">
                  <c:v>3641332.5140728797</c:v>
                </c:pt>
                <c:pt idx="111">
                  <c:v>3672675.3506024573</c:v>
                </c:pt>
                <c:pt idx="112">
                  <c:v>3697834.9903338463</c:v>
                </c:pt>
                <c:pt idx="113">
                  <c:v>3742394.8376688915</c:v>
                </c:pt>
                <c:pt idx="114">
                  <c:v>3688444.064316263</c:v>
                </c:pt>
                <c:pt idx="115">
                  <c:v>3708067.4196261321</c:v>
                </c:pt>
                <c:pt idx="116">
                  <c:v>3667288.5402063034</c:v>
                </c:pt>
                <c:pt idx="117">
                  <c:v>3697720.44036204</c:v>
                </c:pt>
                <c:pt idx="118">
                  <c:v>3671128.6331191212</c:v>
                </c:pt>
                <c:pt idx="119">
                  <c:v>3726047.9222088717</c:v>
                </c:pt>
                <c:pt idx="120">
                  <c:v>3677741.3213894633</c:v>
                </c:pt>
                <c:pt idx="121">
                  <c:v>3736855.9217521888</c:v>
                </c:pt>
                <c:pt idx="122">
                  <c:v>3730909.1368409409</c:v>
                </c:pt>
                <c:pt idx="123">
                  <c:v>3706576.1701108688</c:v>
                </c:pt>
                <c:pt idx="124">
                  <c:v>3702341.238797198</c:v>
                </c:pt>
                <c:pt idx="125">
                  <c:v>3699785.0516473888</c:v>
                </c:pt>
                <c:pt idx="126">
                  <c:v>3652185.3826875016</c:v>
                </c:pt>
                <c:pt idx="127">
                  <c:v>3628744.819542313</c:v>
                </c:pt>
                <c:pt idx="128">
                  <c:v>3692888.1130849286</c:v>
                </c:pt>
                <c:pt idx="129">
                  <c:v>3646966.392910263</c:v>
                </c:pt>
                <c:pt idx="130">
                  <c:v>3638788.3158924533</c:v>
                </c:pt>
                <c:pt idx="131">
                  <c:v>3721601.4956998886</c:v>
                </c:pt>
                <c:pt idx="132">
                  <c:v>3693408.3198319995</c:v>
                </c:pt>
                <c:pt idx="133">
                  <c:v>3696552.383513567</c:v>
                </c:pt>
                <c:pt idx="134">
                  <c:v>3733638.3820162015</c:v>
                </c:pt>
                <c:pt idx="135">
                  <c:v>3704615.3290334647</c:v>
                </c:pt>
                <c:pt idx="136">
                  <c:v>3634863.7577509475</c:v>
                </c:pt>
                <c:pt idx="137">
                  <c:v>3702807.8384281695</c:v>
                </c:pt>
                <c:pt idx="138">
                  <c:v>3709652.1775636706</c:v>
                </c:pt>
                <c:pt idx="139">
                  <c:v>3692684.2984749009</c:v>
                </c:pt>
                <c:pt idx="140">
                  <c:v>3770277.1727890298</c:v>
                </c:pt>
                <c:pt idx="141">
                  <c:v>3938967.0457082535</c:v>
                </c:pt>
                <c:pt idx="142">
                  <c:v>4102785.6661544088</c:v>
                </c:pt>
                <c:pt idx="143">
                  <c:v>4142154.7922206162</c:v>
                </c:pt>
                <c:pt idx="144">
                  <c:v>5747129.4791646376</c:v>
                </c:pt>
                <c:pt idx="145">
                  <c:v>0</c:v>
                </c:pt>
                <c:pt idx="146">
                  <c:v>0</c:v>
                </c:pt>
                <c:pt idx="147">
                  <c:v>0</c:v>
                </c:pt>
                <c:pt idx="148">
                  <c:v>0</c:v>
                </c:pt>
                <c:pt idx="149">
                  <c:v>0</c:v>
                </c:pt>
                <c:pt idx="150">
                  <c:v>4167294.3332040203</c:v>
                </c:pt>
                <c:pt idx="151">
                  <c:v>3716449.3523203256</c:v>
                </c:pt>
                <c:pt idx="152">
                  <c:v>3629393.7869651434</c:v>
                </c:pt>
                <c:pt idx="153">
                  <c:v>3640764.8191606831</c:v>
                </c:pt>
                <c:pt idx="154">
                  <c:v>2061144.5371636748</c:v>
                </c:pt>
                <c:pt idx="155">
                  <c:v>3678633.9659623951</c:v>
                </c:pt>
                <c:pt idx="156">
                  <c:v>3669018.546475023</c:v>
                </c:pt>
                <c:pt idx="157">
                  <c:v>3669555.5372643913</c:v>
                </c:pt>
                <c:pt idx="158">
                  <c:v>3702001.4951343806</c:v>
                </c:pt>
                <c:pt idx="159">
                  <c:v>3714913.8022081279</c:v>
                </c:pt>
                <c:pt idx="160">
                  <c:v>3723786.7010964141</c:v>
                </c:pt>
                <c:pt idx="161">
                  <c:v>3769431.4268661458</c:v>
                </c:pt>
                <c:pt idx="162">
                  <c:v>3766308.6494619241</c:v>
                </c:pt>
                <c:pt idx="163">
                  <c:v>3709442.4138614866</c:v>
                </c:pt>
                <c:pt idx="164">
                  <c:v>3644106.9598706351</c:v>
                </c:pt>
                <c:pt idx="165">
                  <c:v>3644509.2044297834</c:v>
                </c:pt>
                <c:pt idx="166">
                  <c:v>3693774.2881647763</c:v>
                </c:pt>
                <c:pt idx="167">
                  <c:v>3689438.4555126685</c:v>
                </c:pt>
                <c:pt idx="168">
                  <c:v>3703498.5298011703</c:v>
                </c:pt>
                <c:pt idx="169">
                  <c:v>3675112.0159442625</c:v>
                </c:pt>
                <c:pt idx="170">
                  <c:v>3758562.2158194091</c:v>
                </c:pt>
                <c:pt idx="171">
                  <c:v>3786971.2699658391</c:v>
                </c:pt>
                <c:pt idx="172">
                  <c:v>3758724.3091260022</c:v>
                </c:pt>
                <c:pt idx="173">
                  <c:v>3768268.2416939391</c:v>
                </c:pt>
                <c:pt idx="174">
                  <c:v>3762814.6993430876</c:v>
                </c:pt>
                <c:pt idx="175">
                  <c:v>3800361.6710024192</c:v>
                </c:pt>
                <c:pt idx="176">
                  <c:v>3859480.9931617328</c:v>
                </c:pt>
                <c:pt idx="177">
                  <c:v>3871045.5903360192</c:v>
                </c:pt>
                <c:pt idx="178">
                  <c:v>3754128.7550232434</c:v>
                </c:pt>
                <c:pt idx="179">
                  <c:v>3791698.1228064895</c:v>
                </c:pt>
                <c:pt idx="180">
                  <c:v>3721497.9210363138</c:v>
                </c:pt>
                <c:pt idx="181">
                  <c:v>3698189.2533857063</c:v>
                </c:pt>
                <c:pt idx="182">
                  <c:v>3691084.0470527764</c:v>
                </c:pt>
                <c:pt idx="183">
                  <c:v>3696726.0298118521</c:v>
                </c:pt>
                <c:pt idx="184">
                  <c:v>3729636.0766733508</c:v>
                </c:pt>
                <c:pt idx="185">
                  <c:v>3733006.8746337695</c:v>
                </c:pt>
                <c:pt idx="186">
                  <c:v>3735669.988498576</c:v>
                </c:pt>
                <c:pt idx="187">
                  <c:v>3740910.3762075203</c:v>
                </c:pt>
                <c:pt idx="188">
                  <c:v>3716130.5434619058</c:v>
                </c:pt>
                <c:pt idx="189">
                  <c:v>3707286.9232113524</c:v>
                </c:pt>
                <c:pt idx="190">
                  <c:v>3729966.0945485346</c:v>
                </c:pt>
                <c:pt idx="191">
                  <c:v>3736315.9036329403</c:v>
                </c:pt>
                <c:pt idx="192">
                  <c:v>3687333.9632061655</c:v>
                </c:pt>
                <c:pt idx="193">
                  <c:v>3703374.1284489939</c:v>
                </c:pt>
                <c:pt idx="194">
                  <c:v>3720946.494933316</c:v>
                </c:pt>
                <c:pt idx="195">
                  <c:v>3729422.0923228357</c:v>
                </c:pt>
                <c:pt idx="196">
                  <c:v>3719113.5650787279</c:v>
                </c:pt>
                <c:pt idx="197">
                  <c:v>3705789.587576746</c:v>
                </c:pt>
                <c:pt idx="198">
                  <c:v>3707743.6707377704</c:v>
                </c:pt>
                <c:pt idx="199">
                  <c:v>3685870.0503740995</c:v>
                </c:pt>
                <c:pt idx="200">
                  <c:v>3756800.6604999644</c:v>
                </c:pt>
                <c:pt idx="201">
                  <c:v>3768648.7891474529</c:v>
                </c:pt>
                <c:pt idx="202">
                  <c:v>3759583.6874081902</c:v>
                </c:pt>
                <c:pt idx="203">
                  <c:v>3741459.00726688</c:v>
                </c:pt>
                <c:pt idx="204">
                  <c:v>3694993.6504276358</c:v>
                </c:pt>
                <c:pt idx="205">
                  <c:v>3721759.3402429842</c:v>
                </c:pt>
                <c:pt idx="206">
                  <c:v>3773209.4865708719</c:v>
                </c:pt>
                <c:pt idx="207">
                  <c:v>3760246.1823556679</c:v>
                </c:pt>
                <c:pt idx="208">
                  <c:v>3691879.4947398058</c:v>
                </c:pt>
                <c:pt idx="209">
                  <c:v>3698722.3140867674</c:v>
                </c:pt>
                <c:pt idx="210">
                  <c:v>3685768.9078071811</c:v>
                </c:pt>
                <c:pt idx="211">
                  <c:v>3748923.1580553418</c:v>
                </c:pt>
                <c:pt idx="212">
                  <c:v>3755958.0733039551</c:v>
                </c:pt>
                <c:pt idx="213">
                  <c:v>3746103.6309745843</c:v>
                </c:pt>
                <c:pt idx="214">
                  <c:v>3817097.0892792898</c:v>
                </c:pt>
                <c:pt idx="215">
                  <c:v>3723295.5996033084</c:v>
                </c:pt>
                <c:pt idx="216">
                  <c:v>3682509.1627454371</c:v>
                </c:pt>
                <c:pt idx="217">
                  <c:v>3762143.6063095434</c:v>
                </c:pt>
                <c:pt idx="218">
                  <c:v>3707676.6149299266</c:v>
                </c:pt>
                <c:pt idx="219">
                  <c:v>3920264.177571109</c:v>
                </c:pt>
                <c:pt idx="220">
                  <c:v>3649315.3106658524</c:v>
                </c:pt>
                <c:pt idx="221">
                  <c:v>3704865.497024578</c:v>
                </c:pt>
                <c:pt idx="222">
                  <c:v>3686856.5203808215</c:v>
                </c:pt>
                <c:pt idx="223">
                  <c:v>3679534.1368863997</c:v>
                </c:pt>
                <c:pt idx="224">
                  <c:v>3649334.9687494626</c:v>
                </c:pt>
                <c:pt idx="225">
                  <c:v>3643437.2015950712</c:v>
                </c:pt>
                <c:pt idx="226">
                  <c:v>3690416.6935861153</c:v>
                </c:pt>
                <c:pt idx="227">
                  <c:v>3644749.8507941798</c:v>
                </c:pt>
                <c:pt idx="228">
                  <c:v>3687455.9099363135</c:v>
                </c:pt>
                <c:pt idx="229">
                  <c:v>3650770.0271825194</c:v>
                </c:pt>
                <c:pt idx="230">
                  <c:v>3721607.3025792367</c:v>
                </c:pt>
                <c:pt idx="231">
                  <c:v>3705676.4040733106</c:v>
                </c:pt>
                <c:pt idx="232">
                  <c:v>3757062.5169323245</c:v>
                </c:pt>
                <c:pt idx="233">
                  <c:v>3703509.2070043148</c:v>
                </c:pt>
                <c:pt idx="234">
                  <c:v>3705596.0566618401</c:v>
                </c:pt>
                <c:pt idx="235">
                  <c:v>3771943.2208844493</c:v>
                </c:pt>
                <c:pt idx="236">
                  <c:v>3744716.7240195214</c:v>
                </c:pt>
                <c:pt idx="237">
                  <c:v>3715696.3914244641</c:v>
                </c:pt>
                <c:pt idx="238">
                  <c:v>3753631.698519737</c:v>
                </c:pt>
                <c:pt idx="239">
                  <c:v>3727391.2507520607</c:v>
                </c:pt>
                <c:pt idx="240">
                  <c:v>3865590.3652158324</c:v>
                </c:pt>
                <c:pt idx="241">
                  <c:v>3903220.0098123299</c:v>
                </c:pt>
                <c:pt idx="242">
                  <c:v>3872417.4789317017</c:v>
                </c:pt>
                <c:pt idx="243">
                  <c:v>3861639.8248256748</c:v>
                </c:pt>
                <c:pt idx="244">
                  <c:v>3845251.0409187214</c:v>
                </c:pt>
                <c:pt idx="245">
                  <c:v>3948463.1037023501</c:v>
                </c:pt>
                <c:pt idx="246">
                  <c:v>4105791.7185303001</c:v>
                </c:pt>
                <c:pt idx="247">
                  <c:v>4143424.1988708377</c:v>
                </c:pt>
                <c:pt idx="248">
                  <c:v>3901973.7734034783</c:v>
                </c:pt>
                <c:pt idx="249">
                  <c:v>3898191.7790111681</c:v>
                </c:pt>
                <c:pt idx="250">
                  <c:v>3869709.2853047326</c:v>
                </c:pt>
                <c:pt idx="251">
                  <c:v>3962326.5466504879</c:v>
                </c:pt>
                <c:pt idx="252">
                  <c:v>3790035.2551633446</c:v>
                </c:pt>
                <c:pt idx="253">
                  <c:v>3814184.0971022774</c:v>
                </c:pt>
                <c:pt idx="254">
                  <c:v>3763950.401129507</c:v>
                </c:pt>
                <c:pt idx="255">
                  <c:v>3824299.606065982</c:v>
                </c:pt>
                <c:pt idx="256">
                  <c:v>3661608.2685144963</c:v>
                </c:pt>
                <c:pt idx="257">
                  <c:v>3667546.5077548227</c:v>
                </c:pt>
                <c:pt idx="258">
                  <c:v>3818706.9477761118</c:v>
                </c:pt>
                <c:pt idx="259">
                  <c:v>4204905.6071573971</c:v>
                </c:pt>
                <c:pt idx="260">
                  <c:v>4081387.9237215933</c:v>
                </c:pt>
                <c:pt idx="261">
                  <c:v>3867257.9562039562</c:v>
                </c:pt>
                <c:pt idx="262">
                  <c:v>3798485.1100451718</c:v>
                </c:pt>
                <c:pt idx="263">
                  <c:v>3815795.3870961405</c:v>
                </c:pt>
                <c:pt idx="264">
                  <c:v>3775326.3174497639</c:v>
                </c:pt>
                <c:pt idx="265">
                  <c:v>3764667.8261745851</c:v>
                </c:pt>
                <c:pt idx="266">
                  <c:v>3791165.2281378414</c:v>
                </c:pt>
                <c:pt idx="267">
                  <c:v>3924292.1689248369</c:v>
                </c:pt>
                <c:pt idx="268">
                  <c:v>3684841.3644898566</c:v>
                </c:pt>
                <c:pt idx="269">
                  <c:v>3684968.8197544408</c:v>
                </c:pt>
                <c:pt idx="270">
                  <c:v>3720522.530591168</c:v>
                </c:pt>
                <c:pt idx="271">
                  <c:v>3702392.6078846101</c:v>
                </c:pt>
                <c:pt idx="272">
                  <c:v>3675581.5493206545</c:v>
                </c:pt>
                <c:pt idx="273">
                  <c:v>3685831.592385924</c:v>
                </c:pt>
                <c:pt idx="274">
                  <c:v>3704622.4946993706</c:v>
                </c:pt>
                <c:pt idx="275">
                  <c:v>3731221.6866677571</c:v>
                </c:pt>
                <c:pt idx="276">
                  <c:v>3763709.8492120123</c:v>
                </c:pt>
                <c:pt idx="277">
                  <c:v>3772162.0011707107</c:v>
                </c:pt>
                <c:pt idx="278">
                  <c:v>3801849.8357984577</c:v>
                </c:pt>
                <c:pt idx="279">
                  <c:v>3711084.9501617914</c:v>
                </c:pt>
                <c:pt idx="280">
                  <c:v>3655901.0119506735</c:v>
                </c:pt>
                <c:pt idx="281">
                  <c:v>3656455.4581023459</c:v>
                </c:pt>
                <c:pt idx="282">
                  <c:v>3644035.2463784008</c:v>
                </c:pt>
                <c:pt idx="283">
                  <c:v>3667199.3912167046</c:v>
                </c:pt>
                <c:pt idx="284">
                  <c:v>3676724.4887682111</c:v>
                </c:pt>
                <c:pt idx="285">
                  <c:v>3718290.4355708444</c:v>
                </c:pt>
                <c:pt idx="286">
                  <c:v>3714443.8648923039</c:v>
                </c:pt>
                <c:pt idx="287">
                  <c:v>3732371.3691629856</c:v>
                </c:pt>
                <c:pt idx="288">
                  <c:v>3726182.4661783688</c:v>
                </c:pt>
                <c:pt idx="289">
                  <c:v>3789501.3246811186</c:v>
                </c:pt>
                <c:pt idx="290">
                  <c:v>3733885.4920488056</c:v>
                </c:pt>
                <c:pt idx="291">
                  <c:v>3822365.4319939176</c:v>
                </c:pt>
                <c:pt idx="292">
                  <c:v>3780428.1301562828</c:v>
                </c:pt>
                <c:pt idx="293">
                  <c:v>3809680.9757660627</c:v>
                </c:pt>
                <c:pt idx="294">
                  <c:v>3737369.9724313794</c:v>
                </c:pt>
                <c:pt idx="295">
                  <c:v>3704395.3039466352</c:v>
                </c:pt>
                <c:pt idx="296">
                  <c:v>3719525.4871688983</c:v>
                </c:pt>
                <c:pt idx="297">
                  <c:v>3723177.1232115421</c:v>
                </c:pt>
                <c:pt idx="298">
                  <c:v>3734501.7641911712</c:v>
                </c:pt>
                <c:pt idx="299">
                  <c:v>3777186.3165651788</c:v>
                </c:pt>
                <c:pt idx="300">
                  <c:v>3817047.0000808779</c:v>
                </c:pt>
                <c:pt idx="301">
                  <c:v>3750386.2894230718</c:v>
                </c:pt>
                <c:pt idx="302">
                  <c:v>3696375.8629378416</c:v>
                </c:pt>
                <c:pt idx="303">
                  <c:v>3707233.3383737267</c:v>
                </c:pt>
                <c:pt idx="304">
                  <c:v>3711823.1842924794</c:v>
                </c:pt>
                <c:pt idx="305">
                  <c:v>3651292.160003528</c:v>
                </c:pt>
                <c:pt idx="306">
                  <c:v>3693993.345481223</c:v>
                </c:pt>
                <c:pt idx="307">
                  <c:v>3720917.0257890676</c:v>
                </c:pt>
                <c:pt idx="308">
                  <c:v>3697268.9972696234</c:v>
                </c:pt>
                <c:pt idx="309">
                  <c:v>3704535.5667748856</c:v>
                </c:pt>
                <c:pt idx="310">
                  <c:v>3729044.5643403176</c:v>
                </c:pt>
                <c:pt idx="311">
                  <c:v>3693922.7696115319</c:v>
                </c:pt>
                <c:pt idx="312">
                  <c:v>3723437.9286002466</c:v>
                </c:pt>
                <c:pt idx="313">
                  <c:v>3727084.0648371959</c:v>
                </c:pt>
                <c:pt idx="314">
                  <c:v>3695351.8645677748</c:v>
                </c:pt>
                <c:pt idx="315">
                  <c:v>3702608.7918420411</c:v>
                </c:pt>
                <c:pt idx="316">
                  <c:v>3734377.5123805818</c:v>
                </c:pt>
                <c:pt idx="317">
                  <c:v>3744922.2107153302</c:v>
                </c:pt>
                <c:pt idx="318">
                  <c:v>3704791.8045828999</c:v>
                </c:pt>
                <c:pt idx="319">
                  <c:v>3685190.1744057187</c:v>
                </c:pt>
                <c:pt idx="320">
                  <c:v>3711161.0875091525</c:v>
                </c:pt>
                <c:pt idx="321">
                  <c:v>3678160.6665367484</c:v>
                </c:pt>
                <c:pt idx="322">
                  <c:v>3677061.8030221816</c:v>
                </c:pt>
                <c:pt idx="323">
                  <c:v>3686472.7405427988</c:v>
                </c:pt>
                <c:pt idx="324">
                  <c:v>3701081.8259653375</c:v>
                </c:pt>
                <c:pt idx="325">
                  <c:v>3657648.9326240332</c:v>
                </c:pt>
                <c:pt idx="326">
                  <c:v>3633947.6603104435</c:v>
                </c:pt>
                <c:pt idx="327">
                  <c:v>3615897.3878599135</c:v>
                </c:pt>
                <c:pt idx="328">
                  <c:v>3642460.1792038986</c:v>
                </c:pt>
                <c:pt idx="329">
                  <c:v>3655009.3633453092</c:v>
                </c:pt>
                <c:pt idx="330">
                  <c:v>3657588.18482946</c:v>
                </c:pt>
                <c:pt idx="331">
                  <c:v>3683913.8865420441</c:v>
                </c:pt>
                <c:pt idx="332">
                  <c:v>3678423.5963021531</c:v>
                </c:pt>
                <c:pt idx="333">
                  <c:v>3704605.0122211296</c:v>
                </c:pt>
                <c:pt idx="334">
                  <c:v>3948191.4938426269</c:v>
                </c:pt>
                <c:pt idx="335">
                  <c:v>3955327.9698025719</c:v>
                </c:pt>
                <c:pt idx="336">
                  <c:v>3698556.6276805112</c:v>
                </c:pt>
                <c:pt idx="337">
                  <c:v>3676058.4480851446</c:v>
                </c:pt>
                <c:pt idx="338">
                  <c:v>3643393.6039735656</c:v>
                </c:pt>
                <c:pt idx="339">
                  <c:v>3644250.1515839528</c:v>
                </c:pt>
                <c:pt idx="340">
                  <c:v>3642103.539085804</c:v>
                </c:pt>
                <c:pt idx="341">
                  <c:v>3608849.227214518</c:v>
                </c:pt>
                <c:pt idx="342">
                  <c:v>3672319.5272597992</c:v>
                </c:pt>
                <c:pt idx="343">
                  <c:v>3625928.5804126505</c:v>
                </c:pt>
                <c:pt idx="344">
                  <c:v>3632609.8503650771</c:v>
                </c:pt>
                <c:pt idx="345">
                  <c:v>3659201.4222905627</c:v>
                </c:pt>
                <c:pt idx="346">
                  <c:v>3652526.962174247</c:v>
                </c:pt>
                <c:pt idx="347">
                  <c:v>3628875.8466845029</c:v>
                </c:pt>
                <c:pt idx="348">
                  <c:v>3640695.0222209892</c:v>
                </c:pt>
                <c:pt idx="349">
                  <c:v>3633746.7557035936</c:v>
                </c:pt>
                <c:pt idx="350">
                  <c:v>3636899.9431807194</c:v>
                </c:pt>
                <c:pt idx="351">
                  <c:v>3594652.6336951652</c:v>
                </c:pt>
                <c:pt idx="352">
                  <c:v>3686041.3390832921</c:v>
                </c:pt>
                <c:pt idx="353">
                  <c:v>3686885.8182151685</c:v>
                </c:pt>
                <c:pt idx="354">
                  <c:v>3688878.7107534674</c:v>
                </c:pt>
                <c:pt idx="355">
                  <c:v>3709278.6678328933</c:v>
                </c:pt>
                <c:pt idx="356">
                  <c:v>3750650.9221443334</c:v>
                </c:pt>
                <c:pt idx="357">
                  <c:v>3699081.5642934102</c:v>
                </c:pt>
                <c:pt idx="358">
                  <c:v>3660487.4838165324</c:v>
                </c:pt>
                <c:pt idx="359">
                  <c:v>3664851.1088759312</c:v>
                </c:pt>
                <c:pt idx="360">
                  <c:v>3625748.2166036959</c:v>
                </c:pt>
                <c:pt idx="361">
                  <c:v>3621836.0278160996</c:v>
                </c:pt>
                <c:pt idx="362">
                  <c:v>3670232.9047827497</c:v>
                </c:pt>
                <c:pt idx="363">
                  <c:v>3753354.055068803</c:v>
                </c:pt>
                <c:pt idx="364">
                  <c:v>4134413.8008570843</c:v>
                </c:pt>
                <c:pt idx="365">
                  <c:v>3988123.189050925</c:v>
                </c:pt>
                <c:pt idx="366">
                  <c:v>3743431.9691233067</c:v>
                </c:pt>
                <c:pt idx="367">
                  <c:v>3633422.7316317395</c:v>
                </c:pt>
                <c:pt idx="368">
                  <c:v>3654284.4071141123</c:v>
                </c:pt>
                <c:pt idx="369">
                  <c:v>3607594.7946793297</c:v>
                </c:pt>
                <c:pt idx="370">
                  <c:v>3583042.8566776002</c:v>
                </c:pt>
                <c:pt idx="371">
                  <c:v>3581993.9759687386</c:v>
                </c:pt>
                <c:pt idx="372">
                  <c:v>3557823.5671005915</c:v>
                </c:pt>
                <c:pt idx="373">
                  <c:v>3595029.7896923572</c:v>
                </c:pt>
                <c:pt idx="374">
                  <c:v>3642799.9883324504</c:v>
                </c:pt>
                <c:pt idx="375">
                  <c:v>3650829.905768048</c:v>
                </c:pt>
                <c:pt idx="376">
                  <c:v>3666798.1982251615</c:v>
                </c:pt>
                <c:pt idx="377">
                  <c:v>3679868.576276599</c:v>
                </c:pt>
                <c:pt idx="378">
                  <c:v>3662094.727597273</c:v>
                </c:pt>
                <c:pt idx="379">
                  <c:v>3664554.1396126081</c:v>
                </c:pt>
                <c:pt idx="380">
                  <c:v>3585423.3394696452</c:v>
                </c:pt>
                <c:pt idx="381">
                  <c:v>3554495.3400537949</c:v>
                </c:pt>
                <c:pt idx="382">
                  <c:v>3601522.9988637357</c:v>
                </c:pt>
                <c:pt idx="383">
                  <c:v>3615864.0856795022</c:v>
                </c:pt>
                <c:pt idx="384">
                  <c:v>3586995.5852566515</c:v>
                </c:pt>
                <c:pt idx="385">
                  <c:v>3555291.029168406</c:v>
                </c:pt>
                <c:pt idx="386">
                  <c:v>3586014.848778402</c:v>
                </c:pt>
                <c:pt idx="387">
                  <c:v>3653887.9700747924</c:v>
                </c:pt>
                <c:pt idx="388">
                  <c:v>3600577.9923743638</c:v>
                </c:pt>
                <c:pt idx="389">
                  <c:v>3628883.3648341754</c:v>
                </c:pt>
                <c:pt idx="390">
                  <c:v>3628654.9477779646</c:v>
                </c:pt>
                <c:pt idx="391">
                  <c:v>3607247.6073492495</c:v>
                </c:pt>
                <c:pt idx="392">
                  <c:v>3612252.8374453555</c:v>
                </c:pt>
                <c:pt idx="393">
                  <c:v>3658321.3051502225</c:v>
                </c:pt>
                <c:pt idx="394">
                  <c:v>3608914.1191104641</c:v>
                </c:pt>
                <c:pt idx="395">
                  <c:v>3644441.8853893545</c:v>
                </c:pt>
                <c:pt idx="396">
                  <c:v>3634927.7563199606</c:v>
                </c:pt>
                <c:pt idx="397">
                  <c:v>3639972.7066302844</c:v>
                </c:pt>
                <c:pt idx="398">
                  <c:v>3660828.2592340694</c:v>
                </c:pt>
                <c:pt idx="399">
                  <c:v>3669979.7847752683</c:v>
                </c:pt>
                <c:pt idx="400">
                  <c:v>3659123.014905863</c:v>
                </c:pt>
                <c:pt idx="401">
                  <c:v>3633842.8887970494</c:v>
                </c:pt>
                <c:pt idx="402">
                  <c:v>3659028.8608642672</c:v>
                </c:pt>
                <c:pt idx="403">
                  <c:v>3690526.8057534806</c:v>
                </c:pt>
                <c:pt idx="404">
                  <c:v>3706697.9330843999</c:v>
                </c:pt>
                <c:pt idx="405">
                  <c:v>3719077.8544107671</c:v>
                </c:pt>
                <c:pt idx="406">
                  <c:v>3681375.404209069</c:v>
                </c:pt>
                <c:pt idx="407">
                  <c:v>3654667.8598599164</c:v>
                </c:pt>
                <c:pt idx="408">
                  <c:v>3698796.2474135263</c:v>
                </c:pt>
                <c:pt idx="409">
                  <c:v>3655150.8608984132</c:v>
                </c:pt>
                <c:pt idx="410">
                  <c:v>3671842.8781750104</c:v>
                </c:pt>
                <c:pt idx="411">
                  <c:v>3616759.4406998493</c:v>
                </c:pt>
                <c:pt idx="412">
                  <c:v>3688018.3810129059</c:v>
                </c:pt>
                <c:pt idx="413">
                  <c:v>3700136.8340838058</c:v>
                </c:pt>
                <c:pt idx="414">
                  <c:v>3664989.3738982552</c:v>
                </c:pt>
                <c:pt idx="415">
                  <c:v>3722642.3826119169</c:v>
                </c:pt>
                <c:pt idx="416">
                  <c:v>3790666.7622880135</c:v>
                </c:pt>
                <c:pt idx="417">
                  <c:v>3689051.2451085998</c:v>
                </c:pt>
                <c:pt idx="418">
                  <c:v>3669920.1164108329</c:v>
                </c:pt>
                <c:pt idx="419">
                  <c:v>3703064.3826568411</c:v>
                </c:pt>
                <c:pt idx="420">
                  <c:v>3698919.4570424738</c:v>
                </c:pt>
                <c:pt idx="421">
                  <c:v>3714816.3239380275</c:v>
                </c:pt>
                <c:pt idx="422">
                  <c:v>3716650.4363285024</c:v>
                </c:pt>
                <c:pt idx="423">
                  <c:v>3692659.9518451928</c:v>
                </c:pt>
                <c:pt idx="424">
                  <c:v>3708476.9252023986</c:v>
                </c:pt>
                <c:pt idx="425">
                  <c:v>3700607.3174472624</c:v>
                </c:pt>
                <c:pt idx="426">
                  <c:v>3650787.5358751444</c:v>
                </c:pt>
                <c:pt idx="427">
                  <c:v>3611731.9511851394</c:v>
                </c:pt>
                <c:pt idx="428">
                  <c:v>3635747.7853839495</c:v>
                </c:pt>
                <c:pt idx="429">
                  <c:v>3644553.0513900607</c:v>
                </c:pt>
                <c:pt idx="430">
                  <c:v>3686395.1874423157</c:v>
                </c:pt>
                <c:pt idx="431">
                  <c:v>3674301.6141573167</c:v>
                </c:pt>
                <c:pt idx="432">
                  <c:v>3669684.7293889667</c:v>
                </c:pt>
                <c:pt idx="433">
                  <c:v>3691793.7637911825</c:v>
                </c:pt>
                <c:pt idx="434">
                  <c:v>3712162.5497196256</c:v>
                </c:pt>
                <c:pt idx="435">
                  <c:v>3705142.6387856877</c:v>
                </c:pt>
                <c:pt idx="436">
                  <c:v>3686170.171614293</c:v>
                </c:pt>
                <c:pt idx="437">
                  <c:v>3676549.083186748</c:v>
                </c:pt>
                <c:pt idx="438">
                  <c:v>3669480.1729459474</c:v>
                </c:pt>
                <c:pt idx="439">
                  <c:v>3668559.1263510007</c:v>
                </c:pt>
                <c:pt idx="440">
                  <c:v>3718954.7337733763</c:v>
                </c:pt>
                <c:pt idx="441">
                  <c:v>3735514.663099735</c:v>
                </c:pt>
                <c:pt idx="442">
                  <c:v>3705071.1401171004</c:v>
                </c:pt>
                <c:pt idx="443">
                  <c:v>3656317.1425593831</c:v>
                </c:pt>
                <c:pt idx="444">
                  <c:v>3632969.3618134474</c:v>
                </c:pt>
                <c:pt idx="445">
                  <c:v>3597130.8608157686</c:v>
                </c:pt>
                <c:pt idx="446">
                  <c:v>3661508.9468650185</c:v>
                </c:pt>
                <c:pt idx="447">
                  <c:v>3682604.9325159988</c:v>
                </c:pt>
                <c:pt idx="448">
                  <c:v>3696444.2417502953</c:v>
                </c:pt>
                <c:pt idx="449">
                  <c:v>3701243.8306324212</c:v>
                </c:pt>
                <c:pt idx="450">
                  <c:v>3664440.5103301425</c:v>
                </c:pt>
                <c:pt idx="451">
                  <c:v>3654707.2161941691</c:v>
                </c:pt>
                <c:pt idx="452">
                  <c:v>3622596.0992038636</c:v>
                </c:pt>
                <c:pt idx="453">
                  <c:v>3689292.3271366674</c:v>
                </c:pt>
                <c:pt idx="454">
                  <c:v>3635444.1138908109</c:v>
                </c:pt>
                <c:pt idx="455">
                  <c:v>3595092.1144610494</c:v>
                </c:pt>
                <c:pt idx="456">
                  <c:v>3656060.5658649611</c:v>
                </c:pt>
                <c:pt idx="457">
                  <c:v>3693438.5213370067</c:v>
                </c:pt>
                <c:pt idx="458">
                  <c:v>3648973.3328490551</c:v>
                </c:pt>
                <c:pt idx="459">
                  <c:v>3653622.5612404635</c:v>
                </c:pt>
                <c:pt idx="460">
                  <c:v>3665961.4106624578</c:v>
                </c:pt>
                <c:pt idx="461">
                  <c:v>3659491.0607427857</c:v>
                </c:pt>
                <c:pt idx="462">
                  <c:v>3340668.1526251789</c:v>
                </c:pt>
                <c:pt idx="463">
                  <c:v>3351765.2636037883</c:v>
                </c:pt>
                <c:pt idx="464">
                  <c:v>3650121.4869452044</c:v>
                </c:pt>
                <c:pt idx="465">
                  <c:v>3684695.3083238164</c:v>
                </c:pt>
                <c:pt idx="466">
                  <c:v>3688119.1175969434</c:v>
                </c:pt>
                <c:pt idx="467">
                  <c:v>3936751.7128517688</c:v>
                </c:pt>
                <c:pt idx="468">
                  <c:v>5206522.2524066102</c:v>
                </c:pt>
                <c:pt idx="469">
                  <c:v>3838149.8800654882</c:v>
                </c:pt>
                <c:pt idx="470">
                  <c:v>3688691.9102313463</c:v>
                </c:pt>
                <c:pt idx="471">
                  <c:v>3654363.8626488564</c:v>
                </c:pt>
                <c:pt idx="472">
                  <c:v>3695193.5581568168</c:v>
                </c:pt>
                <c:pt idx="473">
                  <c:v>3690825.6777496589</c:v>
                </c:pt>
                <c:pt idx="474">
                  <c:v>3696027.4593807873</c:v>
                </c:pt>
                <c:pt idx="475">
                  <c:v>3702756.4350137832</c:v>
                </c:pt>
                <c:pt idx="476">
                  <c:v>3709784.9294887148</c:v>
                </c:pt>
                <c:pt idx="477">
                  <c:v>3682050.4938918343</c:v>
                </c:pt>
                <c:pt idx="478">
                  <c:v>3625813.4604493221</c:v>
                </c:pt>
                <c:pt idx="479">
                  <c:v>3680293.0521925976</c:v>
                </c:pt>
                <c:pt idx="480">
                  <c:v>3664707.4721694877</c:v>
                </c:pt>
                <c:pt idx="481">
                  <c:v>3684179.8035747712</c:v>
                </c:pt>
                <c:pt idx="482">
                  <c:v>3724492.4000904351</c:v>
                </c:pt>
                <c:pt idx="483">
                  <c:v>3743280.6519854683</c:v>
                </c:pt>
                <c:pt idx="484">
                  <c:v>3725447.0558664831</c:v>
                </c:pt>
                <c:pt idx="485">
                  <c:v>3689889.5792254671</c:v>
                </c:pt>
                <c:pt idx="486">
                  <c:v>3652206.7336364719</c:v>
                </c:pt>
                <c:pt idx="487">
                  <c:v>2086425.0997618143</c:v>
                </c:pt>
                <c:pt idx="488">
                  <c:v>3661950.8262995216</c:v>
                </c:pt>
                <c:pt idx="489">
                  <c:v>3692083.5533377118</c:v>
                </c:pt>
                <c:pt idx="490">
                  <c:v>3706940.3892593007</c:v>
                </c:pt>
                <c:pt idx="491">
                  <c:v>3729447.8960556188</c:v>
                </c:pt>
                <c:pt idx="492">
                  <c:v>3876630.669076493</c:v>
                </c:pt>
                <c:pt idx="493">
                  <c:v>4142158.1892598378</c:v>
                </c:pt>
                <c:pt idx="494">
                  <c:v>4094978.4704505433</c:v>
                </c:pt>
                <c:pt idx="495">
                  <c:v>0</c:v>
                </c:pt>
                <c:pt idx="496">
                  <c:v>0</c:v>
                </c:pt>
                <c:pt idx="497">
                  <c:v>0</c:v>
                </c:pt>
                <c:pt idx="498">
                  <c:v>0</c:v>
                </c:pt>
                <c:pt idx="499">
                  <c:v>3700446.1131983148</c:v>
                </c:pt>
                <c:pt idx="500">
                  <c:v>3659486.1478092554</c:v>
                </c:pt>
                <c:pt idx="501">
                  <c:v>3693223.3216828094</c:v>
                </c:pt>
                <c:pt idx="502">
                  <c:v>3688508.6664255382</c:v>
                </c:pt>
                <c:pt idx="503">
                  <c:v>3673614.0625678105</c:v>
                </c:pt>
                <c:pt idx="504">
                  <c:v>3693636.7564973184</c:v>
                </c:pt>
                <c:pt idx="505">
                  <c:v>3676266.1782992417</c:v>
                </c:pt>
                <c:pt idx="506">
                  <c:v>4248876.683102645</c:v>
                </c:pt>
                <c:pt idx="507">
                  <c:v>3724718.8120445791</c:v>
                </c:pt>
                <c:pt idx="508">
                  <c:v>3720443.4550039372</c:v>
                </c:pt>
                <c:pt idx="509">
                  <c:v>-4961637.790944987</c:v>
                </c:pt>
                <c:pt idx="510">
                  <c:v>3677493.0328095243</c:v>
                </c:pt>
                <c:pt idx="511">
                  <c:v>3661165.8507190696</c:v>
                </c:pt>
                <c:pt idx="512">
                  <c:v>3640230.1834119768</c:v>
                </c:pt>
                <c:pt idx="513">
                  <c:v>3645430.7235766049</c:v>
                </c:pt>
                <c:pt idx="514">
                  <c:v>3669629.3192763887</c:v>
                </c:pt>
                <c:pt idx="515">
                  <c:v>3677231.1307232277</c:v>
                </c:pt>
                <c:pt idx="516">
                  <c:v>3658200.6343605001</c:v>
                </c:pt>
                <c:pt idx="517">
                  <c:v>3689915.3580221967</c:v>
                </c:pt>
                <c:pt idx="518">
                  <c:v>3736401.19560656</c:v>
                </c:pt>
                <c:pt idx="519">
                  <c:v>3642466.6123736924</c:v>
                </c:pt>
                <c:pt idx="520">
                  <c:v>3646782.2345295683</c:v>
                </c:pt>
                <c:pt idx="521">
                  <c:v>3635233.005845421</c:v>
                </c:pt>
                <c:pt idx="522">
                  <c:v>3654666.2712653521</c:v>
                </c:pt>
                <c:pt idx="523">
                  <c:v>3689290.1546467943</c:v>
                </c:pt>
                <c:pt idx="524">
                  <c:v>3601599.5011667097</c:v>
                </c:pt>
                <c:pt idx="525">
                  <c:v>3659628.1067988081</c:v>
                </c:pt>
                <c:pt idx="526">
                  <c:v>3710842.6475754869</c:v>
                </c:pt>
                <c:pt idx="527">
                  <c:v>3732218.1433916474</c:v>
                </c:pt>
                <c:pt idx="528">
                  <c:v>3614365.5836847471</c:v>
                </c:pt>
                <c:pt idx="529">
                  <c:v>3718992.2243309049</c:v>
                </c:pt>
                <c:pt idx="530">
                  <c:v>3707930.734290007</c:v>
                </c:pt>
                <c:pt idx="531">
                  <c:v>3739210.6293844287</c:v>
                </c:pt>
                <c:pt idx="532">
                  <c:v>3702036.8766566366</c:v>
                </c:pt>
                <c:pt idx="533">
                  <c:v>3714869.8359335195</c:v>
                </c:pt>
                <c:pt idx="534">
                  <c:v>3646806.366507228</c:v>
                </c:pt>
                <c:pt idx="535">
                  <c:v>3622200.8655438367</c:v>
                </c:pt>
                <c:pt idx="536">
                  <c:v>3625631.6779499887</c:v>
                </c:pt>
                <c:pt idx="537">
                  <c:v>3680019.2169000292</c:v>
                </c:pt>
                <c:pt idx="538">
                  <c:v>3641643.7774745701</c:v>
                </c:pt>
                <c:pt idx="539">
                  <c:v>3683623.2987995949</c:v>
                </c:pt>
                <c:pt idx="540">
                  <c:v>3736576.0005041347</c:v>
                </c:pt>
                <c:pt idx="541">
                  <c:v>3842612.0710050701</c:v>
                </c:pt>
                <c:pt idx="542">
                  <c:v>3818667.005405759</c:v>
                </c:pt>
                <c:pt idx="543">
                  <c:v>3768280.862548708</c:v>
                </c:pt>
                <c:pt idx="544">
                  <c:v>-6172531.9290571921</c:v>
                </c:pt>
                <c:pt idx="545">
                  <c:v>3682456.6080840947</c:v>
                </c:pt>
                <c:pt idx="546">
                  <c:v>2068810.3438764871</c:v>
                </c:pt>
                <c:pt idx="547">
                  <c:v>3682135.678760855</c:v>
                </c:pt>
                <c:pt idx="548">
                  <c:v>3615805.2647941024</c:v>
                </c:pt>
                <c:pt idx="549">
                  <c:v>3735542.7410755977</c:v>
                </c:pt>
                <c:pt idx="550">
                  <c:v>3628963.9510026276</c:v>
                </c:pt>
                <c:pt idx="551">
                  <c:v>3598523.3958037649</c:v>
                </c:pt>
                <c:pt idx="552">
                  <c:v>3607465.8250857661</c:v>
                </c:pt>
                <c:pt idx="553">
                  <c:v>3622834.6219607731</c:v>
                </c:pt>
                <c:pt idx="554">
                  <c:v>3603109.3081439296</c:v>
                </c:pt>
                <c:pt idx="555">
                  <c:v>3638576.8946834411</c:v>
                </c:pt>
                <c:pt idx="556">
                  <c:v>3623633.0275033456</c:v>
                </c:pt>
                <c:pt idx="557">
                  <c:v>3630076.4723848258</c:v>
                </c:pt>
                <c:pt idx="558">
                  <c:v>3628249.9477520497</c:v>
                </c:pt>
                <c:pt idx="559">
                  <c:v>3602264.5621348815</c:v>
                </c:pt>
                <c:pt idx="560">
                  <c:v>3595817.2565001459</c:v>
                </c:pt>
                <c:pt idx="561">
                  <c:v>3565169.8270278405</c:v>
                </c:pt>
                <c:pt idx="562">
                  <c:v>3674946.1132218922</c:v>
                </c:pt>
                <c:pt idx="563">
                  <c:v>3640334.1801313674</c:v>
                </c:pt>
                <c:pt idx="564">
                  <c:v>3691345.4998305012</c:v>
                </c:pt>
                <c:pt idx="565">
                  <c:v>3718926.8995448644</c:v>
                </c:pt>
                <c:pt idx="566">
                  <c:v>3685163.6941819089</c:v>
                </c:pt>
                <c:pt idx="567">
                  <c:v>3679480.364919581</c:v>
                </c:pt>
                <c:pt idx="568">
                  <c:v>3772873.277752927</c:v>
                </c:pt>
                <c:pt idx="569">
                  <c:v>3718305.2088421006</c:v>
                </c:pt>
                <c:pt idx="570">
                  <c:v>3818916.9796670824</c:v>
                </c:pt>
                <c:pt idx="571">
                  <c:v>3715527.5684714569</c:v>
                </c:pt>
                <c:pt idx="572">
                  <c:v>3681120.9373589191</c:v>
                </c:pt>
                <c:pt idx="573">
                  <c:v>3705188.1047710995</c:v>
                </c:pt>
                <c:pt idx="574">
                  <c:v>3684104.5379978349</c:v>
                </c:pt>
                <c:pt idx="575">
                  <c:v>3659187.7156986175</c:v>
                </c:pt>
                <c:pt idx="576">
                  <c:v>3666075.3329896503</c:v>
                </c:pt>
                <c:pt idx="577">
                  <c:v>3634208.7142972858</c:v>
                </c:pt>
                <c:pt idx="578">
                  <c:v>3663605.4850922115</c:v>
                </c:pt>
                <c:pt idx="579">
                  <c:v>3698807.7023041458</c:v>
                </c:pt>
                <c:pt idx="580">
                  <c:v>3756926.6221079677</c:v>
                </c:pt>
                <c:pt idx="581">
                  <c:v>3760015.1702037146</c:v>
                </c:pt>
                <c:pt idx="582">
                  <c:v>3647591.7315788744</c:v>
                </c:pt>
                <c:pt idx="583">
                  <c:v>3654839.5759690362</c:v>
                </c:pt>
                <c:pt idx="584">
                  <c:v>3694076.4052876998</c:v>
                </c:pt>
                <c:pt idx="585">
                  <c:v>3666314.4351101462</c:v>
                </c:pt>
                <c:pt idx="586">
                  <c:v>3713612.8328369739</c:v>
                </c:pt>
                <c:pt idx="587">
                  <c:v>3688328.3994842255</c:v>
                </c:pt>
                <c:pt idx="588">
                  <c:v>3652196.3725284571</c:v>
                </c:pt>
                <c:pt idx="589">
                  <c:v>3654186.8910241141</c:v>
                </c:pt>
                <c:pt idx="590">
                  <c:v>3717581.771662679</c:v>
                </c:pt>
                <c:pt idx="591">
                  <c:v>3661284.0319679971</c:v>
                </c:pt>
                <c:pt idx="592">
                  <c:v>3647655.1932711639</c:v>
                </c:pt>
                <c:pt idx="593">
                  <c:v>3623003.1940825302</c:v>
                </c:pt>
                <c:pt idx="594">
                  <c:v>3595391.6272807722</c:v>
                </c:pt>
                <c:pt idx="595">
                  <c:v>3607818.9212504458</c:v>
                </c:pt>
                <c:pt idx="596">
                  <c:v>3627167.9326615119</c:v>
                </c:pt>
                <c:pt idx="597">
                  <c:v>3606749.6035337015</c:v>
                </c:pt>
                <c:pt idx="598">
                  <c:v>3617731.169807863</c:v>
                </c:pt>
                <c:pt idx="599">
                  <c:v>3662150.9647308351</c:v>
                </c:pt>
                <c:pt idx="600">
                  <c:v>3724199.0175945899</c:v>
                </c:pt>
                <c:pt idx="601">
                  <c:v>3769206.579839664</c:v>
                </c:pt>
                <c:pt idx="602">
                  <c:v>3699495.382167378</c:v>
                </c:pt>
                <c:pt idx="603">
                  <c:v>3694377.8550601457</c:v>
                </c:pt>
                <c:pt idx="604">
                  <c:v>3652947.7834223378</c:v>
                </c:pt>
                <c:pt idx="605">
                  <c:v>3600511.6849533557</c:v>
                </c:pt>
                <c:pt idx="606">
                  <c:v>3610141.2577171139</c:v>
                </c:pt>
                <c:pt idx="607">
                  <c:v>3842614.9000693331</c:v>
                </c:pt>
                <c:pt idx="608">
                  <c:v>3648582.4017058173</c:v>
                </c:pt>
                <c:pt idx="609">
                  <c:v>3653652.9589765929</c:v>
                </c:pt>
                <c:pt idx="610">
                  <c:v>3709635.4827888245</c:v>
                </c:pt>
                <c:pt idx="611">
                  <c:v>3724221.2568875318</c:v>
                </c:pt>
                <c:pt idx="612">
                  <c:v>3737809.419317327</c:v>
                </c:pt>
                <c:pt idx="613">
                  <c:v>3628466.8587987898</c:v>
                </c:pt>
                <c:pt idx="614">
                  <c:v>3648019.7705774591</c:v>
                </c:pt>
                <c:pt idx="615">
                  <c:v>3676798.1416418827</c:v>
                </c:pt>
                <c:pt idx="616">
                  <c:v>3727785.8184262607</c:v>
                </c:pt>
                <c:pt idx="617">
                  <c:v>3686462.7674146136</c:v>
                </c:pt>
                <c:pt idx="618">
                  <c:v>3632717.5918277921</c:v>
                </c:pt>
                <c:pt idx="619">
                  <c:v>3613530.0332793933</c:v>
                </c:pt>
                <c:pt idx="620">
                  <c:v>3605241.9976825765</c:v>
                </c:pt>
                <c:pt idx="621">
                  <c:v>3679816.4234414413</c:v>
                </c:pt>
                <c:pt idx="622">
                  <c:v>3678191.7787003927</c:v>
                </c:pt>
                <c:pt idx="623">
                  <c:v>3777853.2117816317</c:v>
                </c:pt>
                <c:pt idx="624">
                  <c:v>3785651.9911466017</c:v>
                </c:pt>
                <c:pt idx="625">
                  <c:v>3874295.6208527749</c:v>
                </c:pt>
                <c:pt idx="626">
                  <c:v>3906666.3843235914</c:v>
                </c:pt>
                <c:pt idx="627">
                  <c:v>3976349.876177351</c:v>
                </c:pt>
                <c:pt idx="628">
                  <c:v>4024383.7344670901</c:v>
                </c:pt>
                <c:pt idx="629">
                  <c:v>3803675.1744933478</c:v>
                </c:pt>
                <c:pt idx="630">
                  <c:v>3736114.8868515054</c:v>
                </c:pt>
                <c:pt idx="631">
                  <c:v>3685787.562964458</c:v>
                </c:pt>
                <c:pt idx="632">
                  <c:v>3630217.5566190253</c:v>
                </c:pt>
                <c:pt idx="633">
                  <c:v>3629790.8241286529</c:v>
                </c:pt>
                <c:pt idx="634">
                  <c:v>3583231.500593516</c:v>
                </c:pt>
                <c:pt idx="635">
                  <c:v>3602817.3708087532</c:v>
                </c:pt>
                <c:pt idx="636">
                  <c:v>3625896.2085811161</c:v>
                </c:pt>
                <c:pt idx="637">
                  <c:v>3628924.5405856776</c:v>
                </c:pt>
                <c:pt idx="638">
                  <c:v>3713394.2608207925</c:v>
                </c:pt>
                <c:pt idx="639">
                  <c:v>3923334.1805568156</c:v>
                </c:pt>
                <c:pt idx="640">
                  <c:v>4062606.076578171</c:v>
                </c:pt>
                <c:pt idx="641">
                  <c:v>4851752.1996231508</c:v>
                </c:pt>
                <c:pt idx="642">
                  <c:v>0</c:v>
                </c:pt>
                <c:pt idx="643">
                  <c:v>4071427.0864306646</c:v>
                </c:pt>
                <c:pt idx="644">
                  <c:v>3876786.392423457</c:v>
                </c:pt>
                <c:pt idx="645">
                  <c:v>3771290.0006539086</c:v>
                </c:pt>
                <c:pt idx="646">
                  <c:v>3824610.0311394553</c:v>
                </c:pt>
                <c:pt idx="647">
                  <c:v>3871823.8931887681</c:v>
                </c:pt>
                <c:pt idx="648">
                  <c:v>3836075.4335187371</c:v>
                </c:pt>
                <c:pt idx="649">
                  <c:v>3741321.6431415505</c:v>
                </c:pt>
                <c:pt idx="650">
                  <c:v>3709316.4682983859</c:v>
                </c:pt>
                <c:pt idx="651">
                  <c:v>1470218.1531592936</c:v>
                </c:pt>
                <c:pt idx="652">
                  <c:v>3678681.5681159468</c:v>
                </c:pt>
                <c:pt idx="653">
                  <c:v>3640983.136561058</c:v>
                </c:pt>
                <c:pt idx="654">
                  <c:v>3661759.7338164118</c:v>
                </c:pt>
                <c:pt idx="655">
                  <c:v>3953289.3594493363</c:v>
                </c:pt>
                <c:pt idx="656">
                  <c:v>3691055.6229645787</c:v>
                </c:pt>
                <c:pt idx="657">
                  <c:v>3700254.249769649</c:v>
                </c:pt>
                <c:pt idx="658">
                  <c:v>3678674.3233136386</c:v>
                </c:pt>
                <c:pt idx="659">
                  <c:v>3794847.6502025537</c:v>
                </c:pt>
                <c:pt idx="660">
                  <c:v>3635534.8913542372</c:v>
                </c:pt>
                <c:pt idx="661">
                  <c:v>3669356.5812452594</c:v>
                </c:pt>
                <c:pt idx="662">
                  <c:v>3609945.2533591921</c:v>
                </c:pt>
                <c:pt idx="663">
                  <c:v>3618292.5435141306</c:v>
                </c:pt>
                <c:pt idx="664">
                  <c:v>3591704.6661603721</c:v>
                </c:pt>
                <c:pt idx="665">
                  <c:v>3614727.9336109734</c:v>
                </c:pt>
                <c:pt idx="666">
                  <c:v>3684860.1525410851</c:v>
                </c:pt>
                <c:pt idx="667">
                  <c:v>3666434.6279493328</c:v>
                </c:pt>
                <c:pt idx="668">
                  <c:v>3671720.7251799842</c:v>
                </c:pt>
                <c:pt idx="669">
                  <c:v>3874005.3523075967</c:v>
                </c:pt>
                <c:pt idx="670">
                  <c:v>3623264.5314965495</c:v>
                </c:pt>
                <c:pt idx="671">
                  <c:v>3646508.7111337106</c:v>
                </c:pt>
                <c:pt idx="672">
                  <c:v>3637917.4136453513</c:v>
                </c:pt>
                <c:pt idx="673">
                  <c:v>3621040.4902793751</c:v>
                </c:pt>
                <c:pt idx="674">
                  <c:v>3646437.9814882553</c:v>
                </c:pt>
                <c:pt idx="675">
                  <c:v>3605093.0172629058</c:v>
                </c:pt>
                <c:pt idx="676">
                  <c:v>3637495.0748960306</c:v>
                </c:pt>
                <c:pt idx="677">
                  <c:v>3687030.6232301327</c:v>
                </c:pt>
                <c:pt idx="678">
                  <c:v>3633236.0740191704</c:v>
                </c:pt>
                <c:pt idx="679">
                  <c:v>3718546.7436960489</c:v>
                </c:pt>
                <c:pt idx="680">
                  <c:v>3675044.5498466669</c:v>
                </c:pt>
                <c:pt idx="681">
                  <c:v>3765417.2600946939</c:v>
                </c:pt>
                <c:pt idx="682">
                  <c:v>3732188.7205449794</c:v>
                </c:pt>
                <c:pt idx="683">
                  <c:v>3594329.9688735586</c:v>
                </c:pt>
                <c:pt idx="684">
                  <c:v>3689943.4454148542</c:v>
                </c:pt>
                <c:pt idx="685">
                  <c:v>3575315.5550178336</c:v>
                </c:pt>
                <c:pt idx="686">
                  <c:v>3607417.5282478337</c:v>
                </c:pt>
                <c:pt idx="687">
                  <c:v>3610903.1030927766</c:v>
                </c:pt>
                <c:pt idx="688">
                  <c:v>3591622.6869104193</c:v>
                </c:pt>
                <c:pt idx="689">
                  <c:v>3616109.761091698</c:v>
                </c:pt>
                <c:pt idx="690">
                  <c:v>3622118.7415608126</c:v>
                </c:pt>
                <c:pt idx="691">
                  <c:v>3643964.6980587007</c:v>
                </c:pt>
                <c:pt idx="692">
                  <c:v>3662259.9941988075</c:v>
                </c:pt>
                <c:pt idx="693">
                  <c:v>3631989.8856723844</c:v>
                </c:pt>
                <c:pt idx="694">
                  <c:v>3630564.6670911233</c:v>
                </c:pt>
                <c:pt idx="695">
                  <c:v>3614056.1045126542</c:v>
                </c:pt>
                <c:pt idx="696">
                  <c:v>3637397.9856939325</c:v>
                </c:pt>
                <c:pt idx="697">
                  <c:v>3645852.0043525388</c:v>
                </c:pt>
                <c:pt idx="698">
                  <c:v>3609581.4436051901</c:v>
                </c:pt>
                <c:pt idx="699">
                  <c:v>3612956.8749102145</c:v>
                </c:pt>
                <c:pt idx="700">
                  <c:v>3622245.8526733569</c:v>
                </c:pt>
                <c:pt idx="701">
                  <c:v>3731188.0381086352</c:v>
                </c:pt>
                <c:pt idx="702">
                  <c:v>3677210.3762309728</c:v>
                </c:pt>
                <c:pt idx="703">
                  <c:v>3615938.8661044752</c:v>
                </c:pt>
                <c:pt idx="704">
                  <c:v>3611108.3742654352</c:v>
                </c:pt>
                <c:pt idx="705">
                  <c:v>3628113.0971612842</c:v>
                </c:pt>
                <c:pt idx="706">
                  <c:v>3650147.2449585726</c:v>
                </c:pt>
                <c:pt idx="707">
                  <c:v>3623959.5020079562</c:v>
                </c:pt>
                <c:pt idx="708">
                  <c:v>3766578.8159533581</c:v>
                </c:pt>
                <c:pt idx="709">
                  <c:v>3676914.0745962816</c:v>
                </c:pt>
                <c:pt idx="710">
                  <c:v>3647268.6723015639</c:v>
                </c:pt>
                <c:pt idx="711">
                  <c:v>3622566.7439112361</c:v>
                </c:pt>
                <c:pt idx="712">
                  <c:v>3743764.6015594895</c:v>
                </c:pt>
                <c:pt idx="713">
                  <c:v>3713792.5051042642</c:v>
                </c:pt>
                <c:pt idx="714">
                  <c:v>3634158.6610432109</c:v>
                </c:pt>
                <c:pt idx="715">
                  <c:v>3693859.1901509948</c:v>
                </c:pt>
                <c:pt idx="716">
                  <c:v>3673204.3302552598</c:v>
                </c:pt>
                <c:pt idx="717">
                  <c:v>3677065.8598120636</c:v>
                </c:pt>
                <c:pt idx="718">
                  <c:v>3610912.2629001266</c:v>
                </c:pt>
                <c:pt idx="719">
                  <c:v>3646408.3931604768</c:v>
                </c:pt>
                <c:pt idx="720">
                  <c:v>3643301.4255538895</c:v>
                </c:pt>
                <c:pt idx="721">
                  <c:v>3684721.3365953295</c:v>
                </c:pt>
                <c:pt idx="722">
                  <c:v>3719118.8107427726</c:v>
                </c:pt>
                <c:pt idx="723">
                  <c:v>3724140.7313695466</c:v>
                </c:pt>
                <c:pt idx="724">
                  <c:v>3851268.5061163264</c:v>
                </c:pt>
                <c:pt idx="725">
                  <c:v>5757126.3302742653</c:v>
                </c:pt>
                <c:pt idx="726">
                  <c:v>4140371.3673973745</c:v>
                </c:pt>
                <c:pt idx="727">
                  <c:v>3729637.8561532297</c:v>
                </c:pt>
                <c:pt idx="728">
                  <c:v>3645381.5424524397</c:v>
                </c:pt>
                <c:pt idx="729">
                  <c:v>3637175.4154399568</c:v>
                </c:pt>
                <c:pt idx="730">
                  <c:v>3637535.3308072137</c:v>
                </c:pt>
                <c:pt idx="731">
                  <c:v>3654140.6558778724</c:v>
                </c:pt>
                <c:pt idx="732">
                  <c:v>3676576.6774422331</c:v>
                </c:pt>
                <c:pt idx="733">
                  <c:v>3639708.5271471082</c:v>
                </c:pt>
                <c:pt idx="734">
                  <c:v>3639346.7928042742</c:v>
                </c:pt>
                <c:pt idx="735">
                  <c:v>3640668.1548764776</c:v>
                </c:pt>
                <c:pt idx="736">
                  <c:v>3653500.7936642081</c:v>
                </c:pt>
                <c:pt idx="737">
                  <c:v>3645657.8718412863</c:v>
                </c:pt>
                <c:pt idx="738">
                  <c:v>3670338.0020210063</c:v>
                </c:pt>
                <c:pt idx="739">
                  <c:v>3685247.710985716</c:v>
                </c:pt>
                <c:pt idx="740">
                  <c:v>3642510.5249135443</c:v>
                </c:pt>
                <c:pt idx="741">
                  <c:v>3634778.9147374076</c:v>
                </c:pt>
                <c:pt idx="742">
                  <c:v>3637627.8635277282</c:v>
                </c:pt>
                <c:pt idx="743">
                  <c:v>3612384.0950483098</c:v>
                </c:pt>
                <c:pt idx="744">
                  <c:v>3606394.5492920447</c:v>
                </c:pt>
                <c:pt idx="745">
                  <c:v>3600251.708377209</c:v>
                </c:pt>
                <c:pt idx="746">
                  <c:v>3621345.2117182659</c:v>
                </c:pt>
                <c:pt idx="747">
                  <c:v>3641599.8059822326</c:v>
                </c:pt>
                <c:pt idx="748">
                  <c:v>3643048.7616350176</c:v>
                </c:pt>
                <c:pt idx="749">
                  <c:v>3624139.0335773807</c:v>
                </c:pt>
                <c:pt idx="750">
                  <c:v>3622621.8200669619</c:v>
                </c:pt>
                <c:pt idx="751">
                  <c:v>3638377.0452356962</c:v>
                </c:pt>
                <c:pt idx="752">
                  <c:v>3514882.5523535102</c:v>
                </c:pt>
                <c:pt idx="753">
                  <c:v>3624861.0238068942</c:v>
                </c:pt>
                <c:pt idx="754">
                  <c:v>3604764.249867938</c:v>
                </c:pt>
                <c:pt idx="755">
                  <c:v>3616127.9868312413</c:v>
                </c:pt>
                <c:pt idx="756">
                  <c:v>3654007.7446591477</c:v>
                </c:pt>
                <c:pt idx="757">
                  <c:v>3620495.326402083</c:v>
                </c:pt>
                <c:pt idx="758">
                  <c:v>3653980.5894235275</c:v>
                </c:pt>
                <c:pt idx="759">
                  <c:v>3655208.0092684473</c:v>
                </c:pt>
                <c:pt idx="760">
                  <c:v>3640291.5817767065</c:v>
                </c:pt>
                <c:pt idx="761">
                  <c:v>3666709.3822438889</c:v>
                </c:pt>
                <c:pt idx="762">
                  <c:v>3669300.1525760219</c:v>
                </c:pt>
                <c:pt idx="763">
                  <c:v>3633868.1435675644</c:v>
                </c:pt>
                <c:pt idx="764">
                  <c:v>3648737.2984718266</c:v>
                </c:pt>
                <c:pt idx="765">
                  <c:v>3692931.1168041239</c:v>
                </c:pt>
                <c:pt idx="766">
                  <c:v>3637072.3613587329</c:v>
                </c:pt>
                <c:pt idx="767">
                  <c:v>3699445.1200464373</c:v>
                </c:pt>
                <c:pt idx="768">
                  <c:v>3644047.4442910976</c:v>
                </c:pt>
                <c:pt idx="769">
                  <c:v>3719265.4995304029</c:v>
                </c:pt>
                <c:pt idx="770">
                  <c:v>3718846.6758432044</c:v>
                </c:pt>
                <c:pt idx="771">
                  <c:v>3662250.0065988312</c:v>
                </c:pt>
                <c:pt idx="772">
                  <c:v>3658113.4150723917</c:v>
                </c:pt>
                <c:pt idx="773">
                  <c:v>3630127.8066167245</c:v>
                </c:pt>
                <c:pt idx="774">
                  <c:v>3657077.9430307932</c:v>
                </c:pt>
                <c:pt idx="775">
                  <c:v>3642665.8351536263</c:v>
                </c:pt>
                <c:pt idx="776">
                  <c:v>3635490.3696315694</c:v>
                </c:pt>
                <c:pt idx="777">
                  <c:v>3660564.9222102794</c:v>
                </c:pt>
                <c:pt idx="778">
                  <c:v>3667056.522581826</c:v>
                </c:pt>
                <c:pt idx="779">
                  <c:v>3654642.6888724114</c:v>
                </c:pt>
                <c:pt idx="780">
                  <c:v>3642625.6757026897</c:v>
                </c:pt>
                <c:pt idx="781">
                  <c:v>3664754.3928707056</c:v>
                </c:pt>
                <c:pt idx="782">
                  <c:v>3662703.5419851067</c:v>
                </c:pt>
                <c:pt idx="783">
                  <c:v>3658502.60928895</c:v>
                </c:pt>
                <c:pt idx="784">
                  <c:v>3687500.085457772</c:v>
                </c:pt>
                <c:pt idx="785">
                  <c:v>3667781.8459592224</c:v>
                </c:pt>
                <c:pt idx="786">
                  <c:v>3668153.8827422475</c:v>
                </c:pt>
                <c:pt idx="787">
                  <c:v>3677204.7752403133</c:v>
                </c:pt>
                <c:pt idx="788">
                  <c:v>3790090.6304478385</c:v>
                </c:pt>
                <c:pt idx="789">
                  <c:v>4206411.4369665263</c:v>
                </c:pt>
                <c:pt idx="790">
                  <c:v>3705159.1731871874</c:v>
                </c:pt>
                <c:pt idx="791">
                  <c:v>3651748.3671598528</c:v>
                </c:pt>
                <c:pt idx="792">
                  <c:v>3668815.0870468169</c:v>
                </c:pt>
                <c:pt idx="793">
                  <c:v>3681756.2025096719</c:v>
                </c:pt>
                <c:pt idx="794">
                  <c:v>3657462.320398889</c:v>
                </c:pt>
                <c:pt idx="795">
                  <c:v>3661321.8249154775</c:v>
                </c:pt>
                <c:pt idx="796">
                  <c:v>3680461.3912110785</c:v>
                </c:pt>
                <c:pt idx="797">
                  <c:v>3668338.1226931964</c:v>
                </c:pt>
                <c:pt idx="798">
                  <c:v>3670618.7449826323</c:v>
                </c:pt>
                <c:pt idx="799">
                  <c:v>3683671.4801278296</c:v>
                </c:pt>
                <c:pt idx="800">
                  <c:v>3683149.4878078252</c:v>
                </c:pt>
                <c:pt idx="801">
                  <c:v>3659433.7610721444</c:v>
                </c:pt>
                <c:pt idx="802">
                  <c:v>3690221.4029123602</c:v>
                </c:pt>
                <c:pt idx="803">
                  <c:v>3678327.6070757867</c:v>
                </c:pt>
                <c:pt idx="804">
                  <c:v>3668104.8581583444</c:v>
                </c:pt>
                <c:pt idx="805">
                  <c:v>3713421.2403006577</c:v>
                </c:pt>
                <c:pt idx="806">
                  <c:v>3712954.7261228608</c:v>
                </c:pt>
                <c:pt idx="807">
                  <c:v>3689203.2362948707</c:v>
                </c:pt>
                <c:pt idx="808">
                  <c:v>3693494.2952502621</c:v>
                </c:pt>
                <c:pt idx="809">
                  <c:v>3701088.7758852206</c:v>
                </c:pt>
                <c:pt idx="810">
                  <c:v>3715479.8248049361</c:v>
                </c:pt>
                <c:pt idx="811">
                  <c:v>3711175.8203770421</c:v>
                </c:pt>
                <c:pt idx="812">
                  <c:v>3727528.6512058983</c:v>
                </c:pt>
                <c:pt idx="813">
                  <c:v>3737176.3980018725</c:v>
                </c:pt>
                <c:pt idx="814">
                  <c:v>3707229.2633800688</c:v>
                </c:pt>
                <c:pt idx="815">
                  <c:v>3725590.4953520377</c:v>
                </c:pt>
                <c:pt idx="816">
                  <c:v>3697863.5605390156</c:v>
                </c:pt>
                <c:pt idx="817">
                  <c:v>3671762.6952151819</c:v>
                </c:pt>
                <c:pt idx="818">
                  <c:v>3688883.6043852516</c:v>
                </c:pt>
                <c:pt idx="819">
                  <c:v>3713226.2927391105</c:v>
                </c:pt>
                <c:pt idx="820">
                  <c:v>3675119.5370815587</c:v>
                </c:pt>
                <c:pt idx="821">
                  <c:v>3787983.9533278383</c:v>
                </c:pt>
                <c:pt idx="822">
                  <c:v>3776731.8620300521</c:v>
                </c:pt>
                <c:pt idx="823">
                  <c:v>3776849.4910402186</c:v>
                </c:pt>
                <c:pt idx="824">
                  <c:v>3732671.6961311791</c:v>
                </c:pt>
                <c:pt idx="825">
                  <c:v>3796395.2574250381</c:v>
                </c:pt>
                <c:pt idx="826">
                  <c:v>3785178.7838524268</c:v>
                </c:pt>
                <c:pt idx="827">
                  <c:v>3800066.1391615206</c:v>
                </c:pt>
                <c:pt idx="828">
                  <c:v>3825929.7417898746</c:v>
                </c:pt>
                <c:pt idx="829">
                  <c:v>3791645.5781815113</c:v>
                </c:pt>
                <c:pt idx="830">
                  <c:v>3810789.3419257067</c:v>
                </c:pt>
                <c:pt idx="831">
                  <c:v>3818025.8651256962</c:v>
                </c:pt>
                <c:pt idx="832">
                  <c:v>3806014.3712212378</c:v>
                </c:pt>
                <c:pt idx="833">
                  <c:v>3797887.6275236844</c:v>
                </c:pt>
                <c:pt idx="834">
                  <c:v>3768023.1501992941</c:v>
                </c:pt>
                <c:pt idx="835">
                  <c:v>3672682.5632161782</c:v>
                </c:pt>
                <c:pt idx="836">
                  <c:v>3687670.5017248769</c:v>
                </c:pt>
                <c:pt idx="837">
                  <c:v>3692154.1688780133</c:v>
                </c:pt>
                <c:pt idx="838">
                  <c:v>3683075.902854952</c:v>
                </c:pt>
                <c:pt idx="839">
                  <c:v>3675111.4697114262</c:v>
                </c:pt>
                <c:pt idx="840">
                  <c:v>3708927.2922060848</c:v>
                </c:pt>
                <c:pt idx="841">
                  <c:v>3727390.4936235351</c:v>
                </c:pt>
                <c:pt idx="842">
                  <c:v>3694601.0100125787</c:v>
                </c:pt>
                <c:pt idx="843">
                  <c:v>3711555.4734243462</c:v>
                </c:pt>
                <c:pt idx="844">
                  <c:v>3707543.5146371271</c:v>
                </c:pt>
                <c:pt idx="845">
                  <c:v>3704629.2014139919</c:v>
                </c:pt>
                <c:pt idx="846">
                  <c:v>3754722.4185187914</c:v>
                </c:pt>
                <c:pt idx="847">
                  <c:v>3707896.4616734716</c:v>
                </c:pt>
                <c:pt idx="848">
                  <c:v>3679144.2911062962</c:v>
                </c:pt>
                <c:pt idx="849">
                  <c:v>3732307.7755670622</c:v>
                </c:pt>
                <c:pt idx="850">
                  <c:v>3698452.2352426848</c:v>
                </c:pt>
                <c:pt idx="851">
                  <c:v>3681377.6547717107</c:v>
                </c:pt>
                <c:pt idx="852">
                  <c:v>3769600.5865163868</c:v>
                </c:pt>
                <c:pt idx="853">
                  <c:v>3704992.0112693985</c:v>
                </c:pt>
                <c:pt idx="854">
                  <c:v>3715732.5118163573</c:v>
                </c:pt>
                <c:pt idx="855">
                  <c:v>3703310.9904605383</c:v>
                </c:pt>
                <c:pt idx="856">
                  <c:v>3746083.5429053935</c:v>
                </c:pt>
                <c:pt idx="857">
                  <c:v>3735795.6819595913</c:v>
                </c:pt>
                <c:pt idx="858">
                  <c:v>3728334.7098276168</c:v>
                </c:pt>
                <c:pt idx="859">
                  <c:v>3771526.5589603987</c:v>
                </c:pt>
                <c:pt idx="860">
                  <c:v>3862135.6263651145</c:v>
                </c:pt>
                <c:pt idx="861">
                  <c:v>4386849.6703926707</c:v>
                </c:pt>
                <c:pt idx="862">
                  <c:v>3946422.2455985467</c:v>
                </c:pt>
                <c:pt idx="863">
                  <c:v>3708626.4795250506</c:v>
                </c:pt>
                <c:pt idx="864">
                  <c:v>4081897.6938968776</c:v>
                </c:pt>
                <c:pt idx="865">
                  <c:v>4047431.4092726614</c:v>
                </c:pt>
                <c:pt idx="866">
                  <c:v>3677004.1556558334</c:v>
                </c:pt>
                <c:pt idx="867">
                  <c:v>3717342.349032958</c:v>
                </c:pt>
                <c:pt idx="868">
                  <c:v>3765406.3909821822</c:v>
                </c:pt>
                <c:pt idx="869">
                  <c:v>3703465.2541257935</c:v>
                </c:pt>
                <c:pt idx="870">
                  <c:v>3669774.8548583668</c:v>
                </c:pt>
                <c:pt idx="871">
                  <c:v>3680264.8763283254</c:v>
                </c:pt>
                <c:pt idx="872">
                  <c:v>3697701.6626395509</c:v>
                </c:pt>
                <c:pt idx="873">
                  <c:v>3702178.9447810366</c:v>
                </c:pt>
                <c:pt idx="874">
                  <c:v>3696448.8646370233</c:v>
                </c:pt>
                <c:pt idx="875">
                  <c:v>3714340.5504712895</c:v>
                </c:pt>
                <c:pt idx="876">
                  <c:v>3713265.9954590783</c:v>
                </c:pt>
                <c:pt idx="877">
                  <c:v>3697650.6553229275</c:v>
                </c:pt>
                <c:pt idx="878">
                  <c:v>3688674.7602596264</c:v>
                </c:pt>
                <c:pt idx="879">
                  <c:v>3690424.2638454949</c:v>
                </c:pt>
                <c:pt idx="880">
                  <c:v>3691528.3959414186</c:v>
                </c:pt>
                <c:pt idx="881">
                  <c:v>3685615.8514136383</c:v>
                </c:pt>
                <c:pt idx="882">
                  <c:v>3715596.8753809095</c:v>
                </c:pt>
                <c:pt idx="883">
                  <c:v>3647543.6229033065</c:v>
                </c:pt>
                <c:pt idx="884">
                  <c:v>3688955.6060671369</c:v>
                </c:pt>
                <c:pt idx="885">
                  <c:v>3691464.8398134382</c:v>
                </c:pt>
                <c:pt idx="886">
                  <c:v>3714991.7279012557</c:v>
                </c:pt>
                <c:pt idx="887">
                  <c:v>3681185.3292143024</c:v>
                </c:pt>
                <c:pt idx="888">
                  <c:v>3711965.6109429328</c:v>
                </c:pt>
                <c:pt idx="889">
                  <c:v>3705710.4179355763</c:v>
                </c:pt>
                <c:pt idx="890">
                  <c:v>3710269.6265019584</c:v>
                </c:pt>
                <c:pt idx="891">
                  <c:v>3725818.6556040552</c:v>
                </c:pt>
                <c:pt idx="892">
                  <c:v>3718782.9952162993</c:v>
                </c:pt>
                <c:pt idx="893">
                  <c:v>3704974.4489610335</c:v>
                </c:pt>
                <c:pt idx="894">
                  <c:v>3703780.5622214796</c:v>
                </c:pt>
                <c:pt idx="895">
                  <c:v>3717776.9662749371</c:v>
                </c:pt>
                <c:pt idx="896">
                  <c:v>3707093.8172255154</c:v>
                </c:pt>
                <c:pt idx="897">
                  <c:v>3726517.5818861891</c:v>
                </c:pt>
                <c:pt idx="898">
                  <c:v>3728739.9924189388</c:v>
                </c:pt>
                <c:pt idx="899">
                  <c:v>3687236.286276957</c:v>
                </c:pt>
                <c:pt idx="900">
                  <c:v>3717037.7997783595</c:v>
                </c:pt>
                <c:pt idx="901">
                  <c:v>3738127.3850876745</c:v>
                </c:pt>
                <c:pt idx="902">
                  <c:v>3710536.7569742533</c:v>
                </c:pt>
                <c:pt idx="903">
                  <c:v>3701322.8639952261</c:v>
                </c:pt>
                <c:pt idx="904">
                  <c:v>3724893.1086500161</c:v>
                </c:pt>
                <c:pt idx="905">
                  <c:v>3752475.1190606654</c:v>
                </c:pt>
                <c:pt idx="906">
                  <c:v>3753738.8867805586</c:v>
                </c:pt>
                <c:pt idx="907">
                  <c:v>3755481.6718188007</c:v>
                </c:pt>
                <c:pt idx="908">
                  <c:v>3742181.604593704</c:v>
                </c:pt>
                <c:pt idx="909">
                  <c:v>3765546.2920497782</c:v>
                </c:pt>
                <c:pt idx="910">
                  <c:v>3720328.0058140764</c:v>
                </c:pt>
                <c:pt idx="911">
                  <c:v>3732911.64039431</c:v>
                </c:pt>
                <c:pt idx="912">
                  <c:v>3711460.7544507659</c:v>
                </c:pt>
                <c:pt idx="913">
                  <c:v>3675490.6166668343</c:v>
                </c:pt>
                <c:pt idx="914">
                  <c:v>3701000.965396638</c:v>
                </c:pt>
                <c:pt idx="915">
                  <c:v>3697351.5174043658</c:v>
                </c:pt>
                <c:pt idx="916">
                  <c:v>3714825.6075882073</c:v>
                </c:pt>
                <c:pt idx="917">
                  <c:v>3679615.2784529254</c:v>
                </c:pt>
                <c:pt idx="918">
                  <c:v>3740400.3331733742</c:v>
                </c:pt>
                <c:pt idx="919">
                  <c:v>3747438.0635605869</c:v>
                </c:pt>
                <c:pt idx="920">
                  <c:v>3744381.1646536356</c:v>
                </c:pt>
                <c:pt idx="921">
                  <c:v>3724360.963967727</c:v>
                </c:pt>
                <c:pt idx="922">
                  <c:v>3780161.3737595226</c:v>
                </c:pt>
                <c:pt idx="923">
                  <c:v>3846288.6451594648</c:v>
                </c:pt>
                <c:pt idx="924">
                  <c:v>3760293.4902569382</c:v>
                </c:pt>
                <c:pt idx="925">
                  <c:v>3778646.3072122619</c:v>
                </c:pt>
                <c:pt idx="926">
                  <c:v>3752026.2406191458</c:v>
                </c:pt>
                <c:pt idx="927">
                  <c:v>3702822.2964430694</c:v>
                </c:pt>
                <c:pt idx="928">
                  <c:v>3713978.8582867435</c:v>
                </c:pt>
                <c:pt idx="929">
                  <c:v>3750632.2551810089</c:v>
                </c:pt>
                <c:pt idx="930">
                  <c:v>3673242.8698172844</c:v>
                </c:pt>
                <c:pt idx="931">
                  <c:v>3737411.5087132957</c:v>
                </c:pt>
                <c:pt idx="932">
                  <c:v>3745583.289455561</c:v>
                </c:pt>
                <c:pt idx="933">
                  <c:v>3679798.1267425204</c:v>
                </c:pt>
                <c:pt idx="934">
                  <c:v>3716044.9857155317</c:v>
                </c:pt>
                <c:pt idx="935">
                  <c:v>3737312.379824827</c:v>
                </c:pt>
                <c:pt idx="936">
                  <c:v>3655534.3866953477</c:v>
                </c:pt>
                <c:pt idx="937">
                  <c:v>3569060.4662296865</c:v>
                </c:pt>
                <c:pt idx="938">
                  <c:v>3555166.5899819108</c:v>
                </c:pt>
                <c:pt idx="939">
                  <c:v>3650327.2267355421</c:v>
                </c:pt>
                <c:pt idx="940">
                  <c:v>3671973.1305261124</c:v>
                </c:pt>
                <c:pt idx="941">
                  <c:v>3669395.3369584423</c:v>
                </c:pt>
                <c:pt idx="942">
                  <c:v>3679910.9302317854</c:v>
                </c:pt>
                <c:pt idx="943">
                  <c:v>3698033.7188439448</c:v>
                </c:pt>
                <c:pt idx="944">
                  <c:v>3700866.062712084</c:v>
                </c:pt>
                <c:pt idx="945">
                  <c:v>3732255.7440634016</c:v>
                </c:pt>
                <c:pt idx="946">
                  <c:v>3667655.2847811719</c:v>
                </c:pt>
                <c:pt idx="947">
                  <c:v>3691317.7871990423</c:v>
                </c:pt>
                <c:pt idx="948">
                  <c:v>3740983.3380097998</c:v>
                </c:pt>
                <c:pt idx="949">
                  <c:v>3738640.5586858001</c:v>
                </c:pt>
                <c:pt idx="950">
                  <c:v>3723426.9430773668</c:v>
                </c:pt>
                <c:pt idx="951">
                  <c:v>3718148.5550578348</c:v>
                </c:pt>
                <c:pt idx="952">
                  <c:v>3710523.2421166645</c:v>
                </c:pt>
                <c:pt idx="953">
                  <c:v>3702975.0127695389</c:v>
                </c:pt>
                <c:pt idx="954">
                  <c:v>3733995.6976067233</c:v>
                </c:pt>
                <c:pt idx="955">
                  <c:v>3967624.7859702501</c:v>
                </c:pt>
                <c:pt idx="956">
                  <c:v>5852023.359255353</c:v>
                </c:pt>
                <c:pt idx="957">
                  <c:v>5372503.4523484455</c:v>
                </c:pt>
                <c:pt idx="958">
                  <c:v>4004404.4181912597</c:v>
                </c:pt>
                <c:pt idx="959">
                  <c:v>3731577.8489217153</c:v>
                </c:pt>
                <c:pt idx="960">
                  <c:v>3761818.5260174335</c:v>
                </c:pt>
                <c:pt idx="961">
                  <c:v>3714724.1912598382</c:v>
                </c:pt>
                <c:pt idx="962">
                  <c:v>3721226.1331877685</c:v>
                </c:pt>
                <c:pt idx="963">
                  <c:v>3766754.9151034569</c:v>
                </c:pt>
                <c:pt idx="964">
                  <c:v>3752265.8399867285</c:v>
                </c:pt>
                <c:pt idx="965">
                  <c:v>3718558.0631863843</c:v>
                </c:pt>
                <c:pt idx="966">
                  <c:v>3669072.6915674796</c:v>
                </c:pt>
                <c:pt idx="967">
                  <c:v>3666427.3660838003</c:v>
                </c:pt>
                <c:pt idx="968">
                  <c:v>3668662.2806165544</c:v>
                </c:pt>
                <c:pt idx="969">
                  <c:v>3685354.4448047248</c:v>
                </c:pt>
                <c:pt idx="970">
                  <c:v>3680920.4411483831</c:v>
                </c:pt>
                <c:pt idx="971">
                  <c:v>3693069.2128043212</c:v>
                </c:pt>
                <c:pt idx="972">
                  <c:v>3668409.8971689786</c:v>
                </c:pt>
                <c:pt idx="973">
                  <c:v>3678042.6528663863</c:v>
                </c:pt>
                <c:pt idx="974">
                  <c:v>3698617.7047994817</c:v>
                </c:pt>
                <c:pt idx="975">
                  <c:v>3683446.0417502197</c:v>
                </c:pt>
                <c:pt idx="976">
                  <c:v>3697592.5403996082</c:v>
                </c:pt>
                <c:pt idx="977">
                  <c:v>3694909.3307339209</c:v>
                </c:pt>
                <c:pt idx="978">
                  <c:v>3718421.4542843211</c:v>
                </c:pt>
                <c:pt idx="979">
                  <c:v>3701937.9341428108</c:v>
                </c:pt>
                <c:pt idx="980">
                  <c:v>3690977.0217726175</c:v>
                </c:pt>
                <c:pt idx="981">
                  <c:v>3725633.9766778424</c:v>
                </c:pt>
                <c:pt idx="982">
                  <c:v>3711986.9762624535</c:v>
                </c:pt>
                <c:pt idx="983">
                  <c:v>3736060.6965026422</c:v>
                </c:pt>
                <c:pt idx="984">
                  <c:v>3737644.6743942453</c:v>
                </c:pt>
                <c:pt idx="985">
                  <c:v>3752612.3701014114</c:v>
                </c:pt>
                <c:pt idx="986">
                  <c:v>3822247.2411932927</c:v>
                </c:pt>
                <c:pt idx="987">
                  <c:v>3757205.1936094286</c:v>
                </c:pt>
                <c:pt idx="988">
                  <c:v>3699310.9607694005</c:v>
                </c:pt>
                <c:pt idx="989">
                  <c:v>3695494.346160125</c:v>
                </c:pt>
                <c:pt idx="990">
                  <c:v>3711219.8733490561</c:v>
                </c:pt>
                <c:pt idx="991">
                  <c:v>3723803.715827181</c:v>
                </c:pt>
                <c:pt idx="992">
                  <c:v>3719194.9745184337</c:v>
                </c:pt>
                <c:pt idx="993">
                  <c:v>3735678.1919687646</c:v>
                </c:pt>
                <c:pt idx="994">
                  <c:v>3739608.0284596719</c:v>
                </c:pt>
                <c:pt idx="995">
                  <c:v>3737647.3657338219</c:v>
                </c:pt>
                <c:pt idx="996">
                  <c:v>3750851.4214229537</c:v>
                </c:pt>
                <c:pt idx="997">
                  <c:v>3827361.2901579412</c:v>
                </c:pt>
                <c:pt idx="998">
                  <c:v>3800691.2269027121</c:v>
                </c:pt>
                <c:pt idx="999">
                  <c:v>3809664.2193511436</c:v>
                </c:pt>
                <c:pt idx="1000">
                  <c:v>3815524.8748836936</c:v>
                </c:pt>
                <c:pt idx="1001">
                  <c:v>3769438.9141489333</c:v>
                </c:pt>
                <c:pt idx="1002">
                  <c:v>3710200.1280036792</c:v>
                </c:pt>
                <c:pt idx="1003">
                  <c:v>3692856.7536159162</c:v>
                </c:pt>
                <c:pt idx="1004">
                  <c:v>3699382.8505677609</c:v>
                </c:pt>
                <c:pt idx="1005">
                  <c:v>3649684.7434537755</c:v>
                </c:pt>
                <c:pt idx="1006">
                  <c:v>3712350.2728544418</c:v>
                </c:pt>
                <c:pt idx="1007">
                  <c:v>3717177.6382920556</c:v>
                </c:pt>
                <c:pt idx="1008">
                  <c:v>1786084.9932528562</c:v>
                </c:pt>
                <c:pt idx="1009">
                  <c:v>3679651.5993576013</c:v>
                </c:pt>
                <c:pt idx="1010">
                  <c:v>3710674.712608099</c:v>
                </c:pt>
                <c:pt idx="1011">
                  <c:v>3772473.9447880764</c:v>
                </c:pt>
                <c:pt idx="1012">
                  <c:v>3789239.711471634</c:v>
                </c:pt>
                <c:pt idx="1013">
                  <c:v>3727849.2665821351</c:v>
                </c:pt>
                <c:pt idx="1014">
                  <c:v>3707401.9188754</c:v>
                </c:pt>
                <c:pt idx="1015">
                  <c:v>3719138.8118545953</c:v>
                </c:pt>
                <c:pt idx="1016">
                  <c:v>3708362.1900875787</c:v>
                </c:pt>
                <c:pt idx="1017">
                  <c:v>3735255.2373708673</c:v>
                </c:pt>
                <c:pt idx="1018">
                  <c:v>3745530.26758654</c:v>
                </c:pt>
                <c:pt idx="1019">
                  <c:v>3733538.1001130259</c:v>
                </c:pt>
                <c:pt idx="1020">
                  <c:v>3728132.5158306658</c:v>
                </c:pt>
                <c:pt idx="1021">
                  <c:v>3758846.2138536493</c:v>
                </c:pt>
                <c:pt idx="1022">
                  <c:v>3776430.841662033</c:v>
                </c:pt>
                <c:pt idx="1023">
                  <c:v>3686849.9252369436</c:v>
                </c:pt>
                <c:pt idx="1024">
                  <c:v>3731042.8501618998</c:v>
                </c:pt>
                <c:pt idx="1025">
                  <c:v>3752564.3835513014</c:v>
                </c:pt>
                <c:pt idx="1026">
                  <c:v>3818438.1363107897</c:v>
                </c:pt>
                <c:pt idx="1027">
                  <c:v>3808725.8497620039</c:v>
                </c:pt>
                <c:pt idx="1028">
                  <c:v>3886282.0663461662</c:v>
                </c:pt>
                <c:pt idx="1029">
                  <c:v>3880722.468612215</c:v>
                </c:pt>
                <c:pt idx="1030">
                  <c:v>4419803.6610162752</c:v>
                </c:pt>
                <c:pt idx="1031">
                  <c:v>5808734.2623235574</c:v>
                </c:pt>
                <c:pt idx="1032">
                  <c:v>3834875.7877806146</c:v>
                </c:pt>
                <c:pt idx="1033">
                  <c:v>3732477.2205852107</c:v>
                </c:pt>
                <c:pt idx="1034">
                  <c:v>3758473.7991845263</c:v>
                </c:pt>
                <c:pt idx="1035">
                  <c:v>3755677.5451461785</c:v>
                </c:pt>
                <c:pt idx="1036">
                  <c:v>3788201.5157954283</c:v>
                </c:pt>
                <c:pt idx="1037">
                  <c:v>3768789.6629928742</c:v>
                </c:pt>
                <c:pt idx="1038">
                  <c:v>4128851.5940638646</c:v>
                </c:pt>
                <c:pt idx="1039">
                  <c:v>3800773.0006125905</c:v>
                </c:pt>
                <c:pt idx="1040">
                  <c:v>3867565.0657876683</c:v>
                </c:pt>
                <c:pt idx="1041">
                  <c:v>3848921.0402537081</c:v>
                </c:pt>
                <c:pt idx="1042">
                  <c:v>3810193.1248155977</c:v>
                </c:pt>
                <c:pt idx="1043">
                  <c:v>4007681.5326218801</c:v>
                </c:pt>
                <c:pt idx="1044">
                  <c:v>3783436.8189002331</c:v>
                </c:pt>
                <c:pt idx="1045">
                  <c:v>3735885.4629340116</c:v>
                </c:pt>
                <c:pt idx="1046">
                  <c:v>3737066.3713080199</c:v>
                </c:pt>
                <c:pt idx="1047">
                  <c:v>3708035.6219772347</c:v>
                </c:pt>
                <c:pt idx="1048">
                  <c:v>3731998.8239021078</c:v>
                </c:pt>
                <c:pt idx="1049">
                  <c:v>3739077.2712233188</c:v>
                </c:pt>
                <c:pt idx="1050">
                  <c:v>3739444.8490676261</c:v>
                </c:pt>
                <c:pt idx="1051">
                  <c:v>3682096.0602357904</c:v>
                </c:pt>
                <c:pt idx="1052">
                  <c:v>3683217.0925537343</c:v>
                </c:pt>
                <c:pt idx="1053">
                  <c:v>3738067.6601835899</c:v>
                </c:pt>
                <c:pt idx="1054">
                  <c:v>3845743.2080335505</c:v>
                </c:pt>
                <c:pt idx="1055">
                  <c:v>3774669.0290003577</c:v>
                </c:pt>
                <c:pt idx="1056">
                  <c:v>3700833.6325775087</c:v>
                </c:pt>
                <c:pt idx="1057">
                  <c:v>3709457.1552710687</c:v>
                </c:pt>
                <c:pt idx="1058">
                  <c:v>3773194.6952636847</c:v>
                </c:pt>
                <c:pt idx="1059">
                  <c:v>3784971.6221655929</c:v>
                </c:pt>
                <c:pt idx="1060">
                  <c:v>3732331.6142296535</c:v>
                </c:pt>
                <c:pt idx="1061">
                  <c:v>3725789.2169407858</c:v>
                </c:pt>
                <c:pt idx="1062">
                  <c:v>3748617.1741444771</c:v>
                </c:pt>
                <c:pt idx="1063">
                  <c:v>3782405.6433802992</c:v>
                </c:pt>
                <c:pt idx="1064">
                  <c:v>3779263.2204862572</c:v>
                </c:pt>
                <c:pt idx="1065">
                  <c:v>3781000.2822774076</c:v>
                </c:pt>
                <c:pt idx="1066">
                  <c:v>3724357.8731823079</c:v>
                </c:pt>
                <c:pt idx="1067">
                  <c:v>3740511.3685473553</c:v>
                </c:pt>
                <c:pt idx="1068">
                  <c:v>3791939.9942139224</c:v>
                </c:pt>
                <c:pt idx="1069">
                  <c:v>3841650.1043807454</c:v>
                </c:pt>
                <c:pt idx="1070">
                  <c:v>3788375.3857227699</c:v>
                </c:pt>
                <c:pt idx="1071">
                  <c:v>3831505.0569448373</c:v>
                </c:pt>
                <c:pt idx="1072">
                  <c:v>3814445.7288971264</c:v>
                </c:pt>
                <c:pt idx="1073">
                  <c:v>3823200.376983203</c:v>
                </c:pt>
                <c:pt idx="1074">
                  <c:v>3841689.0730797956</c:v>
                </c:pt>
                <c:pt idx="1075">
                  <c:v>3820564.5462851501</c:v>
                </c:pt>
                <c:pt idx="1076">
                  <c:v>3889715.2658209819</c:v>
                </c:pt>
                <c:pt idx="1077">
                  <c:v>3863404.7945773457</c:v>
                </c:pt>
                <c:pt idx="1078">
                  <c:v>3821848.3082789271</c:v>
                </c:pt>
                <c:pt idx="1079">
                  <c:v>3827196.1383693893</c:v>
                </c:pt>
                <c:pt idx="1080">
                  <c:v>3821620.0482905162</c:v>
                </c:pt>
                <c:pt idx="1081">
                  <c:v>3848118.3399583297</c:v>
                </c:pt>
                <c:pt idx="1082">
                  <c:v>3833427.7848649621</c:v>
                </c:pt>
                <c:pt idx="1083">
                  <c:v>3931864.9487436898</c:v>
                </c:pt>
                <c:pt idx="1084">
                  <c:v>4066187.4931324958</c:v>
                </c:pt>
                <c:pt idx="1085">
                  <c:v>3927018.0312427795</c:v>
                </c:pt>
                <c:pt idx="1086">
                  <c:v>3822890.3365384075</c:v>
                </c:pt>
                <c:pt idx="1087">
                  <c:v>3790971.6698307497</c:v>
                </c:pt>
                <c:pt idx="1088">
                  <c:v>3778226.4471161286</c:v>
                </c:pt>
                <c:pt idx="1089">
                  <c:v>3780427.7193612023</c:v>
                </c:pt>
                <c:pt idx="1090">
                  <c:v>3781359.4531449396</c:v>
                </c:pt>
                <c:pt idx="1091">
                  <c:v>3780950.6666120826</c:v>
                </c:pt>
                <c:pt idx="1092">
                  <c:v>3790282.1047469075</c:v>
                </c:pt>
                <c:pt idx="1093">
                  <c:v>3771369.726743394</c:v>
                </c:pt>
                <c:pt idx="1094">
                  <c:v>3763590.7898465935</c:v>
                </c:pt>
                <c:pt idx="1095">
                  <c:v>3758115.9622769239</c:v>
                </c:pt>
              </c:numCache>
            </c:numRef>
          </c:xVal>
          <c:yVal>
            <c:numRef>
              <c:f>'[Final Graph 2.xlsx]Parameters ranges for ANN step1'!$AR$3:$AR$1131</c:f>
              <c:numCache>
                <c:formatCode>0</c:formatCode>
                <c:ptCount val="1129"/>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D627-4C98-A111-04DD7697C2E9}"/>
            </c:ext>
          </c:extLst>
        </c:ser>
        <c:dLbls>
          <c:showLegendKey val="0"/>
          <c:showVal val="0"/>
          <c:showCatName val="0"/>
          <c:showSerName val="0"/>
          <c:showPercent val="0"/>
          <c:showBubbleSize val="0"/>
        </c:dLbls>
        <c:axId val="1730715055"/>
        <c:axId val="1730729199"/>
      </c:scatterChart>
      <c:valAx>
        <c:axId val="1730715055"/>
        <c:scaling>
          <c:orientation val="minMax"/>
          <c:max val="3849999.9999999995"/>
          <c:min val="358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29199"/>
        <c:crosses val="autoZero"/>
        <c:crossBetween val="midCat"/>
      </c:valAx>
      <c:valAx>
        <c:axId val="1730729199"/>
        <c:scaling>
          <c:orientation val="minMax"/>
          <c:min val="107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0715055"/>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ot Blast Temp. °</a:t>
            </a:r>
            <a:r>
              <a:rPr lang="en-US" dirty="0" smtClean="0"/>
              <a:t>C v/s CO(Nm3)</a:t>
            </a:r>
            <a:endParaRPr lang="en-US" dirty="0"/>
          </a:p>
        </c:rich>
      </c:tx>
      <c:layout>
        <c:manualLayout>
          <c:xMode val="edge"/>
          <c:yMode val="edge"/>
          <c:x val="0.13013315883533721"/>
          <c:y val="3.67902665121668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B$3:$AB$1131</c:f>
              <c:numCache>
                <c:formatCode>0</c:formatCode>
                <c:ptCount val="1129"/>
                <c:pt idx="0">
                  <c:v>41.382142893888293</c:v>
                </c:pt>
                <c:pt idx="1">
                  <c:v>289.25476399511342</c:v>
                </c:pt>
                <c:pt idx="2">
                  <c:v>315.36969172035964</c:v>
                </c:pt>
                <c:pt idx="3">
                  <c:v>353.94416824198885</c:v>
                </c:pt>
                <c:pt idx="4">
                  <c:v>353.15360227143026</c:v>
                </c:pt>
                <c:pt idx="5">
                  <c:v>356.71052396004188</c:v>
                </c:pt>
                <c:pt idx="6">
                  <c:v>371.46289964720063</c:v>
                </c:pt>
                <c:pt idx="7">
                  <c:v>354.53043475102362</c:v>
                </c:pt>
                <c:pt idx="8">
                  <c:v>285.03319216442293</c:v>
                </c:pt>
                <c:pt idx="9">
                  <c:v>321.72088539061775</c:v>
                </c:pt>
                <c:pt idx="10">
                  <c:v>355.20728865996784</c:v>
                </c:pt>
                <c:pt idx="11">
                  <c:v>344.58640981410167</c:v>
                </c:pt>
                <c:pt idx="12">
                  <c:v>337.35686762020401</c:v>
                </c:pt>
                <c:pt idx="13">
                  <c:v>364.99395132392692</c:v>
                </c:pt>
                <c:pt idx="14">
                  <c:v>350.10205268034088</c:v>
                </c:pt>
                <c:pt idx="15">
                  <c:v>340.2650658861416</c:v>
                </c:pt>
                <c:pt idx="16">
                  <c:v>338.53731214244215</c:v>
                </c:pt>
                <c:pt idx="17">
                  <c:v>346.49267088662123</c:v>
                </c:pt>
                <c:pt idx="18">
                  <c:v>372.09134520998606</c:v>
                </c:pt>
                <c:pt idx="19">
                  <c:v>343.42200154894215</c:v>
                </c:pt>
                <c:pt idx="20">
                  <c:v>347.60056289108081</c:v>
                </c:pt>
                <c:pt idx="21">
                  <c:v>355.74193265712177</c:v>
                </c:pt>
                <c:pt idx="22">
                  <c:v>348.56807908489844</c:v>
                </c:pt>
                <c:pt idx="23">
                  <c:v>349.45266747634861</c:v>
                </c:pt>
                <c:pt idx="24">
                  <c:v>342.67462579607582</c:v>
                </c:pt>
                <c:pt idx="25">
                  <c:v>351.43985053596407</c:v>
                </c:pt>
                <c:pt idx="26">
                  <c:v>369.09400930445878</c:v>
                </c:pt>
                <c:pt idx="27">
                  <c:v>348.32583850339461</c:v>
                </c:pt>
                <c:pt idx="28">
                  <c:v>356.84812195416964</c:v>
                </c:pt>
                <c:pt idx="29">
                  <c:v>373.02841003417205</c:v>
                </c:pt>
                <c:pt idx="30">
                  <c:v>251.28659839488753</c:v>
                </c:pt>
                <c:pt idx="31">
                  <c:v>331.0584958084396</c:v>
                </c:pt>
                <c:pt idx="32">
                  <c:v>408.96089219014073</c:v>
                </c:pt>
                <c:pt idx="33">
                  <c:v>394.52112251887678</c:v>
                </c:pt>
                <c:pt idx="34">
                  <c:v>395.29960551685224</c:v>
                </c:pt>
                <c:pt idx="35">
                  <c:v>412.45210149229473</c:v>
                </c:pt>
                <c:pt idx="36">
                  <c:v>383.40194959400156</c:v>
                </c:pt>
                <c:pt idx="37">
                  <c:v>400.96199537488349</c:v>
                </c:pt>
                <c:pt idx="38">
                  <c:v>386.25846633511037</c:v>
                </c:pt>
                <c:pt idx="39">
                  <c:v>387.59043974875408</c:v>
                </c:pt>
                <c:pt idx="40">
                  <c:v>373.31080107045096</c:v>
                </c:pt>
                <c:pt idx="41">
                  <c:v>391.49792354910113</c:v>
                </c:pt>
                <c:pt idx="42">
                  <c:v>409.37991504639922</c:v>
                </c:pt>
                <c:pt idx="43">
                  <c:v>432.67125103754381</c:v>
                </c:pt>
                <c:pt idx="44">
                  <c:v>481.10761246703242</c:v>
                </c:pt>
                <c:pt idx="45">
                  <c:v>975.51208448553905</c:v>
                </c:pt>
                <c:pt idx="46">
                  <c:v>1769.1184732451418</c:v>
                </c:pt>
                <c:pt idx="47">
                  <c:v>416.23951653366049</c:v>
                </c:pt>
                <c:pt idx="48">
                  <c:v>390.74788008731946</c:v>
                </c:pt>
                <c:pt idx="49">
                  <c:v>374.33804523041192</c:v>
                </c:pt>
                <c:pt idx="50">
                  <c:v>399.08890699329203</c:v>
                </c:pt>
                <c:pt idx="51">
                  <c:v>367.68345157216567</c:v>
                </c:pt>
                <c:pt idx="52">
                  <c:v>367.68068932638607</c:v>
                </c:pt>
                <c:pt idx="53">
                  <c:v>375.53850989397887</c:v>
                </c:pt>
                <c:pt idx="54">
                  <c:v>380.69233576984686</c:v>
                </c:pt>
                <c:pt idx="55">
                  <c:v>361.50741687253912</c:v>
                </c:pt>
                <c:pt idx="56">
                  <c:v>356.9146047309498</c:v>
                </c:pt>
                <c:pt idx="57">
                  <c:v>356.93918544328073</c:v>
                </c:pt>
                <c:pt idx="58">
                  <c:v>369.2874197579701</c:v>
                </c:pt>
                <c:pt idx="59">
                  <c:v>365.4798169655752</c:v>
                </c:pt>
                <c:pt idx="60">
                  <c:v>350.97595797770242</c:v>
                </c:pt>
                <c:pt idx="61">
                  <c:v>355.48471892776945</c:v>
                </c:pt>
                <c:pt idx="62">
                  <c:v>360.25347977719389</c:v>
                </c:pt>
                <c:pt idx="63">
                  <c:v>370.41837567045599</c:v>
                </c:pt>
                <c:pt idx="64">
                  <c:v>356.82137704374657</c:v>
                </c:pt>
                <c:pt idx="65">
                  <c:v>364.44017075738293</c:v>
                </c:pt>
                <c:pt idx="66">
                  <c:v>355.37075354983369</c:v>
                </c:pt>
                <c:pt idx="67">
                  <c:v>380.72871879028696</c:v>
                </c:pt>
                <c:pt idx="68">
                  <c:v>396.71467752438588</c:v>
                </c:pt>
                <c:pt idx="69">
                  <c:v>568.06798866741894</c:v>
                </c:pt>
                <c:pt idx="70">
                  <c:v>378.24736222177449</c:v>
                </c:pt>
                <c:pt idx="71">
                  <c:v>389.17527367730219</c:v>
                </c:pt>
                <c:pt idx="72">
                  <c:v>384.59042942004845</c:v>
                </c:pt>
                <c:pt idx="73">
                  <c:v>372.47460964243288</c:v>
                </c:pt>
                <c:pt idx="74">
                  <c:v>367.46465206726913</c:v>
                </c:pt>
                <c:pt idx="75">
                  <c:v>378.50604065445691</c:v>
                </c:pt>
                <c:pt idx="76">
                  <c:v>376.73125954147099</c:v>
                </c:pt>
                <c:pt idx="77">
                  <c:v>368.41863625381495</c:v>
                </c:pt>
                <c:pt idx="78">
                  <c:v>374.69259686039891</c:v>
                </c:pt>
                <c:pt idx="79">
                  <c:v>374.26324730218579</c:v>
                </c:pt>
                <c:pt idx="80">
                  <c:v>380.63160554349986</c:v>
                </c:pt>
                <c:pt idx="81">
                  <c:v>381.02211505808214</c:v>
                </c:pt>
                <c:pt idx="82">
                  <c:v>381.16631997153138</c:v>
                </c:pt>
                <c:pt idx="83">
                  <c:v>370.72358596799711</c:v>
                </c:pt>
                <c:pt idx="84">
                  <c:v>384.23521739115108</c:v>
                </c:pt>
                <c:pt idx="85">
                  <c:v>398.48042972601456</c:v>
                </c:pt>
                <c:pt idx="86">
                  <c:v>398.10195199695215</c:v>
                </c:pt>
                <c:pt idx="87">
                  <c:v>371.94840660703466</c:v>
                </c:pt>
                <c:pt idx="88">
                  <c:v>339.81482796315964</c:v>
                </c:pt>
                <c:pt idx="89">
                  <c:v>355.05192533882212</c:v>
                </c:pt>
                <c:pt idx="90">
                  <c:v>379.70760915809416</c:v>
                </c:pt>
                <c:pt idx="91">
                  <c:v>379.30296039997359</c:v>
                </c:pt>
                <c:pt idx="92">
                  <c:v>370.3752457977584</c:v>
                </c:pt>
                <c:pt idx="93">
                  <c:v>350.77002588888678</c:v>
                </c:pt>
                <c:pt idx="94">
                  <c:v>352.52938085797354</c:v>
                </c:pt>
                <c:pt idx="95">
                  <c:v>374.76609130865796</c:v>
                </c:pt>
                <c:pt idx="96">
                  <c:v>376.8409167159266</c:v>
                </c:pt>
                <c:pt idx="97">
                  <c:v>381.37165586715309</c:v>
                </c:pt>
                <c:pt idx="98">
                  <c:v>222.08252002639446</c:v>
                </c:pt>
                <c:pt idx="99">
                  <c:v>401.66304581496041</c:v>
                </c:pt>
                <c:pt idx="100">
                  <c:v>432.01568813575022</c:v>
                </c:pt>
                <c:pt idx="101">
                  <c:v>376.09085245786736</c:v>
                </c:pt>
                <c:pt idx="102">
                  <c:v>348.37687804459733</c:v>
                </c:pt>
                <c:pt idx="103">
                  <c:v>369.11614615203854</c:v>
                </c:pt>
                <c:pt idx="104">
                  <c:v>362.77127521795944</c:v>
                </c:pt>
                <c:pt idx="105">
                  <c:v>26.730159680159552</c:v>
                </c:pt>
                <c:pt idx="106">
                  <c:v>283.18742090116541</c:v>
                </c:pt>
                <c:pt idx="107">
                  <c:v>364.79798690130883</c:v>
                </c:pt>
                <c:pt idx="108">
                  <c:v>371.40121749551173</c:v>
                </c:pt>
                <c:pt idx="109">
                  <c:v>369.63740798218447</c:v>
                </c:pt>
                <c:pt idx="110">
                  <c:v>336.19573616268474</c:v>
                </c:pt>
                <c:pt idx="111">
                  <c:v>346.7791203359659</c:v>
                </c:pt>
                <c:pt idx="112">
                  <c:v>367.22178730291569</c:v>
                </c:pt>
                <c:pt idx="113">
                  <c:v>396.51294318741998</c:v>
                </c:pt>
                <c:pt idx="114">
                  <c:v>381.20447857977689</c:v>
                </c:pt>
                <c:pt idx="115">
                  <c:v>309.19912857577026</c:v>
                </c:pt>
                <c:pt idx="116">
                  <c:v>269.57548758440487</c:v>
                </c:pt>
                <c:pt idx="117">
                  <c:v>261.02399227149897</c:v>
                </c:pt>
                <c:pt idx="118">
                  <c:v>273.36567170340197</c:v>
                </c:pt>
                <c:pt idx="119">
                  <c:v>246.62888850979408</c:v>
                </c:pt>
                <c:pt idx="120">
                  <c:v>274.29076024707956</c:v>
                </c:pt>
                <c:pt idx="121">
                  <c:v>354.67553149952386</c:v>
                </c:pt>
                <c:pt idx="122">
                  <c:v>353.65682025110459</c:v>
                </c:pt>
                <c:pt idx="123">
                  <c:v>365.04646167953638</c:v>
                </c:pt>
                <c:pt idx="124">
                  <c:v>364.83453544559688</c:v>
                </c:pt>
                <c:pt idx="125">
                  <c:v>349.69644334967114</c:v>
                </c:pt>
                <c:pt idx="126">
                  <c:v>345.82058545190193</c:v>
                </c:pt>
                <c:pt idx="127">
                  <c:v>332.61061210997036</c:v>
                </c:pt>
                <c:pt idx="128">
                  <c:v>332.34938099079505</c:v>
                </c:pt>
                <c:pt idx="129">
                  <c:v>342.8454689952157</c:v>
                </c:pt>
                <c:pt idx="130">
                  <c:v>350.8322846828429</c:v>
                </c:pt>
                <c:pt idx="131">
                  <c:v>350.61827074090354</c:v>
                </c:pt>
                <c:pt idx="132">
                  <c:v>347.57874060414184</c:v>
                </c:pt>
                <c:pt idx="133">
                  <c:v>357.7500822995039</c:v>
                </c:pt>
                <c:pt idx="134">
                  <c:v>368.57775718980065</c:v>
                </c:pt>
                <c:pt idx="135">
                  <c:v>353.61629146712255</c:v>
                </c:pt>
                <c:pt idx="136">
                  <c:v>343.44789214925845</c:v>
                </c:pt>
                <c:pt idx="137">
                  <c:v>343.75714222816356</c:v>
                </c:pt>
                <c:pt idx="138">
                  <c:v>328.03754600023484</c:v>
                </c:pt>
                <c:pt idx="139">
                  <c:v>321.33421632199452</c:v>
                </c:pt>
                <c:pt idx="140">
                  <c:v>326.37110326743124</c:v>
                </c:pt>
                <c:pt idx="141">
                  <c:v>404.98354994463108</c:v>
                </c:pt>
                <c:pt idx="142">
                  <c:v>480.3561269520136</c:v>
                </c:pt>
                <c:pt idx="143">
                  <c:v>547.6192501094356</c:v>
                </c:pt>
                <c:pt idx="144">
                  <c:v>1073.2751725605506</c:v>
                </c:pt>
                <c:pt idx="145">
                  <c:v>44577.402760833465</c:v>
                </c:pt>
                <c:pt idx="146">
                  <c:v>0</c:v>
                </c:pt>
                <c:pt idx="147">
                  <c:v>0</c:v>
                </c:pt>
                <c:pt idx="148">
                  <c:v>0</c:v>
                </c:pt>
                <c:pt idx="149">
                  <c:v>2082.6074434897441</c:v>
                </c:pt>
                <c:pt idx="150">
                  <c:v>450.05773790472227</c:v>
                </c:pt>
                <c:pt idx="151">
                  <c:v>393.23971204457195</c:v>
                </c:pt>
                <c:pt idx="152">
                  <c:v>373.05745225227383</c:v>
                </c:pt>
                <c:pt idx="153">
                  <c:v>363.84526538652852</c:v>
                </c:pt>
                <c:pt idx="154">
                  <c:v>365.10240663443449</c:v>
                </c:pt>
                <c:pt idx="155">
                  <c:v>368.80680442133388</c:v>
                </c:pt>
                <c:pt idx="156">
                  <c:v>380.46578895875984</c:v>
                </c:pt>
                <c:pt idx="157">
                  <c:v>383.61553017700845</c:v>
                </c:pt>
                <c:pt idx="158">
                  <c:v>389.47294306646359</c:v>
                </c:pt>
                <c:pt idx="159">
                  <c:v>387.35952583609372</c:v>
                </c:pt>
                <c:pt idx="160">
                  <c:v>392.43130523048058</c:v>
                </c:pt>
                <c:pt idx="161">
                  <c:v>399.49924127260726</c:v>
                </c:pt>
                <c:pt idx="162">
                  <c:v>410.4729063352774</c:v>
                </c:pt>
                <c:pt idx="163">
                  <c:v>383.77942405984396</c:v>
                </c:pt>
                <c:pt idx="164">
                  <c:v>378.54948490427518</c:v>
                </c:pt>
                <c:pt idx="165">
                  <c:v>373.34744072943226</c:v>
                </c:pt>
                <c:pt idx="166">
                  <c:v>382.6387852970276</c:v>
                </c:pt>
                <c:pt idx="167">
                  <c:v>378.1377225160507</c:v>
                </c:pt>
                <c:pt idx="168">
                  <c:v>379.75865659034923</c:v>
                </c:pt>
                <c:pt idx="169">
                  <c:v>358.79791765905816</c:v>
                </c:pt>
                <c:pt idx="170">
                  <c:v>349.85297650183594</c:v>
                </c:pt>
                <c:pt idx="171">
                  <c:v>346.67669161157971</c:v>
                </c:pt>
                <c:pt idx="172">
                  <c:v>341.54223847484417</c:v>
                </c:pt>
                <c:pt idx="173">
                  <c:v>360.41383207912224</c:v>
                </c:pt>
                <c:pt idx="174">
                  <c:v>371.43605869297181</c:v>
                </c:pt>
                <c:pt idx="175">
                  <c:v>363.49998305709732</c:v>
                </c:pt>
                <c:pt idx="176">
                  <c:v>383.84318767882132</c:v>
                </c:pt>
                <c:pt idx="177">
                  <c:v>394.32463841207709</c:v>
                </c:pt>
                <c:pt idx="178">
                  <c:v>356.72331192696419</c:v>
                </c:pt>
                <c:pt idx="179">
                  <c:v>371.6074345067999</c:v>
                </c:pt>
                <c:pt idx="180">
                  <c:v>361.83429374892017</c:v>
                </c:pt>
                <c:pt idx="181">
                  <c:v>348.27284440209888</c:v>
                </c:pt>
                <c:pt idx="182">
                  <c:v>361.80477668378381</c:v>
                </c:pt>
                <c:pt idx="183">
                  <c:v>345.87913721283479</c:v>
                </c:pt>
                <c:pt idx="184">
                  <c:v>354.7321126532625</c:v>
                </c:pt>
                <c:pt idx="185">
                  <c:v>356.23252315225335</c:v>
                </c:pt>
                <c:pt idx="186">
                  <c:v>349.04111131477453</c:v>
                </c:pt>
                <c:pt idx="187">
                  <c:v>355.52812547965692</c:v>
                </c:pt>
                <c:pt idx="188">
                  <c:v>333.90648715279951</c:v>
                </c:pt>
                <c:pt idx="189">
                  <c:v>346.9177887504303</c:v>
                </c:pt>
                <c:pt idx="190">
                  <c:v>349.28029670539041</c:v>
                </c:pt>
                <c:pt idx="191">
                  <c:v>339.74227793107923</c:v>
                </c:pt>
                <c:pt idx="192">
                  <c:v>344.48569450418347</c:v>
                </c:pt>
                <c:pt idx="193">
                  <c:v>342.13044129185096</c:v>
                </c:pt>
                <c:pt idx="194">
                  <c:v>350.45138505190937</c:v>
                </c:pt>
                <c:pt idx="195">
                  <c:v>353.4740917348737</c:v>
                </c:pt>
                <c:pt idx="196">
                  <c:v>342.44471663651103</c:v>
                </c:pt>
                <c:pt idx="197">
                  <c:v>340.55674441552412</c:v>
                </c:pt>
                <c:pt idx="198">
                  <c:v>343.20217875698199</c:v>
                </c:pt>
                <c:pt idx="199">
                  <c:v>337.44415620427191</c:v>
                </c:pt>
                <c:pt idx="200">
                  <c:v>342.23283867229236</c:v>
                </c:pt>
                <c:pt idx="201">
                  <c:v>339.48856471978098</c:v>
                </c:pt>
                <c:pt idx="202">
                  <c:v>341.05946609141381</c:v>
                </c:pt>
                <c:pt idx="203">
                  <c:v>339.31572523467429</c:v>
                </c:pt>
                <c:pt idx="204">
                  <c:v>345.57772783081703</c:v>
                </c:pt>
                <c:pt idx="205">
                  <c:v>349.85671334960313</c:v>
                </c:pt>
                <c:pt idx="206">
                  <c:v>363.90549484901857</c:v>
                </c:pt>
                <c:pt idx="207">
                  <c:v>374.59563686935678</c:v>
                </c:pt>
                <c:pt idx="208">
                  <c:v>377.21216749735362</c:v>
                </c:pt>
                <c:pt idx="209">
                  <c:v>388.89328782616212</c:v>
                </c:pt>
                <c:pt idx="210">
                  <c:v>359.92725268660365</c:v>
                </c:pt>
                <c:pt idx="211">
                  <c:v>372.47005955767088</c:v>
                </c:pt>
                <c:pt idx="212">
                  <c:v>380.16306112700505</c:v>
                </c:pt>
                <c:pt idx="213">
                  <c:v>385.15704916356685</c:v>
                </c:pt>
                <c:pt idx="214">
                  <c:v>386.11457191341839</c:v>
                </c:pt>
                <c:pt idx="215">
                  <c:v>350.07113578310583</c:v>
                </c:pt>
                <c:pt idx="216">
                  <c:v>44.54781094400763</c:v>
                </c:pt>
                <c:pt idx="217">
                  <c:v>0</c:v>
                </c:pt>
                <c:pt idx="218">
                  <c:v>0</c:v>
                </c:pt>
                <c:pt idx="219">
                  <c:v>0</c:v>
                </c:pt>
                <c:pt idx="220">
                  <c:v>50.820981965991287</c:v>
                </c:pt>
                <c:pt idx="221">
                  <c:v>336.93525200405321</c:v>
                </c:pt>
                <c:pt idx="222">
                  <c:v>293.19459106467787</c:v>
                </c:pt>
                <c:pt idx="223">
                  <c:v>312.06341755660594</c:v>
                </c:pt>
                <c:pt idx="224">
                  <c:v>335.00531317622858</c:v>
                </c:pt>
                <c:pt idx="225">
                  <c:v>348.08015963520364</c:v>
                </c:pt>
                <c:pt idx="226">
                  <c:v>371.61334886866933</c:v>
                </c:pt>
                <c:pt idx="227">
                  <c:v>345.22722456933138</c:v>
                </c:pt>
                <c:pt idx="228">
                  <c:v>344.40563211072896</c:v>
                </c:pt>
                <c:pt idx="229">
                  <c:v>341.42806956811978</c:v>
                </c:pt>
                <c:pt idx="230">
                  <c:v>364.96927554145373</c:v>
                </c:pt>
                <c:pt idx="231">
                  <c:v>346.50127431229248</c:v>
                </c:pt>
                <c:pt idx="232">
                  <c:v>358.46331925353257</c:v>
                </c:pt>
                <c:pt idx="233">
                  <c:v>369.36031480711063</c:v>
                </c:pt>
                <c:pt idx="234">
                  <c:v>364.62805147842499</c:v>
                </c:pt>
                <c:pt idx="235">
                  <c:v>369.18642925805148</c:v>
                </c:pt>
                <c:pt idx="236">
                  <c:v>367.28755644185031</c:v>
                </c:pt>
                <c:pt idx="237">
                  <c:v>371.07285472981596</c:v>
                </c:pt>
                <c:pt idx="238">
                  <c:v>370.47644694547165</c:v>
                </c:pt>
                <c:pt idx="239">
                  <c:v>369.57643806888694</c:v>
                </c:pt>
                <c:pt idx="240">
                  <c:v>394.39265885980842</c:v>
                </c:pt>
                <c:pt idx="241">
                  <c:v>378.90204099165027</c:v>
                </c:pt>
                <c:pt idx="242">
                  <c:v>376.92950286877311</c:v>
                </c:pt>
                <c:pt idx="243">
                  <c:v>388.13851376700188</c:v>
                </c:pt>
                <c:pt idx="244">
                  <c:v>409.07601140768196</c:v>
                </c:pt>
                <c:pt idx="245">
                  <c:v>484.99073950451839</c:v>
                </c:pt>
                <c:pt idx="246">
                  <c:v>606.37592648610087</c:v>
                </c:pt>
                <c:pt idx="247">
                  <c:v>549.01665731414425</c:v>
                </c:pt>
                <c:pt idx="248">
                  <c:v>547.42751151143636</c:v>
                </c:pt>
                <c:pt idx="249">
                  <c:v>488.51176415476493</c:v>
                </c:pt>
                <c:pt idx="250">
                  <c:v>496.64514356853726</c:v>
                </c:pt>
                <c:pt idx="251">
                  <c:v>411.55016089963078</c:v>
                </c:pt>
                <c:pt idx="252">
                  <c:v>374.80597858672957</c:v>
                </c:pt>
                <c:pt idx="253">
                  <c:v>413.13406786585091</c:v>
                </c:pt>
                <c:pt idx="254">
                  <c:v>412.36193626154824</c:v>
                </c:pt>
                <c:pt idx="255">
                  <c:v>437.46803511844644</c:v>
                </c:pt>
                <c:pt idx="256">
                  <c:v>370.86604888598856</c:v>
                </c:pt>
                <c:pt idx="257">
                  <c:v>375.2788403178738</c:v>
                </c:pt>
                <c:pt idx="258">
                  <c:v>398.76635804709952</c:v>
                </c:pt>
                <c:pt idx="259">
                  <c:v>591.45102121658761</c:v>
                </c:pt>
                <c:pt idx="260">
                  <c:v>1971.3273859151222</c:v>
                </c:pt>
                <c:pt idx="261">
                  <c:v>401.18420262490582</c:v>
                </c:pt>
                <c:pt idx="262">
                  <c:v>407.15062919503555</c:v>
                </c:pt>
                <c:pt idx="263">
                  <c:v>419.05773780701605</c:v>
                </c:pt>
                <c:pt idx="264">
                  <c:v>395.10206432185061</c:v>
                </c:pt>
                <c:pt idx="265">
                  <c:v>333.09838948006194</c:v>
                </c:pt>
                <c:pt idx="266">
                  <c:v>378.3385801190031</c:v>
                </c:pt>
                <c:pt idx="267">
                  <c:v>592.23680759643582</c:v>
                </c:pt>
                <c:pt idx="268">
                  <c:v>366.04201536787588</c:v>
                </c:pt>
                <c:pt idx="269">
                  <c:v>373.89711194300196</c:v>
                </c:pt>
                <c:pt idx="270">
                  <c:v>380.61745909229677</c:v>
                </c:pt>
                <c:pt idx="271">
                  <c:v>387.59761226041468</c:v>
                </c:pt>
                <c:pt idx="272">
                  <c:v>369.37995293747974</c:v>
                </c:pt>
                <c:pt idx="273">
                  <c:v>368.35698716404823</c:v>
                </c:pt>
                <c:pt idx="274">
                  <c:v>372.72576257692964</c:v>
                </c:pt>
                <c:pt idx="275">
                  <c:v>381.34643868228198</c:v>
                </c:pt>
                <c:pt idx="276">
                  <c:v>365.59714824568442</c:v>
                </c:pt>
                <c:pt idx="277">
                  <c:v>370.7388964606933</c:v>
                </c:pt>
                <c:pt idx="278">
                  <c:v>385.62769431605517</c:v>
                </c:pt>
                <c:pt idx="279">
                  <c:v>371.93342350423745</c:v>
                </c:pt>
                <c:pt idx="280">
                  <c:v>356.42351928521549</c:v>
                </c:pt>
                <c:pt idx="281">
                  <c:v>368.83804988329564</c:v>
                </c:pt>
                <c:pt idx="282">
                  <c:v>362.80710712427839</c:v>
                </c:pt>
                <c:pt idx="283">
                  <c:v>355.65803614696807</c:v>
                </c:pt>
                <c:pt idx="284">
                  <c:v>362.33368402022245</c:v>
                </c:pt>
                <c:pt idx="285">
                  <c:v>363.08005684929907</c:v>
                </c:pt>
                <c:pt idx="286">
                  <c:v>358.69773480348249</c:v>
                </c:pt>
                <c:pt idx="287">
                  <c:v>357.43679531488709</c:v>
                </c:pt>
                <c:pt idx="288">
                  <c:v>361.58287367300727</c:v>
                </c:pt>
                <c:pt idx="289">
                  <c:v>357.68284310717348</c:v>
                </c:pt>
                <c:pt idx="290">
                  <c:v>347.04756447660657</c:v>
                </c:pt>
                <c:pt idx="291">
                  <c:v>387.02201818791258</c:v>
                </c:pt>
                <c:pt idx="292">
                  <c:v>373.99722251237165</c:v>
                </c:pt>
                <c:pt idx="293">
                  <c:v>362.30442564382298</c:v>
                </c:pt>
                <c:pt idx="294">
                  <c:v>357.39399837052406</c:v>
                </c:pt>
                <c:pt idx="295">
                  <c:v>364.08676745096568</c:v>
                </c:pt>
                <c:pt idx="296">
                  <c:v>202.29544232573622</c:v>
                </c:pt>
                <c:pt idx="297">
                  <c:v>328.91608416018619</c:v>
                </c:pt>
                <c:pt idx="298">
                  <c:v>347.39199384612078</c:v>
                </c:pt>
                <c:pt idx="299">
                  <c:v>361.40706477778633</c:v>
                </c:pt>
                <c:pt idx="300">
                  <c:v>367.01516151852309</c:v>
                </c:pt>
                <c:pt idx="301">
                  <c:v>364.9043948961114</c:v>
                </c:pt>
                <c:pt idx="302">
                  <c:v>354.22362864729519</c:v>
                </c:pt>
                <c:pt idx="303">
                  <c:v>348.94279549010554</c:v>
                </c:pt>
                <c:pt idx="304">
                  <c:v>359.75870371927715</c:v>
                </c:pt>
                <c:pt idx="305">
                  <c:v>336.09139612959382</c:v>
                </c:pt>
                <c:pt idx="306">
                  <c:v>353.52469872358915</c:v>
                </c:pt>
                <c:pt idx="307">
                  <c:v>350.53005328563245</c:v>
                </c:pt>
                <c:pt idx="308">
                  <c:v>358.31339351564122</c:v>
                </c:pt>
                <c:pt idx="309">
                  <c:v>354.60039208426866</c:v>
                </c:pt>
                <c:pt idx="310">
                  <c:v>345.43480016458079</c:v>
                </c:pt>
                <c:pt idx="311">
                  <c:v>334.25503327487445</c:v>
                </c:pt>
                <c:pt idx="312">
                  <c:v>341.66404671298875</c:v>
                </c:pt>
                <c:pt idx="313">
                  <c:v>343.84963803766942</c:v>
                </c:pt>
                <c:pt idx="314">
                  <c:v>347.53032015913521</c:v>
                </c:pt>
                <c:pt idx="315">
                  <c:v>310.45195167120642</c:v>
                </c:pt>
                <c:pt idx="316">
                  <c:v>351.9387872452121</c:v>
                </c:pt>
                <c:pt idx="317">
                  <c:v>340.30374451779915</c:v>
                </c:pt>
                <c:pt idx="318">
                  <c:v>306.77506412065429</c:v>
                </c:pt>
                <c:pt idx="319">
                  <c:v>24.23758664137214</c:v>
                </c:pt>
                <c:pt idx="320">
                  <c:v>151.29781275918151</c:v>
                </c:pt>
                <c:pt idx="321">
                  <c:v>282.800702637906</c:v>
                </c:pt>
                <c:pt idx="322">
                  <c:v>330.84234372390023</c:v>
                </c:pt>
                <c:pt idx="323">
                  <c:v>328.94401912902504</c:v>
                </c:pt>
                <c:pt idx="324">
                  <c:v>334.31518791068834</c:v>
                </c:pt>
                <c:pt idx="325">
                  <c:v>332.49966213858505</c:v>
                </c:pt>
                <c:pt idx="326">
                  <c:v>333.40563696132983</c:v>
                </c:pt>
                <c:pt idx="327">
                  <c:v>334.37495530292517</c:v>
                </c:pt>
                <c:pt idx="328">
                  <c:v>326.08539947416585</c:v>
                </c:pt>
                <c:pt idx="329">
                  <c:v>327.89382309828068</c:v>
                </c:pt>
                <c:pt idx="330">
                  <c:v>309.29598935774271</c:v>
                </c:pt>
                <c:pt idx="331">
                  <c:v>343.17847522772303</c:v>
                </c:pt>
                <c:pt idx="332">
                  <c:v>333.12845183642764</c:v>
                </c:pt>
                <c:pt idx="333">
                  <c:v>325.12899288309791</c:v>
                </c:pt>
                <c:pt idx="334">
                  <c:v>409.36196568857832</c:v>
                </c:pt>
                <c:pt idx="335">
                  <c:v>506.33863280675422</c:v>
                </c:pt>
                <c:pt idx="336">
                  <c:v>339.14860467476427</c:v>
                </c:pt>
                <c:pt idx="337">
                  <c:v>335.41791228210963</c:v>
                </c:pt>
                <c:pt idx="338">
                  <c:v>342.8657316978838</c:v>
                </c:pt>
                <c:pt idx="339">
                  <c:v>322.71336550960035</c:v>
                </c:pt>
                <c:pt idx="340">
                  <c:v>318.17644880594298</c:v>
                </c:pt>
                <c:pt idx="341">
                  <c:v>320.40694239183097</c:v>
                </c:pt>
                <c:pt idx="342">
                  <c:v>316.58912769824792</c:v>
                </c:pt>
                <c:pt idx="343">
                  <c:v>316.64255940291639</c:v>
                </c:pt>
                <c:pt idx="344">
                  <c:v>312.20297366893629</c:v>
                </c:pt>
                <c:pt idx="345">
                  <c:v>324.60714182053317</c:v>
                </c:pt>
                <c:pt idx="346">
                  <c:v>322.59783288742</c:v>
                </c:pt>
                <c:pt idx="347">
                  <c:v>299.43208257039095</c:v>
                </c:pt>
                <c:pt idx="348">
                  <c:v>313.27140653151542</c:v>
                </c:pt>
                <c:pt idx="349">
                  <c:v>317.14080427490438</c:v>
                </c:pt>
                <c:pt idx="350">
                  <c:v>321.90362430546111</c:v>
                </c:pt>
                <c:pt idx="351">
                  <c:v>316.43490228274572</c:v>
                </c:pt>
                <c:pt idx="352">
                  <c:v>328.10382513928448</c:v>
                </c:pt>
                <c:pt idx="353">
                  <c:v>325.94500523043848</c:v>
                </c:pt>
                <c:pt idx="354">
                  <c:v>321.87884894166604</c:v>
                </c:pt>
                <c:pt idx="355">
                  <c:v>315.36524100858577</c:v>
                </c:pt>
                <c:pt idx="356">
                  <c:v>363.40593021802846</c:v>
                </c:pt>
                <c:pt idx="357">
                  <c:v>383.45682811193569</c:v>
                </c:pt>
                <c:pt idx="358">
                  <c:v>315.5866617954436</c:v>
                </c:pt>
                <c:pt idx="359">
                  <c:v>314.95079947052022</c:v>
                </c:pt>
                <c:pt idx="360">
                  <c:v>316.47000683808454</c:v>
                </c:pt>
                <c:pt idx="361">
                  <c:v>316.41540508778098</c:v>
                </c:pt>
                <c:pt idx="362">
                  <c:v>310.93176406253878</c:v>
                </c:pt>
                <c:pt idx="363">
                  <c:v>377.4348353856156</c:v>
                </c:pt>
                <c:pt idx="364">
                  <c:v>508.54480383443052</c:v>
                </c:pt>
                <c:pt idx="365">
                  <c:v>1626.9131510883394</c:v>
                </c:pt>
                <c:pt idx="366">
                  <c:v>366.1923336443657</c:v>
                </c:pt>
                <c:pt idx="367">
                  <c:v>366.32061184752621</c:v>
                </c:pt>
                <c:pt idx="368">
                  <c:v>373.10781271947747</c:v>
                </c:pt>
                <c:pt idx="369">
                  <c:v>372.65409704078888</c:v>
                </c:pt>
                <c:pt idx="370">
                  <c:v>63.244498171710696</c:v>
                </c:pt>
                <c:pt idx="371">
                  <c:v>31.454895058243245</c:v>
                </c:pt>
                <c:pt idx="372">
                  <c:v>316.58084594276187</c:v>
                </c:pt>
                <c:pt idx="373">
                  <c:v>348.57132848025321</c:v>
                </c:pt>
                <c:pt idx="374">
                  <c:v>340.64310765060202</c:v>
                </c:pt>
                <c:pt idx="375">
                  <c:v>356.88680757489431</c:v>
                </c:pt>
                <c:pt idx="376">
                  <c:v>327.20818156355125</c:v>
                </c:pt>
                <c:pt idx="377">
                  <c:v>343.77429343241067</c:v>
                </c:pt>
                <c:pt idx="378">
                  <c:v>343.33391051527661</c:v>
                </c:pt>
                <c:pt idx="379">
                  <c:v>344.26713415189948</c:v>
                </c:pt>
                <c:pt idx="380">
                  <c:v>344.08645157524643</c:v>
                </c:pt>
                <c:pt idx="381">
                  <c:v>335.53871371161785</c:v>
                </c:pt>
                <c:pt idx="382">
                  <c:v>327.84068099170645</c:v>
                </c:pt>
                <c:pt idx="383">
                  <c:v>342.02577093770702</c:v>
                </c:pt>
                <c:pt idx="384">
                  <c:v>332.49175990876137</c:v>
                </c:pt>
                <c:pt idx="385">
                  <c:v>339.93024920820261</c:v>
                </c:pt>
                <c:pt idx="386">
                  <c:v>340.84079956534896</c:v>
                </c:pt>
                <c:pt idx="387">
                  <c:v>332.09956630679153</c:v>
                </c:pt>
                <c:pt idx="388">
                  <c:v>337.05972234107981</c:v>
                </c:pt>
                <c:pt idx="389">
                  <c:v>349.30680424400373</c:v>
                </c:pt>
                <c:pt idx="390">
                  <c:v>321.8256816548103</c:v>
                </c:pt>
                <c:pt idx="391">
                  <c:v>337.89607370759285</c:v>
                </c:pt>
                <c:pt idx="392">
                  <c:v>341.42186482371363</c:v>
                </c:pt>
                <c:pt idx="393">
                  <c:v>334.75005762465878</c:v>
                </c:pt>
                <c:pt idx="394">
                  <c:v>316.43692604114062</c:v>
                </c:pt>
                <c:pt idx="395">
                  <c:v>323.90512337052814</c:v>
                </c:pt>
                <c:pt idx="396">
                  <c:v>341.8559406098226</c:v>
                </c:pt>
                <c:pt idx="397">
                  <c:v>336.33874260671291</c:v>
                </c:pt>
                <c:pt idx="398">
                  <c:v>344.09239601810384</c:v>
                </c:pt>
                <c:pt idx="399">
                  <c:v>332.77208188899931</c:v>
                </c:pt>
                <c:pt idx="400">
                  <c:v>338.53250464161852</c:v>
                </c:pt>
                <c:pt idx="401">
                  <c:v>333.18284678991949</c:v>
                </c:pt>
                <c:pt idx="402">
                  <c:v>330.33355958448567</c:v>
                </c:pt>
                <c:pt idx="403">
                  <c:v>336.42450882574542</c:v>
                </c:pt>
                <c:pt idx="404">
                  <c:v>343.19087364681167</c:v>
                </c:pt>
                <c:pt idx="405">
                  <c:v>344.6061096480646</c:v>
                </c:pt>
                <c:pt idx="406">
                  <c:v>341.34200315033286</c:v>
                </c:pt>
                <c:pt idx="407">
                  <c:v>343.77974176091152</c:v>
                </c:pt>
                <c:pt idx="408">
                  <c:v>354.56912920378034</c:v>
                </c:pt>
                <c:pt idx="409">
                  <c:v>340.96731947118963</c:v>
                </c:pt>
                <c:pt idx="410">
                  <c:v>346.92353703682397</c:v>
                </c:pt>
                <c:pt idx="411">
                  <c:v>348.47087415276604</c:v>
                </c:pt>
                <c:pt idx="412">
                  <c:v>367.49510090472313</c:v>
                </c:pt>
                <c:pt idx="413">
                  <c:v>362.10513792802158</c:v>
                </c:pt>
                <c:pt idx="414">
                  <c:v>387.6307346128109</c:v>
                </c:pt>
                <c:pt idx="415">
                  <c:v>398.16564013804663</c:v>
                </c:pt>
                <c:pt idx="416">
                  <c:v>407.14599882352064</c:v>
                </c:pt>
                <c:pt idx="417">
                  <c:v>393.95889894571741</c:v>
                </c:pt>
                <c:pt idx="418">
                  <c:v>370.55467933253243</c:v>
                </c:pt>
                <c:pt idx="419">
                  <c:v>376.66099786136039</c:v>
                </c:pt>
                <c:pt idx="420">
                  <c:v>369.97660572118974</c:v>
                </c:pt>
                <c:pt idx="421">
                  <c:v>366.79685805983934</c:v>
                </c:pt>
                <c:pt idx="422">
                  <c:v>370.91587706021278</c:v>
                </c:pt>
                <c:pt idx="423">
                  <c:v>365.92123390324133</c:v>
                </c:pt>
                <c:pt idx="424">
                  <c:v>357.39366395984928</c:v>
                </c:pt>
                <c:pt idx="425">
                  <c:v>367.20897531526617</c:v>
                </c:pt>
                <c:pt idx="426">
                  <c:v>359.5998695563747</c:v>
                </c:pt>
                <c:pt idx="427">
                  <c:v>359.44742839213336</c:v>
                </c:pt>
                <c:pt idx="428">
                  <c:v>353.7808704637697</c:v>
                </c:pt>
                <c:pt idx="429">
                  <c:v>355.68145799297491</c:v>
                </c:pt>
                <c:pt idx="430">
                  <c:v>354.08646184216957</c:v>
                </c:pt>
                <c:pt idx="431">
                  <c:v>347.76541382484794</c:v>
                </c:pt>
                <c:pt idx="432">
                  <c:v>337.22911693970542</c:v>
                </c:pt>
                <c:pt idx="433">
                  <c:v>355.32924868843708</c:v>
                </c:pt>
                <c:pt idx="434">
                  <c:v>359.28933172598624</c:v>
                </c:pt>
                <c:pt idx="435">
                  <c:v>359.64164951879047</c:v>
                </c:pt>
                <c:pt idx="436">
                  <c:v>363.45388286723323</c:v>
                </c:pt>
                <c:pt idx="437">
                  <c:v>367.73695315575213</c:v>
                </c:pt>
                <c:pt idx="438">
                  <c:v>361.40243947356419</c:v>
                </c:pt>
                <c:pt idx="439">
                  <c:v>364.00877448507492</c:v>
                </c:pt>
                <c:pt idx="440">
                  <c:v>354.83829818901376</c:v>
                </c:pt>
                <c:pt idx="441">
                  <c:v>229.57508709502574</c:v>
                </c:pt>
                <c:pt idx="442">
                  <c:v>350.99516223375554</c:v>
                </c:pt>
                <c:pt idx="443">
                  <c:v>355.08954306655437</c:v>
                </c:pt>
                <c:pt idx="444">
                  <c:v>355.09746339553135</c:v>
                </c:pt>
                <c:pt idx="445">
                  <c:v>349.1847611220951</c:v>
                </c:pt>
                <c:pt idx="446">
                  <c:v>356.8273121125265</c:v>
                </c:pt>
                <c:pt idx="447">
                  <c:v>377.27054275327419</c:v>
                </c:pt>
                <c:pt idx="448">
                  <c:v>376.56415685887373</c:v>
                </c:pt>
                <c:pt idx="449">
                  <c:v>380.18831549830878</c:v>
                </c:pt>
                <c:pt idx="450">
                  <c:v>363.38952262999112</c:v>
                </c:pt>
                <c:pt idx="451">
                  <c:v>355.38039616479529</c:v>
                </c:pt>
                <c:pt idx="452">
                  <c:v>348.41170561069242</c:v>
                </c:pt>
                <c:pt idx="453">
                  <c:v>64.016534654598061</c:v>
                </c:pt>
                <c:pt idx="454">
                  <c:v>0</c:v>
                </c:pt>
                <c:pt idx="455">
                  <c:v>75.701765059500048</c:v>
                </c:pt>
                <c:pt idx="456">
                  <c:v>318.83816483328798</c:v>
                </c:pt>
                <c:pt idx="457">
                  <c:v>369.36491318012537</c:v>
                </c:pt>
                <c:pt idx="458">
                  <c:v>365.08630230064483</c:v>
                </c:pt>
                <c:pt idx="459">
                  <c:v>380.00300743666241</c:v>
                </c:pt>
                <c:pt idx="460">
                  <c:v>373.22470186119261</c:v>
                </c:pt>
                <c:pt idx="461">
                  <c:v>374.52232465793821</c:v>
                </c:pt>
                <c:pt idx="462">
                  <c:v>365.08431987360609</c:v>
                </c:pt>
                <c:pt idx="463">
                  <c:v>365.73900160652181</c:v>
                </c:pt>
                <c:pt idx="464">
                  <c:v>376.72278970231446</c:v>
                </c:pt>
                <c:pt idx="465">
                  <c:v>380.41730843493082</c:v>
                </c:pt>
                <c:pt idx="466">
                  <c:v>387.19063017819985</c:v>
                </c:pt>
                <c:pt idx="467">
                  <c:v>492.26656936470732</c:v>
                </c:pt>
                <c:pt idx="468">
                  <c:v>1658.8064246274539</c:v>
                </c:pt>
                <c:pt idx="469">
                  <c:v>342.73139928733156</c:v>
                </c:pt>
                <c:pt idx="470">
                  <c:v>338.80215650904785</c:v>
                </c:pt>
                <c:pt idx="471">
                  <c:v>350.64752616793589</c:v>
                </c:pt>
                <c:pt idx="472">
                  <c:v>360.61024357518801</c:v>
                </c:pt>
                <c:pt idx="473">
                  <c:v>373.09970615769174</c:v>
                </c:pt>
                <c:pt idx="474">
                  <c:v>357.0979186836293</c:v>
                </c:pt>
                <c:pt idx="475">
                  <c:v>339.44653829772113</c:v>
                </c:pt>
                <c:pt idx="476">
                  <c:v>340.64251092160276</c:v>
                </c:pt>
                <c:pt idx="477">
                  <c:v>353.78168094095389</c:v>
                </c:pt>
                <c:pt idx="478">
                  <c:v>338.17559940447342</c:v>
                </c:pt>
                <c:pt idx="479">
                  <c:v>342.86134876577239</c:v>
                </c:pt>
                <c:pt idx="480">
                  <c:v>354.95032085166122</c:v>
                </c:pt>
                <c:pt idx="481">
                  <c:v>361.9526012306676</c:v>
                </c:pt>
                <c:pt idx="482">
                  <c:v>358.9520133117187</c:v>
                </c:pt>
                <c:pt idx="483">
                  <c:v>366.00667528161853</c:v>
                </c:pt>
                <c:pt idx="484">
                  <c:v>331.82349206714423</c:v>
                </c:pt>
                <c:pt idx="485">
                  <c:v>372.92443980756929</c:v>
                </c:pt>
                <c:pt idx="486">
                  <c:v>351.43548108467212</c:v>
                </c:pt>
                <c:pt idx="487">
                  <c:v>358.18350531478239</c:v>
                </c:pt>
                <c:pt idx="488">
                  <c:v>350.1011857010987</c:v>
                </c:pt>
                <c:pt idx="489">
                  <c:v>349.11748526938811</c:v>
                </c:pt>
                <c:pt idx="490">
                  <c:v>364.37802158073396</c:v>
                </c:pt>
                <c:pt idx="491">
                  <c:v>359.73726392005142</c:v>
                </c:pt>
                <c:pt idx="492">
                  <c:v>365.20433911130891</c:v>
                </c:pt>
                <c:pt idx="493">
                  <c:v>476.91906481069287</c:v>
                </c:pt>
                <c:pt idx="494">
                  <c:v>593.3493473104611</c:v>
                </c:pt>
                <c:pt idx="495">
                  <c:v>1214.2692572280787</c:v>
                </c:pt>
                <c:pt idx="496">
                  <c:v>1505.2078861953989</c:v>
                </c:pt>
                <c:pt idx="497">
                  <c:v>0</c:v>
                </c:pt>
                <c:pt idx="498">
                  <c:v>11316.420766194698</c:v>
                </c:pt>
                <c:pt idx="499">
                  <c:v>358.01196207231186</c:v>
                </c:pt>
                <c:pt idx="500">
                  <c:v>342.34019861409922</c:v>
                </c:pt>
                <c:pt idx="501">
                  <c:v>350.21904916339031</c:v>
                </c:pt>
                <c:pt idx="502">
                  <c:v>346.71635897722479</c:v>
                </c:pt>
                <c:pt idx="503">
                  <c:v>335.48770411709029</c:v>
                </c:pt>
                <c:pt idx="504">
                  <c:v>353.71877207831955</c:v>
                </c:pt>
                <c:pt idx="505">
                  <c:v>351.39619784801567</c:v>
                </c:pt>
                <c:pt idx="506">
                  <c:v>641.23583569015864</c:v>
                </c:pt>
                <c:pt idx="507">
                  <c:v>351.63912497113404</c:v>
                </c:pt>
                <c:pt idx="508">
                  <c:v>369.07807264703212</c:v>
                </c:pt>
                <c:pt idx="509">
                  <c:v>347.92189429660237</c:v>
                </c:pt>
                <c:pt idx="510">
                  <c:v>332.17865718040275</c:v>
                </c:pt>
                <c:pt idx="511">
                  <c:v>343.00928614684119</c:v>
                </c:pt>
                <c:pt idx="512">
                  <c:v>352.76872065598923</c:v>
                </c:pt>
                <c:pt idx="513">
                  <c:v>347.98351516284811</c:v>
                </c:pt>
                <c:pt idx="514">
                  <c:v>354.29068803649193</c:v>
                </c:pt>
                <c:pt idx="515">
                  <c:v>344.40533501617404</c:v>
                </c:pt>
                <c:pt idx="516">
                  <c:v>343.16770453656414</c:v>
                </c:pt>
                <c:pt idx="517">
                  <c:v>349.39433825125678</c:v>
                </c:pt>
                <c:pt idx="518">
                  <c:v>350.34827927677907</c:v>
                </c:pt>
                <c:pt idx="519">
                  <c:v>343.31935707382758</c:v>
                </c:pt>
                <c:pt idx="520">
                  <c:v>341.9869211879971</c:v>
                </c:pt>
                <c:pt idx="521">
                  <c:v>347.74054220292697</c:v>
                </c:pt>
                <c:pt idx="522">
                  <c:v>350.09506657684716</c:v>
                </c:pt>
                <c:pt idx="523">
                  <c:v>349.7545349249487</c:v>
                </c:pt>
                <c:pt idx="524">
                  <c:v>320.52675484821594</c:v>
                </c:pt>
                <c:pt idx="525">
                  <c:v>336.82883013991409</c:v>
                </c:pt>
                <c:pt idx="526">
                  <c:v>273.31964005733658</c:v>
                </c:pt>
                <c:pt idx="527">
                  <c:v>356.26023266947641</c:v>
                </c:pt>
                <c:pt idx="528">
                  <c:v>355.21505993144297</c:v>
                </c:pt>
                <c:pt idx="529">
                  <c:v>368.23996154529806</c:v>
                </c:pt>
                <c:pt idx="530">
                  <c:v>363.44930048389961</c:v>
                </c:pt>
                <c:pt idx="531">
                  <c:v>387.38989281426382</c:v>
                </c:pt>
                <c:pt idx="532">
                  <c:v>363.20886600470465</c:v>
                </c:pt>
                <c:pt idx="533">
                  <c:v>375.47363088414085</c:v>
                </c:pt>
                <c:pt idx="534">
                  <c:v>356.87643744265785</c:v>
                </c:pt>
                <c:pt idx="535">
                  <c:v>355.52290112424282</c:v>
                </c:pt>
                <c:pt idx="536">
                  <c:v>357.28201411231515</c:v>
                </c:pt>
                <c:pt idx="537">
                  <c:v>366.76979148036139</c:v>
                </c:pt>
                <c:pt idx="538">
                  <c:v>370.37578991099349</c:v>
                </c:pt>
                <c:pt idx="539">
                  <c:v>370.95706643407112</c:v>
                </c:pt>
                <c:pt idx="540">
                  <c:v>370.94040932555259</c:v>
                </c:pt>
                <c:pt idx="541">
                  <c:v>375.98574700468095</c:v>
                </c:pt>
                <c:pt idx="542">
                  <c:v>389.68579109696162</c:v>
                </c:pt>
                <c:pt idx="543">
                  <c:v>384.63559917071331</c:v>
                </c:pt>
                <c:pt idx="544">
                  <c:v>396.88599643024457</c:v>
                </c:pt>
                <c:pt idx="545">
                  <c:v>369.04184255495085</c:v>
                </c:pt>
                <c:pt idx="546">
                  <c:v>374.87677114294956</c:v>
                </c:pt>
                <c:pt idx="547">
                  <c:v>370.98570016823425</c:v>
                </c:pt>
                <c:pt idx="548">
                  <c:v>367.86157655021469</c:v>
                </c:pt>
                <c:pt idx="549">
                  <c:v>368.49194799683829</c:v>
                </c:pt>
                <c:pt idx="550">
                  <c:v>346.4315533678037</c:v>
                </c:pt>
                <c:pt idx="551">
                  <c:v>344.47767796267408</c:v>
                </c:pt>
                <c:pt idx="552">
                  <c:v>338.55773966694153</c:v>
                </c:pt>
                <c:pt idx="553">
                  <c:v>334.70450918589057</c:v>
                </c:pt>
                <c:pt idx="554">
                  <c:v>342.97793067966228</c:v>
                </c:pt>
                <c:pt idx="555">
                  <c:v>358.54102620967245</c:v>
                </c:pt>
                <c:pt idx="556">
                  <c:v>365.74071664018487</c:v>
                </c:pt>
                <c:pt idx="557">
                  <c:v>364.95994451615798</c:v>
                </c:pt>
                <c:pt idx="558">
                  <c:v>350.11711875676212</c:v>
                </c:pt>
                <c:pt idx="559">
                  <c:v>350.63553468564101</c:v>
                </c:pt>
                <c:pt idx="560">
                  <c:v>351.97267047223971</c:v>
                </c:pt>
                <c:pt idx="561">
                  <c:v>351.51078196698137</c:v>
                </c:pt>
                <c:pt idx="562">
                  <c:v>369.36743547528812</c:v>
                </c:pt>
                <c:pt idx="563">
                  <c:v>367.07706375490363</c:v>
                </c:pt>
                <c:pt idx="564">
                  <c:v>378.28315878474967</c:v>
                </c:pt>
                <c:pt idx="565">
                  <c:v>350.1670485661009</c:v>
                </c:pt>
                <c:pt idx="566">
                  <c:v>351.47220813748874</c:v>
                </c:pt>
                <c:pt idx="567">
                  <c:v>374.17824445204303</c:v>
                </c:pt>
                <c:pt idx="568">
                  <c:v>383.67010323915252</c:v>
                </c:pt>
                <c:pt idx="569">
                  <c:v>391.41310191981285</c:v>
                </c:pt>
                <c:pt idx="570">
                  <c:v>494.24345248444598</c:v>
                </c:pt>
                <c:pt idx="571">
                  <c:v>395.16501920230019</c:v>
                </c:pt>
                <c:pt idx="572">
                  <c:v>400.1274808562755</c:v>
                </c:pt>
                <c:pt idx="573">
                  <c:v>371.88900189295572</c:v>
                </c:pt>
                <c:pt idx="574">
                  <c:v>373.81606650679169</c:v>
                </c:pt>
                <c:pt idx="575">
                  <c:v>364.70923052543344</c:v>
                </c:pt>
                <c:pt idx="576">
                  <c:v>372.21353402442446</c:v>
                </c:pt>
                <c:pt idx="577">
                  <c:v>385.76133898440219</c:v>
                </c:pt>
                <c:pt idx="578">
                  <c:v>381.58689126815625</c:v>
                </c:pt>
                <c:pt idx="579">
                  <c:v>397.12025851334238</c:v>
                </c:pt>
                <c:pt idx="580">
                  <c:v>399.02734114260596</c:v>
                </c:pt>
                <c:pt idx="581">
                  <c:v>410.65683243631992</c:v>
                </c:pt>
                <c:pt idx="582">
                  <c:v>392.96164598708617</c:v>
                </c:pt>
                <c:pt idx="583">
                  <c:v>369.15065739532349</c:v>
                </c:pt>
                <c:pt idx="584">
                  <c:v>386.01798844419949</c:v>
                </c:pt>
                <c:pt idx="585">
                  <c:v>388.52720818926571</c:v>
                </c:pt>
                <c:pt idx="586">
                  <c:v>394.96022787709694</c:v>
                </c:pt>
                <c:pt idx="587">
                  <c:v>372.71687949552825</c:v>
                </c:pt>
                <c:pt idx="588">
                  <c:v>372.356336026549</c:v>
                </c:pt>
                <c:pt idx="589">
                  <c:v>375.62588420927557</c:v>
                </c:pt>
                <c:pt idx="590">
                  <c:v>234.51212534739554</c:v>
                </c:pt>
                <c:pt idx="591">
                  <c:v>377.01011447387248</c:v>
                </c:pt>
                <c:pt idx="592">
                  <c:v>377.31204513947324</c:v>
                </c:pt>
                <c:pt idx="593">
                  <c:v>357.89273531162644</c:v>
                </c:pt>
                <c:pt idx="594">
                  <c:v>367.45874000797335</c:v>
                </c:pt>
                <c:pt idx="595">
                  <c:v>373.39660908024831</c:v>
                </c:pt>
                <c:pt idx="596">
                  <c:v>364.75680476601144</c:v>
                </c:pt>
                <c:pt idx="597">
                  <c:v>351.45192749511608</c:v>
                </c:pt>
                <c:pt idx="598">
                  <c:v>0.28313893092797177</c:v>
                </c:pt>
                <c:pt idx="599">
                  <c:v>0</c:v>
                </c:pt>
                <c:pt idx="600">
                  <c:v>114.69151730197487</c:v>
                </c:pt>
                <c:pt idx="601">
                  <c:v>107.77057637947594</c:v>
                </c:pt>
                <c:pt idx="602">
                  <c:v>228.7908049501695</c:v>
                </c:pt>
                <c:pt idx="603">
                  <c:v>286.9579768556867</c:v>
                </c:pt>
                <c:pt idx="604">
                  <c:v>336.01774991420604</c:v>
                </c:pt>
                <c:pt idx="605">
                  <c:v>326.23919747704929</c:v>
                </c:pt>
                <c:pt idx="606">
                  <c:v>335.93275187318477</c:v>
                </c:pt>
                <c:pt idx="607">
                  <c:v>378.20765741974202</c:v>
                </c:pt>
                <c:pt idx="608">
                  <c:v>340.50565422529843</c:v>
                </c:pt>
                <c:pt idx="609">
                  <c:v>342.28244688255057</c:v>
                </c:pt>
                <c:pt idx="610">
                  <c:v>351.43589447760166</c:v>
                </c:pt>
                <c:pt idx="611">
                  <c:v>347.88862745375138</c:v>
                </c:pt>
                <c:pt idx="612">
                  <c:v>343.03136224456614</c:v>
                </c:pt>
                <c:pt idx="613">
                  <c:v>309.08614945336325</c:v>
                </c:pt>
                <c:pt idx="614">
                  <c:v>354.32123238641714</c:v>
                </c:pt>
                <c:pt idx="615">
                  <c:v>359.41446655454445</c:v>
                </c:pt>
                <c:pt idx="616">
                  <c:v>394.59206950298358</c:v>
                </c:pt>
                <c:pt idx="617">
                  <c:v>409.13765394635857</c:v>
                </c:pt>
                <c:pt idx="618">
                  <c:v>386.48800012630528</c:v>
                </c:pt>
                <c:pt idx="619">
                  <c:v>388.1002274100249</c:v>
                </c:pt>
                <c:pt idx="620">
                  <c:v>386.56247430616969</c:v>
                </c:pt>
                <c:pt idx="621">
                  <c:v>394.99831738978651</c:v>
                </c:pt>
                <c:pt idx="622">
                  <c:v>359.48076289525471</c:v>
                </c:pt>
                <c:pt idx="623">
                  <c:v>383.21220807357128</c:v>
                </c:pt>
                <c:pt idx="624">
                  <c:v>388.87287969901666</c:v>
                </c:pt>
                <c:pt idx="625">
                  <c:v>418.37927444870138</c:v>
                </c:pt>
                <c:pt idx="626">
                  <c:v>437.23990998563869</c:v>
                </c:pt>
                <c:pt idx="627">
                  <c:v>442.4688415197644</c:v>
                </c:pt>
                <c:pt idx="628">
                  <c:v>66.335924657456857</c:v>
                </c:pt>
                <c:pt idx="629">
                  <c:v>310.19851552016456</c:v>
                </c:pt>
                <c:pt idx="630">
                  <c:v>327.17693873902255</c:v>
                </c:pt>
                <c:pt idx="631">
                  <c:v>324.17123131809745</c:v>
                </c:pt>
                <c:pt idx="632">
                  <c:v>315.40775927505933</c:v>
                </c:pt>
                <c:pt idx="633">
                  <c:v>314.92137430251313</c:v>
                </c:pt>
                <c:pt idx="634">
                  <c:v>311.03647933882399</c:v>
                </c:pt>
                <c:pt idx="635">
                  <c:v>319.40459794769436</c:v>
                </c:pt>
                <c:pt idx="636">
                  <c:v>317.89935956047901</c:v>
                </c:pt>
                <c:pt idx="637">
                  <c:v>336.52231908219221</c:v>
                </c:pt>
                <c:pt idx="638">
                  <c:v>413.05242129426625</c:v>
                </c:pt>
                <c:pt idx="639">
                  <c:v>474.74699724989608</c:v>
                </c:pt>
                <c:pt idx="640">
                  <c:v>527.29287805246179</c:v>
                </c:pt>
                <c:pt idx="641">
                  <c:v>1523.4718574762298</c:v>
                </c:pt>
                <c:pt idx="642">
                  <c:v>0</c:v>
                </c:pt>
                <c:pt idx="643">
                  <c:v>1881.172954195524</c:v>
                </c:pt>
                <c:pt idx="644">
                  <c:v>402.62807287865672</c:v>
                </c:pt>
                <c:pt idx="645">
                  <c:v>386.99240485783554</c:v>
                </c:pt>
                <c:pt idx="646">
                  <c:v>392.638825847627</c:v>
                </c:pt>
                <c:pt idx="647">
                  <c:v>413.39509860901666</c:v>
                </c:pt>
                <c:pt idx="648">
                  <c:v>385.56008921633099</c:v>
                </c:pt>
                <c:pt idx="649">
                  <c:v>361.51415764787976</c:v>
                </c:pt>
                <c:pt idx="650">
                  <c:v>382.86343142424226</c:v>
                </c:pt>
                <c:pt idx="651">
                  <c:v>368.1323632190967</c:v>
                </c:pt>
                <c:pt idx="652">
                  <c:v>372.50194039983671</c:v>
                </c:pt>
                <c:pt idx="653">
                  <c:v>360.36319971294381</c:v>
                </c:pt>
                <c:pt idx="654">
                  <c:v>355.80474996374454</c:v>
                </c:pt>
                <c:pt idx="655">
                  <c:v>565.93690117164181</c:v>
                </c:pt>
                <c:pt idx="656">
                  <c:v>367.53487821906452</c:v>
                </c:pt>
                <c:pt idx="657">
                  <c:v>364.79737155355434</c:v>
                </c:pt>
                <c:pt idx="658">
                  <c:v>370.43606614360942</c:v>
                </c:pt>
                <c:pt idx="659">
                  <c:v>385.03425400263353</c:v>
                </c:pt>
                <c:pt idx="660">
                  <c:v>372.8894837461981</c:v>
                </c:pt>
                <c:pt idx="661">
                  <c:v>385.30476632185201</c:v>
                </c:pt>
                <c:pt idx="662">
                  <c:v>360.75351860163386</c:v>
                </c:pt>
                <c:pt idx="663">
                  <c:v>360.58647461006814</c:v>
                </c:pt>
                <c:pt idx="664">
                  <c:v>357.00262235880979</c:v>
                </c:pt>
                <c:pt idx="665">
                  <c:v>351.75009790566338</c:v>
                </c:pt>
                <c:pt idx="666">
                  <c:v>367.97464848089317</c:v>
                </c:pt>
                <c:pt idx="667">
                  <c:v>362.35393540107901</c:v>
                </c:pt>
                <c:pt idx="668">
                  <c:v>354.70112945309177</c:v>
                </c:pt>
                <c:pt idx="669">
                  <c:v>372.47590994296007</c:v>
                </c:pt>
                <c:pt idx="670">
                  <c:v>344.36393330447623</c:v>
                </c:pt>
                <c:pt idx="671">
                  <c:v>364.90086060228123</c:v>
                </c:pt>
                <c:pt idx="672">
                  <c:v>353.91532400562556</c:v>
                </c:pt>
                <c:pt idx="673">
                  <c:v>342.93018088428903</c:v>
                </c:pt>
                <c:pt idx="674">
                  <c:v>355.68025866460215</c:v>
                </c:pt>
                <c:pt idx="675">
                  <c:v>341.37591317619734</c:v>
                </c:pt>
                <c:pt idx="676">
                  <c:v>348.44115141366075</c:v>
                </c:pt>
                <c:pt idx="677">
                  <c:v>339.42574574902625</c:v>
                </c:pt>
                <c:pt idx="678">
                  <c:v>324.94472742254175</c:v>
                </c:pt>
                <c:pt idx="679">
                  <c:v>344.52575901357062</c:v>
                </c:pt>
                <c:pt idx="680">
                  <c:v>399.79996985214302</c:v>
                </c:pt>
                <c:pt idx="681">
                  <c:v>400.06635615613095</c:v>
                </c:pt>
                <c:pt idx="682">
                  <c:v>398.0087082981064</c:v>
                </c:pt>
                <c:pt idx="683">
                  <c:v>377.25094405040778</c:v>
                </c:pt>
                <c:pt idx="684">
                  <c:v>419.81767078743081</c:v>
                </c:pt>
                <c:pt idx="685">
                  <c:v>368.4866317493109</c:v>
                </c:pt>
                <c:pt idx="686">
                  <c:v>392.06657813043239</c:v>
                </c:pt>
                <c:pt idx="687">
                  <c:v>347.0887643644507</c:v>
                </c:pt>
                <c:pt idx="688">
                  <c:v>328.61650280151355</c:v>
                </c:pt>
                <c:pt idx="689">
                  <c:v>333.56170242955335</c:v>
                </c:pt>
                <c:pt idx="690">
                  <c:v>332.24354275701984</c:v>
                </c:pt>
                <c:pt idx="691">
                  <c:v>329.52218845700969</c:v>
                </c:pt>
                <c:pt idx="692">
                  <c:v>340.17858511538964</c:v>
                </c:pt>
                <c:pt idx="693">
                  <c:v>342.32482516739515</c:v>
                </c:pt>
                <c:pt idx="694">
                  <c:v>336.9637803602904</c:v>
                </c:pt>
                <c:pt idx="695">
                  <c:v>333.92575780086224</c:v>
                </c:pt>
                <c:pt idx="696">
                  <c:v>330.27930153737822</c:v>
                </c:pt>
                <c:pt idx="697">
                  <c:v>350.61538959433659</c:v>
                </c:pt>
                <c:pt idx="698">
                  <c:v>348.32779443057996</c:v>
                </c:pt>
                <c:pt idx="699">
                  <c:v>343.77641900095097</c:v>
                </c:pt>
                <c:pt idx="700">
                  <c:v>347.12513742553568</c:v>
                </c:pt>
                <c:pt idx="701">
                  <c:v>366.47812882256807</c:v>
                </c:pt>
                <c:pt idx="702">
                  <c:v>370.5385527373187</c:v>
                </c:pt>
                <c:pt idx="703">
                  <c:v>335.83702865615436</c:v>
                </c:pt>
                <c:pt idx="704">
                  <c:v>329.22111871692039</c:v>
                </c:pt>
                <c:pt idx="705">
                  <c:v>326.38844841089372</c:v>
                </c:pt>
                <c:pt idx="706">
                  <c:v>345.72750723393727</c:v>
                </c:pt>
                <c:pt idx="707">
                  <c:v>330.37981962926216</c:v>
                </c:pt>
                <c:pt idx="708">
                  <c:v>364.87964674024272</c:v>
                </c:pt>
                <c:pt idx="709">
                  <c:v>356.01610097360646</c:v>
                </c:pt>
                <c:pt idx="710">
                  <c:v>339.31736667597767</c:v>
                </c:pt>
                <c:pt idx="711">
                  <c:v>335.47630889006109</c:v>
                </c:pt>
                <c:pt idx="712">
                  <c:v>354.4231619054591</c:v>
                </c:pt>
                <c:pt idx="713">
                  <c:v>339.97498696123785</c:v>
                </c:pt>
                <c:pt idx="714">
                  <c:v>335.80649534252427</c:v>
                </c:pt>
                <c:pt idx="715">
                  <c:v>332.34548735777878</c:v>
                </c:pt>
                <c:pt idx="716">
                  <c:v>326.33982790877343</c:v>
                </c:pt>
                <c:pt idx="717">
                  <c:v>337.25150394949787</c:v>
                </c:pt>
                <c:pt idx="718">
                  <c:v>332.17421372809156</c:v>
                </c:pt>
                <c:pt idx="719">
                  <c:v>345.69297267911116</c:v>
                </c:pt>
                <c:pt idx="720">
                  <c:v>351.36224811307613</c:v>
                </c:pt>
                <c:pt idx="721">
                  <c:v>338.2282889920973</c:v>
                </c:pt>
                <c:pt idx="722">
                  <c:v>344.06328325988517</c:v>
                </c:pt>
                <c:pt idx="723">
                  <c:v>356.7039290356459</c:v>
                </c:pt>
                <c:pt idx="724">
                  <c:v>402.77551158019787</c:v>
                </c:pt>
                <c:pt idx="725">
                  <c:v>2672.2996481294922</c:v>
                </c:pt>
                <c:pt idx="726">
                  <c:v>1747.6101716864957</c:v>
                </c:pt>
                <c:pt idx="727">
                  <c:v>363.41483308887348</c:v>
                </c:pt>
                <c:pt idx="728">
                  <c:v>352.53877507271949</c:v>
                </c:pt>
                <c:pt idx="729">
                  <c:v>351.43957223867329</c:v>
                </c:pt>
                <c:pt idx="730">
                  <c:v>351.38662093141374</c:v>
                </c:pt>
                <c:pt idx="731">
                  <c:v>335.68565548394417</c:v>
                </c:pt>
                <c:pt idx="732">
                  <c:v>357.59301860000909</c:v>
                </c:pt>
                <c:pt idx="733">
                  <c:v>345.5791601471272</c:v>
                </c:pt>
                <c:pt idx="734">
                  <c:v>346.31333467665723</c:v>
                </c:pt>
                <c:pt idx="735">
                  <c:v>337.3121701782444</c:v>
                </c:pt>
                <c:pt idx="736">
                  <c:v>347.97691352283351</c:v>
                </c:pt>
                <c:pt idx="737">
                  <c:v>340.10617220941816</c:v>
                </c:pt>
                <c:pt idx="738">
                  <c:v>329.94456126493367</c:v>
                </c:pt>
                <c:pt idx="739">
                  <c:v>333.04552083961585</c:v>
                </c:pt>
                <c:pt idx="740">
                  <c:v>316.81717619493963</c:v>
                </c:pt>
                <c:pt idx="741">
                  <c:v>277.49829494463455</c:v>
                </c:pt>
                <c:pt idx="742">
                  <c:v>315.26426964253034</c:v>
                </c:pt>
                <c:pt idx="743">
                  <c:v>343.79931877212226</c:v>
                </c:pt>
                <c:pt idx="744">
                  <c:v>345.75247833091902</c:v>
                </c:pt>
                <c:pt idx="745">
                  <c:v>345.08896959407264</c:v>
                </c:pt>
                <c:pt idx="746">
                  <c:v>346.85140392019582</c:v>
                </c:pt>
                <c:pt idx="747">
                  <c:v>347.84018526026097</c:v>
                </c:pt>
                <c:pt idx="748">
                  <c:v>340.51782096418816</c:v>
                </c:pt>
                <c:pt idx="749">
                  <c:v>355.67470834991002</c:v>
                </c:pt>
                <c:pt idx="750">
                  <c:v>330.04791740473337</c:v>
                </c:pt>
                <c:pt idx="751">
                  <c:v>331.02823886542768</c:v>
                </c:pt>
                <c:pt idx="752">
                  <c:v>347.58440955658705</c:v>
                </c:pt>
                <c:pt idx="753">
                  <c:v>348.19201241888976</c:v>
                </c:pt>
                <c:pt idx="754">
                  <c:v>349.27799938743755</c:v>
                </c:pt>
                <c:pt idx="755">
                  <c:v>332.68948818387764</c:v>
                </c:pt>
                <c:pt idx="756">
                  <c:v>355.33497640133299</c:v>
                </c:pt>
                <c:pt idx="757">
                  <c:v>347.01296660870963</c:v>
                </c:pt>
                <c:pt idx="758">
                  <c:v>355.63821818867359</c:v>
                </c:pt>
                <c:pt idx="759">
                  <c:v>343.74342499788776</c:v>
                </c:pt>
                <c:pt idx="760">
                  <c:v>343.18237375040781</c:v>
                </c:pt>
                <c:pt idx="761">
                  <c:v>360.10646848951905</c:v>
                </c:pt>
                <c:pt idx="762">
                  <c:v>365.14486372920459</c:v>
                </c:pt>
                <c:pt idx="763">
                  <c:v>360.45880091851916</c:v>
                </c:pt>
                <c:pt idx="764">
                  <c:v>358.51261098475817</c:v>
                </c:pt>
                <c:pt idx="765">
                  <c:v>369.89702448298948</c:v>
                </c:pt>
                <c:pt idx="766">
                  <c:v>352.98871331365001</c:v>
                </c:pt>
                <c:pt idx="767">
                  <c:v>378.48735625752812</c:v>
                </c:pt>
                <c:pt idx="768">
                  <c:v>367.00700284929627</c:v>
                </c:pt>
                <c:pt idx="769">
                  <c:v>363.57156752876989</c:v>
                </c:pt>
                <c:pt idx="770">
                  <c:v>367.46074877269291</c:v>
                </c:pt>
                <c:pt idx="771">
                  <c:v>364.63828837087567</c:v>
                </c:pt>
                <c:pt idx="772">
                  <c:v>366.19821288503641</c:v>
                </c:pt>
                <c:pt idx="773">
                  <c:v>352.38177547291531</c:v>
                </c:pt>
                <c:pt idx="774">
                  <c:v>348.87611007477176</c:v>
                </c:pt>
                <c:pt idx="775">
                  <c:v>350.79614154664483</c:v>
                </c:pt>
                <c:pt idx="776">
                  <c:v>355.39198280003984</c:v>
                </c:pt>
                <c:pt idx="777">
                  <c:v>363.93032044411439</c:v>
                </c:pt>
                <c:pt idx="778">
                  <c:v>353.89470286598288</c:v>
                </c:pt>
                <c:pt idx="779">
                  <c:v>349.98319699997251</c:v>
                </c:pt>
                <c:pt idx="780">
                  <c:v>348.02795538245527</c:v>
                </c:pt>
                <c:pt idx="781">
                  <c:v>351.7392443910511</c:v>
                </c:pt>
                <c:pt idx="782">
                  <c:v>355.24503984448796</c:v>
                </c:pt>
                <c:pt idx="783">
                  <c:v>335.42605293429006</c:v>
                </c:pt>
                <c:pt idx="784">
                  <c:v>361.76221526183633</c:v>
                </c:pt>
                <c:pt idx="785">
                  <c:v>340.06259825206803</c:v>
                </c:pt>
                <c:pt idx="786">
                  <c:v>370.76448569904841</c:v>
                </c:pt>
                <c:pt idx="787">
                  <c:v>377.82255044680039</c:v>
                </c:pt>
                <c:pt idx="788">
                  <c:v>415.47828714916352</c:v>
                </c:pt>
                <c:pt idx="789">
                  <c:v>1179.3179669305125</c:v>
                </c:pt>
                <c:pt idx="790">
                  <c:v>359.91147268744356</c:v>
                </c:pt>
                <c:pt idx="791">
                  <c:v>345.96103703394834</c:v>
                </c:pt>
                <c:pt idx="792">
                  <c:v>359.45571415908546</c:v>
                </c:pt>
                <c:pt idx="793">
                  <c:v>370.45161570866765</c:v>
                </c:pt>
                <c:pt idx="794">
                  <c:v>365.0406841539081</c:v>
                </c:pt>
                <c:pt idx="795">
                  <c:v>71.602671717716007</c:v>
                </c:pt>
                <c:pt idx="796">
                  <c:v>104.82203822768749</c:v>
                </c:pt>
                <c:pt idx="797">
                  <c:v>379.91980498091624</c:v>
                </c:pt>
                <c:pt idx="798">
                  <c:v>373.74126928096126</c:v>
                </c:pt>
                <c:pt idx="799">
                  <c:v>339.10721666399945</c:v>
                </c:pt>
                <c:pt idx="800">
                  <c:v>385.77829391201175</c:v>
                </c:pt>
                <c:pt idx="801">
                  <c:v>369.73535848800287</c:v>
                </c:pt>
                <c:pt idx="802">
                  <c:v>382.67723497949379</c:v>
                </c:pt>
                <c:pt idx="803">
                  <c:v>389.6918827329452</c:v>
                </c:pt>
                <c:pt idx="804">
                  <c:v>383.3535720042106</c:v>
                </c:pt>
                <c:pt idx="805">
                  <c:v>407.79417404989988</c:v>
                </c:pt>
                <c:pt idx="806">
                  <c:v>396.74767437722346</c:v>
                </c:pt>
                <c:pt idx="807">
                  <c:v>384.03353936090372</c:v>
                </c:pt>
                <c:pt idx="808">
                  <c:v>370.63815178761229</c:v>
                </c:pt>
                <c:pt idx="809">
                  <c:v>378.2596661878577</c:v>
                </c:pt>
                <c:pt idx="810">
                  <c:v>382.08199675523394</c:v>
                </c:pt>
                <c:pt idx="811">
                  <c:v>374.6734077493864</c:v>
                </c:pt>
                <c:pt idx="812">
                  <c:v>386.765634781605</c:v>
                </c:pt>
                <c:pt idx="813">
                  <c:v>405.27610938618267</c:v>
                </c:pt>
                <c:pt idx="814">
                  <c:v>397.89338627518754</c:v>
                </c:pt>
                <c:pt idx="815">
                  <c:v>398.70765251718177</c:v>
                </c:pt>
                <c:pt idx="816">
                  <c:v>390.54140145195038</c:v>
                </c:pt>
                <c:pt idx="817">
                  <c:v>371.97306981134773</c:v>
                </c:pt>
                <c:pt idx="818">
                  <c:v>374.21347053434766</c:v>
                </c:pt>
                <c:pt idx="819">
                  <c:v>379.12726376197855</c:v>
                </c:pt>
                <c:pt idx="820">
                  <c:v>375.62679039751839</c:v>
                </c:pt>
                <c:pt idx="821">
                  <c:v>387.9345511810485</c:v>
                </c:pt>
                <c:pt idx="822">
                  <c:v>382.67809571471997</c:v>
                </c:pt>
                <c:pt idx="823">
                  <c:v>383.72738257721164</c:v>
                </c:pt>
                <c:pt idx="824">
                  <c:v>385.66071310877078</c:v>
                </c:pt>
                <c:pt idx="825">
                  <c:v>399.03580810799497</c:v>
                </c:pt>
                <c:pt idx="826">
                  <c:v>382.220126688969</c:v>
                </c:pt>
                <c:pt idx="827">
                  <c:v>377.28827172734191</c:v>
                </c:pt>
                <c:pt idx="828">
                  <c:v>244.15101208862072</c:v>
                </c:pt>
                <c:pt idx="829">
                  <c:v>358.67005110197925</c:v>
                </c:pt>
                <c:pt idx="830">
                  <c:v>407.74645731395003</c:v>
                </c:pt>
                <c:pt idx="831">
                  <c:v>414.51922347797023</c:v>
                </c:pt>
                <c:pt idx="832">
                  <c:v>381.10062884332456</c:v>
                </c:pt>
                <c:pt idx="833">
                  <c:v>404.73632800111221</c:v>
                </c:pt>
                <c:pt idx="834">
                  <c:v>396.91771124717945</c:v>
                </c:pt>
                <c:pt idx="835">
                  <c:v>370.46916237259308</c:v>
                </c:pt>
                <c:pt idx="836">
                  <c:v>376.35125568490378</c:v>
                </c:pt>
                <c:pt idx="837">
                  <c:v>368.88382653767047</c:v>
                </c:pt>
                <c:pt idx="838">
                  <c:v>361.04295454582893</c:v>
                </c:pt>
                <c:pt idx="839">
                  <c:v>366.63671884796815</c:v>
                </c:pt>
                <c:pt idx="840">
                  <c:v>367.08627874282229</c:v>
                </c:pt>
                <c:pt idx="841">
                  <c:v>365.782124987119</c:v>
                </c:pt>
                <c:pt idx="842">
                  <c:v>365.33279105203667</c:v>
                </c:pt>
                <c:pt idx="843">
                  <c:v>363.33394002655132</c:v>
                </c:pt>
                <c:pt idx="844">
                  <c:v>368.33669576699168</c:v>
                </c:pt>
                <c:pt idx="845">
                  <c:v>360.13146812590054</c:v>
                </c:pt>
                <c:pt idx="846">
                  <c:v>377.55262978525707</c:v>
                </c:pt>
                <c:pt idx="847">
                  <c:v>349.91509453852774</c:v>
                </c:pt>
                <c:pt idx="848">
                  <c:v>346.59264059034052</c:v>
                </c:pt>
                <c:pt idx="849">
                  <c:v>355.86235244290185</c:v>
                </c:pt>
                <c:pt idx="850">
                  <c:v>357.61491528428058</c:v>
                </c:pt>
                <c:pt idx="851">
                  <c:v>354.02537982155047</c:v>
                </c:pt>
                <c:pt idx="852">
                  <c:v>375.74432500170673</c:v>
                </c:pt>
                <c:pt idx="853">
                  <c:v>366.75057231534265</c:v>
                </c:pt>
                <c:pt idx="854">
                  <c:v>364.05929449986741</c:v>
                </c:pt>
                <c:pt idx="855">
                  <c:v>360.31800277593487</c:v>
                </c:pt>
                <c:pt idx="856">
                  <c:v>378.18844197586554</c:v>
                </c:pt>
                <c:pt idx="857">
                  <c:v>372.33811091193803</c:v>
                </c:pt>
                <c:pt idx="858">
                  <c:v>374.7173055009373</c:v>
                </c:pt>
                <c:pt idx="859">
                  <c:v>381.51524055058815</c:v>
                </c:pt>
                <c:pt idx="860">
                  <c:v>452.99991479941559</c:v>
                </c:pt>
                <c:pt idx="861">
                  <c:v>828.75275679294089</c:v>
                </c:pt>
                <c:pt idx="862">
                  <c:v>1020.0422995727218</c:v>
                </c:pt>
                <c:pt idx="863">
                  <c:v>359.53484915568805</c:v>
                </c:pt>
                <c:pt idx="864">
                  <c:v>468.3410324904234</c:v>
                </c:pt>
                <c:pt idx="865">
                  <c:v>616.60959662322648</c:v>
                </c:pt>
                <c:pt idx="866">
                  <c:v>380.41528623609992</c:v>
                </c:pt>
                <c:pt idx="867">
                  <c:v>387.27353018774301</c:v>
                </c:pt>
                <c:pt idx="868">
                  <c:v>416.84897990084045</c:v>
                </c:pt>
                <c:pt idx="869">
                  <c:v>37.137981853669423</c:v>
                </c:pt>
                <c:pt idx="870">
                  <c:v>18.033588212834392</c:v>
                </c:pt>
                <c:pt idx="871">
                  <c:v>345.3714504530659</c:v>
                </c:pt>
                <c:pt idx="872">
                  <c:v>352.83163776248887</c:v>
                </c:pt>
                <c:pt idx="873">
                  <c:v>362.26125330798715</c:v>
                </c:pt>
                <c:pt idx="874">
                  <c:v>361.16988847891588</c:v>
                </c:pt>
                <c:pt idx="875">
                  <c:v>365.09397384807693</c:v>
                </c:pt>
                <c:pt idx="876">
                  <c:v>359.21112454650427</c:v>
                </c:pt>
                <c:pt idx="877">
                  <c:v>361.68435176381547</c:v>
                </c:pt>
                <c:pt idx="878">
                  <c:v>356.9753520086482</c:v>
                </c:pt>
                <c:pt idx="879">
                  <c:v>356.81666626371452</c:v>
                </c:pt>
                <c:pt idx="880">
                  <c:v>355.59510938499335</c:v>
                </c:pt>
                <c:pt idx="881">
                  <c:v>364.09848015269637</c:v>
                </c:pt>
                <c:pt idx="882">
                  <c:v>363.43043574162073</c:v>
                </c:pt>
                <c:pt idx="883">
                  <c:v>363.73841529898812</c:v>
                </c:pt>
                <c:pt idx="884">
                  <c:v>373.58351883284308</c:v>
                </c:pt>
                <c:pt idx="885">
                  <c:v>365.58672975124813</c:v>
                </c:pt>
                <c:pt idx="886">
                  <c:v>376.26091333322813</c:v>
                </c:pt>
                <c:pt idx="887">
                  <c:v>357.95079647536244</c:v>
                </c:pt>
                <c:pt idx="888">
                  <c:v>344.32667173293504</c:v>
                </c:pt>
                <c:pt idx="889">
                  <c:v>343.62210913876186</c:v>
                </c:pt>
                <c:pt idx="890">
                  <c:v>348.19556329884887</c:v>
                </c:pt>
                <c:pt idx="891">
                  <c:v>349.35536917366534</c:v>
                </c:pt>
                <c:pt idx="892">
                  <c:v>355.78922874704392</c:v>
                </c:pt>
                <c:pt idx="893">
                  <c:v>354.42501285851023</c:v>
                </c:pt>
                <c:pt idx="894">
                  <c:v>342.23991405532462</c:v>
                </c:pt>
                <c:pt idx="895">
                  <c:v>345.52943660934193</c:v>
                </c:pt>
                <c:pt idx="896">
                  <c:v>360.3006984918963</c:v>
                </c:pt>
                <c:pt idx="897">
                  <c:v>344.47685546017101</c:v>
                </c:pt>
                <c:pt idx="898">
                  <c:v>335.47400101085225</c:v>
                </c:pt>
                <c:pt idx="899">
                  <c:v>332.04910563577425</c:v>
                </c:pt>
                <c:pt idx="900">
                  <c:v>338.0419272466392</c:v>
                </c:pt>
                <c:pt idx="901">
                  <c:v>321.92758885821496</c:v>
                </c:pt>
                <c:pt idx="902">
                  <c:v>341.87741897981266</c:v>
                </c:pt>
                <c:pt idx="903">
                  <c:v>329.43653413269618</c:v>
                </c:pt>
                <c:pt idx="904">
                  <c:v>321.88418696458518</c:v>
                </c:pt>
                <c:pt idx="905">
                  <c:v>343.40574374636628</c:v>
                </c:pt>
                <c:pt idx="906">
                  <c:v>338.35101230291173</c:v>
                </c:pt>
                <c:pt idx="907">
                  <c:v>336.60477967644732</c:v>
                </c:pt>
                <c:pt idx="908">
                  <c:v>350.45662910826087</c:v>
                </c:pt>
                <c:pt idx="909">
                  <c:v>388.57534500021694</c:v>
                </c:pt>
                <c:pt idx="910">
                  <c:v>350.1300103285148</c:v>
                </c:pt>
                <c:pt idx="911">
                  <c:v>355.86872375669316</c:v>
                </c:pt>
                <c:pt idx="912">
                  <c:v>347.18452663730301</c:v>
                </c:pt>
                <c:pt idx="913">
                  <c:v>324.872804580793</c:v>
                </c:pt>
                <c:pt idx="914">
                  <c:v>344.13264322388773</c:v>
                </c:pt>
                <c:pt idx="915">
                  <c:v>388.63512426023487</c:v>
                </c:pt>
                <c:pt idx="916">
                  <c:v>364.65429758015131</c:v>
                </c:pt>
                <c:pt idx="917">
                  <c:v>337.1969911119624</c:v>
                </c:pt>
                <c:pt idx="918">
                  <c:v>375.83614279121832</c:v>
                </c:pt>
                <c:pt idx="919">
                  <c:v>372.76385295685139</c:v>
                </c:pt>
                <c:pt idx="920">
                  <c:v>386.26279474638642</c:v>
                </c:pt>
                <c:pt idx="921">
                  <c:v>383.47020826022185</c:v>
                </c:pt>
                <c:pt idx="922">
                  <c:v>395.31350404274093</c:v>
                </c:pt>
                <c:pt idx="923">
                  <c:v>382.78016141333438</c:v>
                </c:pt>
                <c:pt idx="924">
                  <c:v>363.29486843502366</c:v>
                </c:pt>
                <c:pt idx="925">
                  <c:v>387.85447030305392</c:v>
                </c:pt>
                <c:pt idx="926">
                  <c:v>342.10122164133918</c:v>
                </c:pt>
                <c:pt idx="927">
                  <c:v>334.15625323159622</c:v>
                </c:pt>
                <c:pt idx="928">
                  <c:v>355.39809062251749</c:v>
                </c:pt>
                <c:pt idx="929">
                  <c:v>373.07794162312831</c:v>
                </c:pt>
                <c:pt idx="930">
                  <c:v>378.32054080110612</c:v>
                </c:pt>
                <c:pt idx="931">
                  <c:v>379.92716063862702</c:v>
                </c:pt>
                <c:pt idx="932">
                  <c:v>375.61137370192915</c:v>
                </c:pt>
                <c:pt idx="933">
                  <c:v>365.73452070957808</c:v>
                </c:pt>
                <c:pt idx="934">
                  <c:v>371.34520338212457</c:v>
                </c:pt>
                <c:pt idx="935">
                  <c:v>360.46369428918837</c:v>
                </c:pt>
                <c:pt idx="936">
                  <c:v>359.28426418996156</c:v>
                </c:pt>
                <c:pt idx="937">
                  <c:v>369.37426809321857</c:v>
                </c:pt>
                <c:pt idx="938">
                  <c:v>379.61989940955516</c:v>
                </c:pt>
                <c:pt idx="939">
                  <c:v>350.48965411778568</c:v>
                </c:pt>
                <c:pt idx="940">
                  <c:v>343.88591863250383</c:v>
                </c:pt>
                <c:pt idx="941">
                  <c:v>351.85554753483802</c:v>
                </c:pt>
                <c:pt idx="942">
                  <c:v>351.9779736162385</c:v>
                </c:pt>
                <c:pt idx="943">
                  <c:v>351.32361807022045</c:v>
                </c:pt>
                <c:pt idx="944">
                  <c:v>349.58759615049098</c:v>
                </c:pt>
                <c:pt idx="945">
                  <c:v>352.2152227738278</c:v>
                </c:pt>
                <c:pt idx="946">
                  <c:v>355.42080101016847</c:v>
                </c:pt>
                <c:pt idx="947">
                  <c:v>348.45964235154224</c:v>
                </c:pt>
                <c:pt idx="948">
                  <c:v>352.82363904094461</c:v>
                </c:pt>
                <c:pt idx="949">
                  <c:v>356.96194369243318</c:v>
                </c:pt>
                <c:pt idx="950">
                  <c:v>360.16521046887294</c:v>
                </c:pt>
                <c:pt idx="951">
                  <c:v>363.05205518887129</c:v>
                </c:pt>
                <c:pt idx="952">
                  <c:v>351.77697572541371</c:v>
                </c:pt>
                <c:pt idx="953">
                  <c:v>356.44371540371628</c:v>
                </c:pt>
                <c:pt idx="954">
                  <c:v>376.44212995009701</c:v>
                </c:pt>
                <c:pt idx="955">
                  <c:v>440.61205791489834</c:v>
                </c:pt>
                <c:pt idx="956">
                  <c:v>2763.3934085195929</c:v>
                </c:pt>
                <c:pt idx="957">
                  <c:v>1943.1216145025317</c:v>
                </c:pt>
                <c:pt idx="958">
                  <c:v>376.38670821508555</c:v>
                </c:pt>
                <c:pt idx="959">
                  <c:v>358.23005005488625</c:v>
                </c:pt>
                <c:pt idx="960">
                  <c:v>352.8452965602242</c:v>
                </c:pt>
                <c:pt idx="961">
                  <c:v>244.92129502485756</c:v>
                </c:pt>
                <c:pt idx="962">
                  <c:v>310.97283294278424</c:v>
                </c:pt>
                <c:pt idx="963">
                  <c:v>372.79385028603195</c:v>
                </c:pt>
                <c:pt idx="964">
                  <c:v>128.79471751674561</c:v>
                </c:pt>
                <c:pt idx="965">
                  <c:v>162.79075721579147</c:v>
                </c:pt>
                <c:pt idx="966">
                  <c:v>301.96827114923872</c:v>
                </c:pt>
                <c:pt idx="967">
                  <c:v>346.22754102005507</c:v>
                </c:pt>
                <c:pt idx="968">
                  <c:v>351.31127662590535</c:v>
                </c:pt>
                <c:pt idx="969">
                  <c:v>361.13678616851604</c:v>
                </c:pt>
                <c:pt idx="970">
                  <c:v>341.64554390641695</c:v>
                </c:pt>
                <c:pt idx="971">
                  <c:v>352.14365222491466</c:v>
                </c:pt>
                <c:pt idx="972">
                  <c:v>347.91997694057045</c:v>
                </c:pt>
                <c:pt idx="973">
                  <c:v>343.69234672711383</c:v>
                </c:pt>
                <c:pt idx="974">
                  <c:v>356.19611394853536</c:v>
                </c:pt>
                <c:pt idx="975">
                  <c:v>356.03046554087814</c:v>
                </c:pt>
                <c:pt idx="976">
                  <c:v>349.48604607692522</c:v>
                </c:pt>
                <c:pt idx="977">
                  <c:v>354.00111113281963</c:v>
                </c:pt>
                <c:pt idx="978">
                  <c:v>355.59254597092661</c:v>
                </c:pt>
                <c:pt idx="979">
                  <c:v>353.05645431463353</c:v>
                </c:pt>
                <c:pt idx="980">
                  <c:v>354.26419856580753</c:v>
                </c:pt>
                <c:pt idx="981">
                  <c:v>346.14006659405044</c:v>
                </c:pt>
                <c:pt idx="982">
                  <c:v>355.49135569703191</c:v>
                </c:pt>
                <c:pt idx="983">
                  <c:v>350.16163085244881</c:v>
                </c:pt>
                <c:pt idx="984">
                  <c:v>359.03977197306796</c:v>
                </c:pt>
                <c:pt idx="985">
                  <c:v>356.42752448392122</c:v>
                </c:pt>
                <c:pt idx="986">
                  <c:v>366.69800966288329</c:v>
                </c:pt>
                <c:pt idx="987">
                  <c:v>355.90358460742959</c:v>
                </c:pt>
                <c:pt idx="988">
                  <c:v>343.78588178967493</c:v>
                </c:pt>
                <c:pt idx="989">
                  <c:v>344.87650857757762</c:v>
                </c:pt>
                <c:pt idx="990">
                  <c:v>338.02118692142255</c:v>
                </c:pt>
                <c:pt idx="991">
                  <c:v>336.44944308954769</c:v>
                </c:pt>
                <c:pt idx="992">
                  <c:v>357.3090993147124</c:v>
                </c:pt>
                <c:pt idx="993">
                  <c:v>356.82725895884454</c:v>
                </c:pt>
                <c:pt idx="994">
                  <c:v>389.53929782522073</c:v>
                </c:pt>
                <c:pt idx="995">
                  <c:v>362.05706161223543</c:v>
                </c:pt>
                <c:pt idx="996">
                  <c:v>363.19939058576011</c:v>
                </c:pt>
                <c:pt idx="997">
                  <c:v>418.49246917152232</c:v>
                </c:pt>
                <c:pt idx="998">
                  <c:v>579.88654140562517</c:v>
                </c:pt>
                <c:pt idx="999">
                  <c:v>408.39090609794096</c:v>
                </c:pt>
                <c:pt idx="1000">
                  <c:v>395.91856186275965</c:v>
                </c:pt>
                <c:pt idx="1001">
                  <c:v>406.06177457963202</c:v>
                </c:pt>
                <c:pt idx="1002">
                  <c:v>371.50648446047688</c:v>
                </c:pt>
                <c:pt idx="1003">
                  <c:v>386.68927275225911</c:v>
                </c:pt>
                <c:pt idx="1004">
                  <c:v>392.8095604131845</c:v>
                </c:pt>
                <c:pt idx="1005">
                  <c:v>397.09470814107095</c:v>
                </c:pt>
                <c:pt idx="1006">
                  <c:v>404.17708105340319</c:v>
                </c:pt>
                <c:pt idx="1007">
                  <c:v>389.00410310272315</c:v>
                </c:pt>
                <c:pt idx="1008">
                  <c:v>399.97229943609949</c:v>
                </c:pt>
                <c:pt idx="1009">
                  <c:v>386.6740746257247</c:v>
                </c:pt>
                <c:pt idx="1010">
                  <c:v>370.88855475904035</c:v>
                </c:pt>
                <c:pt idx="1011">
                  <c:v>371.73200232938609</c:v>
                </c:pt>
                <c:pt idx="1012">
                  <c:v>380.71223899228073</c:v>
                </c:pt>
                <c:pt idx="1013">
                  <c:v>368.72652712788295</c:v>
                </c:pt>
                <c:pt idx="1014">
                  <c:v>375.15175412999662</c:v>
                </c:pt>
                <c:pt idx="1015">
                  <c:v>374.98682877647389</c:v>
                </c:pt>
                <c:pt idx="1016">
                  <c:v>380.72017517740267</c:v>
                </c:pt>
                <c:pt idx="1017">
                  <c:v>388.24895638067801</c:v>
                </c:pt>
                <c:pt idx="1018">
                  <c:v>382.82369075155532</c:v>
                </c:pt>
                <c:pt idx="1019">
                  <c:v>370.14275570233576</c:v>
                </c:pt>
                <c:pt idx="1020">
                  <c:v>376.47923585305466</c:v>
                </c:pt>
                <c:pt idx="1021">
                  <c:v>373.27421823995314</c:v>
                </c:pt>
                <c:pt idx="1022">
                  <c:v>376.58450963450093</c:v>
                </c:pt>
                <c:pt idx="1023">
                  <c:v>412.18840980425892</c:v>
                </c:pt>
                <c:pt idx="1024">
                  <c:v>378.86862309330763</c:v>
                </c:pt>
                <c:pt idx="1025">
                  <c:v>382.92737658547549</c:v>
                </c:pt>
                <c:pt idx="1026">
                  <c:v>399.13132399200316</c:v>
                </c:pt>
                <c:pt idx="1027">
                  <c:v>428.23825592755139</c:v>
                </c:pt>
                <c:pt idx="1028">
                  <c:v>425.89418039149842</c:v>
                </c:pt>
                <c:pt idx="1029">
                  <c:v>420.2828371335483</c:v>
                </c:pt>
                <c:pt idx="1030">
                  <c:v>1012.1885904345506</c:v>
                </c:pt>
                <c:pt idx="1031">
                  <c:v>2066.9402517967851</c:v>
                </c:pt>
                <c:pt idx="1032">
                  <c:v>393.34602550433459</c:v>
                </c:pt>
                <c:pt idx="1033">
                  <c:v>381.34486501249671</c:v>
                </c:pt>
                <c:pt idx="1034">
                  <c:v>379.35311004996845</c:v>
                </c:pt>
                <c:pt idx="1035">
                  <c:v>377.32799569933582</c:v>
                </c:pt>
                <c:pt idx="1036">
                  <c:v>412.52344899977913</c:v>
                </c:pt>
                <c:pt idx="1037">
                  <c:v>97.103022774876848</c:v>
                </c:pt>
                <c:pt idx="1038">
                  <c:v>318.28830280732376</c:v>
                </c:pt>
                <c:pt idx="1039">
                  <c:v>355.9627986367654</c:v>
                </c:pt>
                <c:pt idx="1040">
                  <c:v>363.49041151698361</c:v>
                </c:pt>
                <c:pt idx="1041">
                  <c:v>378.83726375907577</c:v>
                </c:pt>
                <c:pt idx="1042">
                  <c:v>376.89919118056736</c:v>
                </c:pt>
                <c:pt idx="1043">
                  <c:v>435.10513934202373</c:v>
                </c:pt>
                <c:pt idx="1044">
                  <c:v>366.59586457333535</c:v>
                </c:pt>
                <c:pt idx="1045">
                  <c:v>350.88491323190073</c:v>
                </c:pt>
                <c:pt idx="1046">
                  <c:v>353.2005998460458</c:v>
                </c:pt>
                <c:pt idx="1047">
                  <c:v>346.16939284012938</c:v>
                </c:pt>
                <c:pt idx="1048">
                  <c:v>355.47859654051621</c:v>
                </c:pt>
                <c:pt idx="1049">
                  <c:v>350.5453142382745</c:v>
                </c:pt>
                <c:pt idx="1050">
                  <c:v>354.99775875671122</c:v>
                </c:pt>
                <c:pt idx="1051">
                  <c:v>352.66220244364018</c:v>
                </c:pt>
                <c:pt idx="1052">
                  <c:v>354.76488147665299</c:v>
                </c:pt>
                <c:pt idx="1053">
                  <c:v>366.20297261196868</c:v>
                </c:pt>
                <c:pt idx="1054">
                  <c:v>397.52370948413562</c:v>
                </c:pt>
                <c:pt idx="1055">
                  <c:v>402.07443167607602</c:v>
                </c:pt>
                <c:pt idx="1056">
                  <c:v>384.798056957212</c:v>
                </c:pt>
                <c:pt idx="1057">
                  <c:v>375.21345927146092</c:v>
                </c:pt>
                <c:pt idx="1058">
                  <c:v>382.01008438784203</c:v>
                </c:pt>
                <c:pt idx="1059">
                  <c:v>364.19599314250172</c:v>
                </c:pt>
                <c:pt idx="1060">
                  <c:v>367.10249868914008</c:v>
                </c:pt>
                <c:pt idx="1061">
                  <c:v>373.52565846435078</c:v>
                </c:pt>
                <c:pt idx="1062">
                  <c:v>384.54959665777363</c:v>
                </c:pt>
                <c:pt idx="1063">
                  <c:v>386.65601198664456</c:v>
                </c:pt>
                <c:pt idx="1064">
                  <c:v>388.14744034170906</c:v>
                </c:pt>
                <c:pt idx="1065">
                  <c:v>396.72111881460359</c:v>
                </c:pt>
                <c:pt idx="1066">
                  <c:v>395.61796246538154</c:v>
                </c:pt>
                <c:pt idx="1067">
                  <c:v>392.25190968507627</c:v>
                </c:pt>
                <c:pt idx="1068">
                  <c:v>380.61780463219799</c:v>
                </c:pt>
                <c:pt idx="1069">
                  <c:v>378.8031934147196</c:v>
                </c:pt>
                <c:pt idx="1070">
                  <c:v>386.01716204563655</c:v>
                </c:pt>
                <c:pt idx="1071">
                  <c:v>399.29231892089035</c:v>
                </c:pt>
                <c:pt idx="1072">
                  <c:v>376.33614256673707</c:v>
                </c:pt>
                <c:pt idx="1073">
                  <c:v>377.66883787492475</c:v>
                </c:pt>
                <c:pt idx="1074">
                  <c:v>361.03776822143891</c:v>
                </c:pt>
                <c:pt idx="1075">
                  <c:v>385.3535349764598</c:v>
                </c:pt>
                <c:pt idx="1076">
                  <c:v>419.37551076779204</c:v>
                </c:pt>
                <c:pt idx="1077">
                  <c:v>380.60974541204132</c:v>
                </c:pt>
                <c:pt idx="1078">
                  <c:v>382.39554406382285</c:v>
                </c:pt>
                <c:pt idx="1079">
                  <c:v>381.72020978941214</c:v>
                </c:pt>
                <c:pt idx="1080">
                  <c:v>380.71974388604031</c:v>
                </c:pt>
                <c:pt idx="1081">
                  <c:v>386.68504877342014</c:v>
                </c:pt>
                <c:pt idx="1082">
                  <c:v>376.08163923760532</c:v>
                </c:pt>
                <c:pt idx="1083">
                  <c:v>385.87334528493358</c:v>
                </c:pt>
                <c:pt idx="1084">
                  <c:v>486.23491824576092</c:v>
                </c:pt>
                <c:pt idx="1085">
                  <c:v>505.83533130697117</c:v>
                </c:pt>
                <c:pt idx="1086">
                  <c:v>411.2195252279671</c:v>
                </c:pt>
                <c:pt idx="1087">
                  <c:v>410.05553977571975</c:v>
                </c:pt>
                <c:pt idx="1088">
                  <c:v>390.22377336838724</c:v>
                </c:pt>
                <c:pt idx="1089">
                  <c:v>377.81275211523234</c:v>
                </c:pt>
                <c:pt idx="1090">
                  <c:v>372.4554183276685</c:v>
                </c:pt>
                <c:pt idx="1091">
                  <c:v>375.83639364357862</c:v>
                </c:pt>
                <c:pt idx="1092">
                  <c:v>373.51110036451553</c:v>
                </c:pt>
                <c:pt idx="1093">
                  <c:v>370.05385790814256</c:v>
                </c:pt>
                <c:pt idx="1094">
                  <c:v>375.37487276373452</c:v>
                </c:pt>
                <c:pt idx="1095">
                  <c:v>374.66614197773782</c:v>
                </c:pt>
              </c:numCache>
            </c:numRef>
          </c:xVal>
          <c:yVal>
            <c:numRef>
              <c:f>'Parameters ranges for ANN step1'!$AR$3:$AR$1131</c:f>
              <c:numCache>
                <c:formatCode>0</c:formatCode>
                <c:ptCount val="1129"/>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93A4-4DA3-8F5B-F4376A4DA749}"/>
            </c:ext>
          </c:extLst>
        </c:ser>
        <c:dLbls>
          <c:showLegendKey val="0"/>
          <c:showVal val="0"/>
          <c:showCatName val="0"/>
          <c:showSerName val="0"/>
          <c:showPercent val="0"/>
          <c:showBubbleSize val="0"/>
        </c:dLbls>
        <c:axId val="1408039983"/>
        <c:axId val="1408036655"/>
      </c:scatterChart>
      <c:valAx>
        <c:axId val="1408039983"/>
        <c:scaling>
          <c:orientation val="minMax"/>
          <c:max val="420"/>
          <c:min val="3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36655"/>
        <c:crosses val="autoZero"/>
        <c:crossBetween val="midCat"/>
      </c:valAx>
      <c:valAx>
        <c:axId val="1408036655"/>
        <c:scaling>
          <c:orientation val="minMax"/>
          <c:max val="1170"/>
          <c:min val="111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8039983"/>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ot Blast Temp. °C v/s</a:t>
            </a:r>
            <a:r>
              <a:rPr lang="en-US" baseline="0"/>
              <a:t> Hot metal Production (tons/day)</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B$3:$B$1131</c:f>
              <c:numCache>
                <c:formatCode>0</c:formatCode>
                <c:ptCount val="1129"/>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Parameters ranges for ANN step1'!$AR$3:$AR$1131</c:f>
              <c:numCache>
                <c:formatCode>0</c:formatCode>
                <c:ptCount val="1129"/>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D2DA-43D0-865F-82EA6BFB61A8}"/>
            </c:ext>
          </c:extLst>
        </c:ser>
        <c:dLbls>
          <c:showLegendKey val="0"/>
          <c:showVal val="0"/>
          <c:showCatName val="0"/>
          <c:showSerName val="0"/>
          <c:showPercent val="0"/>
          <c:showBubbleSize val="0"/>
        </c:dLbls>
        <c:axId val="1632944559"/>
        <c:axId val="1632948303"/>
      </c:scatterChart>
      <c:valAx>
        <c:axId val="1632944559"/>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2948303"/>
        <c:crosses val="autoZero"/>
        <c:crossBetween val="midCat"/>
      </c:valAx>
      <c:valAx>
        <c:axId val="1632948303"/>
        <c:scaling>
          <c:orientation val="minMax"/>
          <c:min val="111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2944559"/>
        <c:crosses val="autoZero"/>
        <c:crossBetween val="midCat"/>
      </c:valAx>
      <c:spPr>
        <a:noFill/>
        <a:ln>
          <a:noFill/>
        </a:ln>
        <a:effectLst/>
      </c:spPr>
    </c:plotArea>
    <c:plotVisOnly val="1"/>
    <c:dispBlanksAs val="gap"/>
    <c:showDLblsOverMax val="0"/>
  </c:chart>
  <c:spPr>
    <a:noFill/>
    <a:ln>
      <a:solidFill>
        <a:srgbClr val="141462"/>
      </a:solid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ot Blast Temp. °</a:t>
            </a:r>
            <a:r>
              <a:rPr lang="en-US" dirty="0" smtClean="0"/>
              <a:t>C v/s ETA</a:t>
            </a:r>
            <a:r>
              <a:rPr lang="en-US" baseline="0" dirty="0" smtClean="0"/>
              <a:t> CO</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R$1:$AR$2</c:f>
              <c:strCache>
                <c:ptCount val="2"/>
                <c:pt idx="0">
                  <c:v>Hot Blast Temp.</c:v>
                </c:pt>
                <c:pt idx="1">
                  <c:v>°C</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AE$3:$AE$1137</c:f>
              <c:numCache>
                <c:formatCode>0</c:formatCode>
                <c:ptCount val="1135"/>
                <c:pt idx="0">
                  <c:v>0.55256206505150962</c:v>
                </c:pt>
                <c:pt idx="1">
                  <c:v>0.55141818503466855</c:v>
                </c:pt>
                <c:pt idx="2">
                  <c:v>0.519213141325092</c:v>
                </c:pt>
                <c:pt idx="3">
                  <c:v>0.50730858408022572</c:v>
                </c:pt>
                <c:pt idx="4">
                  <c:v>0.50416659520414131</c:v>
                </c:pt>
                <c:pt idx="5">
                  <c:v>0.51059923955978881</c:v>
                </c:pt>
                <c:pt idx="6">
                  <c:v>0.50914034555171117</c:v>
                </c:pt>
                <c:pt idx="7">
                  <c:v>0.51115461362300241</c:v>
                </c:pt>
                <c:pt idx="8">
                  <c:v>0.50491303077040672</c:v>
                </c:pt>
                <c:pt idx="9">
                  <c:v>0.51703197429369807</c:v>
                </c:pt>
                <c:pt idx="10">
                  <c:v>0.51652745680419621</c:v>
                </c:pt>
                <c:pt idx="11">
                  <c:v>0.51055732263936937</c:v>
                </c:pt>
                <c:pt idx="12">
                  <c:v>0.50595222104700965</c:v>
                </c:pt>
                <c:pt idx="13">
                  <c:v>0.50773566238194578</c:v>
                </c:pt>
                <c:pt idx="14">
                  <c:v>0.50407606672947547</c:v>
                </c:pt>
                <c:pt idx="15">
                  <c:v>0.50677715510528698</c:v>
                </c:pt>
                <c:pt idx="16">
                  <c:v>0.50277971785589792</c:v>
                </c:pt>
                <c:pt idx="17">
                  <c:v>0.50223851350524151</c:v>
                </c:pt>
                <c:pt idx="18">
                  <c:v>0.50799838472148151</c:v>
                </c:pt>
                <c:pt idx="19">
                  <c:v>0.51163197470040711</c:v>
                </c:pt>
                <c:pt idx="20">
                  <c:v>0.50664407228033437</c:v>
                </c:pt>
                <c:pt idx="21">
                  <c:v>0.50936320108218791</c:v>
                </c:pt>
                <c:pt idx="22">
                  <c:v>0.50528599264191087</c:v>
                </c:pt>
                <c:pt idx="23">
                  <c:v>0.50285066764845843</c:v>
                </c:pt>
                <c:pt idx="24">
                  <c:v>0.50490561093921393</c:v>
                </c:pt>
                <c:pt idx="25">
                  <c:v>0.5043299298713213</c:v>
                </c:pt>
                <c:pt idx="26">
                  <c:v>0.50043511781749705</c:v>
                </c:pt>
                <c:pt idx="27">
                  <c:v>0.4995882454720259</c:v>
                </c:pt>
                <c:pt idx="28">
                  <c:v>0.50422084722571026</c:v>
                </c:pt>
                <c:pt idx="29">
                  <c:v>0.51393310684319127</c:v>
                </c:pt>
                <c:pt idx="30">
                  <c:v>0.51356718649202016</c:v>
                </c:pt>
                <c:pt idx="31">
                  <c:v>0.52590010362000783</c:v>
                </c:pt>
                <c:pt idx="32">
                  <c:v>0.51943131047074054</c:v>
                </c:pt>
                <c:pt idx="33">
                  <c:v>0.5160222559131018</c:v>
                </c:pt>
                <c:pt idx="34">
                  <c:v>0.51655008352916809</c:v>
                </c:pt>
                <c:pt idx="35">
                  <c:v>0.50828954124933823</c:v>
                </c:pt>
                <c:pt idx="36">
                  <c:v>0.50725341656633649</c:v>
                </c:pt>
                <c:pt idx="37">
                  <c:v>0.50949373455468905</c:v>
                </c:pt>
                <c:pt idx="38">
                  <c:v>0.51592892871640283</c:v>
                </c:pt>
                <c:pt idx="39">
                  <c:v>0.51990821623909611</c:v>
                </c:pt>
                <c:pt idx="40">
                  <c:v>0.51234142885665124</c:v>
                </c:pt>
                <c:pt idx="41">
                  <c:v>0.51732377134319762</c:v>
                </c:pt>
                <c:pt idx="42">
                  <c:v>0.5094435095577885</c:v>
                </c:pt>
                <c:pt idx="43">
                  <c:v>0.51549203596224447</c:v>
                </c:pt>
                <c:pt idx="44">
                  <c:v>0.51821195033945444</c:v>
                </c:pt>
                <c:pt idx="45">
                  <c:v>0.51528232239683802</c:v>
                </c:pt>
                <c:pt idx="46">
                  <c:v>0.51172579365622162</c:v>
                </c:pt>
                <c:pt idx="47">
                  <c:v>0.51143668370228823</c:v>
                </c:pt>
                <c:pt idx="48">
                  <c:v>0.52834525586952308</c:v>
                </c:pt>
                <c:pt idx="49">
                  <c:v>0.5197585133007816</c:v>
                </c:pt>
                <c:pt idx="50">
                  <c:v>0.50916219524865891</c:v>
                </c:pt>
                <c:pt idx="51">
                  <c:v>0.51129979467596509</c:v>
                </c:pt>
                <c:pt idx="52">
                  <c:v>0.52190280353792007</c:v>
                </c:pt>
                <c:pt idx="53">
                  <c:v>0.51309529193552483</c:v>
                </c:pt>
                <c:pt idx="54" formatCode="0.0">
                  <c:v>0.51871709234820995</c:v>
                </c:pt>
                <c:pt idx="55" formatCode="0.0">
                  <c:v>0.51252658447403909</c:v>
                </c:pt>
                <c:pt idx="56">
                  <c:v>0.51361456956032425</c:v>
                </c:pt>
                <c:pt idx="57" formatCode="0.0">
                  <c:v>0.50787869976372435</c:v>
                </c:pt>
                <c:pt idx="58" formatCode="0.0">
                  <c:v>0.51504770946492495</c:v>
                </c:pt>
                <c:pt idx="59">
                  <c:v>0.51390234907872456</c:v>
                </c:pt>
                <c:pt idx="60">
                  <c:v>0.51385754958464691</c:v>
                </c:pt>
                <c:pt idx="61">
                  <c:v>0.51054617475820385</c:v>
                </c:pt>
                <c:pt idx="62">
                  <c:v>0.5084377975476303</c:v>
                </c:pt>
                <c:pt idx="63">
                  <c:v>0.52002459900737963</c:v>
                </c:pt>
                <c:pt idx="64">
                  <c:v>0.52262618357292556</c:v>
                </c:pt>
                <c:pt idx="65">
                  <c:v>0.52713714898629371</c:v>
                </c:pt>
                <c:pt idx="66">
                  <c:v>0.52078013058132067</c:v>
                </c:pt>
                <c:pt idx="67">
                  <c:v>0.51143138543318822</c:v>
                </c:pt>
                <c:pt idx="68">
                  <c:v>0.51125220998327969</c:v>
                </c:pt>
                <c:pt idx="69">
                  <c:v>0.51541361719232237</c:v>
                </c:pt>
                <c:pt idx="70">
                  <c:v>0.51928027746282701</c:v>
                </c:pt>
                <c:pt idx="71">
                  <c:v>0.52289672168137047</c:v>
                </c:pt>
                <c:pt idx="72" formatCode="0.0">
                  <c:v>0.51876494354151947</c:v>
                </c:pt>
                <c:pt idx="73">
                  <c:v>0.5343124171943221</c:v>
                </c:pt>
                <c:pt idx="74">
                  <c:v>0.51955549517760979</c:v>
                </c:pt>
                <c:pt idx="75">
                  <c:v>0.51594114943614344</c:v>
                </c:pt>
                <c:pt idx="76">
                  <c:v>0.5198376905432166</c:v>
                </c:pt>
                <c:pt idx="77">
                  <c:v>0.51433715794204926</c:v>
                </c:pt>
                <c:pt idx="78">
                  <c:v>0.51596146919688701</c:v>
                </c:pt>
                <c:pt idx="79">
                  <c:v>0.5177466552390565</c:v>
                </c:pt>
                <c:pt idx="80">
                  <c:v>0.51427380895778374</c:v>
                </c:pt>
                <c:pt idx="81">
                  <c:v>0.5098411040022397</c:v>
                </c:pt>
                <c:pt idx="82">
                  <c:v>0.50853073088034662</c:v>
                </c:pt>
                <c:pt idx="83">
                  <c:v>0.50899124799719531</c:v>
                </c:pt>
                <c:pt idx="84">
                  <c:v>0.51845291795783843</c:v>
                </c:pt>
                <c:pt idx="85">
                  <c:v>0.51719990708060581</c:v>
                </c:pt>
                <c:pt idx="86">
                  <c:v>0.51777380125639394</c:v>
                </c:pt>
                <c:pt idx="87">
                  <c:v>0.5286319369950333</c:v>
                </c:pt>
                <c:pt idx="88">
                  <c:v>0.51697055616128651</c:v>
                </c:pt>
                <c:pt idx="89">
                  <c:v>0.5225967877953126</c:v>
                </c:pt>
                <c:pt idx="90">
                  <c:v>0.52676130559714363</c:v>
                </c:pt>
                <c:pt idx="91">
                  <c:v>0.52480707899970092</c:v>
                </c:pt>
                <c:pt idx="92" formatCode="0.0">
                  <c:v>0.51857566391598586</c:v>
                </c:pt>
                <c:pt idx="93" formatCode="0.0">
                  <c:v>0.51328868615536816</c:v>
                </c:pt>
                <c:pt idx="94" formatCode="0.0">
                  <c:v>0.51382384568937967</c:v>
                </c:pt>
                <c:pt idx="95" formatCode="0.0">
                  <c:v>0.52039972980852156</c:v>
                </c:pt>
                <c:pt idx="96" formatCode="0.0">
                  <c:v>0.51694020349956105</c:v>
                </c:pt>
                <c:pt idx="97" formatCode="0.0">
                  <c:v>0.51642118986354635</c:v>
                </c:pt>
                <c:pt idx="98" formatCode="0.0">
                  <c:v>0.52077454526253819</c:v>
                </c:pt>
                <c:pt idx="99" formatCode="0.0">
                  <c:v>0.53134188546190919</c:v>
                </c:pt>
                <c:pt idx="100" formatCode="0.0">
                  <c:v>0.53444248096857461</c:v>
                </c:pt>
                <c:pt idx="101" formatCode="0.0">
                  <c:v>0.53411891850016524</c:v>
                </c:pt>
                <c:pt idx="102" formatCode="0.0">
                  <c:v>0.5318987096664286</c:v>
                </c:pt>
                <c:pt idx="103" formatCode="0.0">
                  <c:v>0.53626256653199356</c:v>
                </c:pt>
                <c:pt idx="104" formatCode="0.0">
                  <c:v>0.51936249840042437</c:v>
                </c:pt>
                <c:pt idx="105" formatCode="0.0">
                  <c:v>0.55777252596016391</c:v>
                </c:pt>
                <c:pt idx="106" formatCode="0.0">
                  <c:v>0.55106848495622585</c:v>
                </c:pt>
                <c:pt idx="107" formatCode="0.0">
                  <c:v>0.53004682312534968</c:v>
                </c:pt>
                <c:pt idx="108" formatCode="0.0">
                  <c:v>0.52441006579521721</c:v>
                </c:pt>
                <c:pt idx="109" formatCode="0.0">
                  <c:v>0.52427806273864741</c:v>
                </c:pt>
                <c:pt idx="110" formatCode="0.0">
                  <c:v>0.53184429292483604</c:v>
                </c:pt>
                <c:pt idx="111" formatCode="0.0">
                  <c:v>0.5404379352738834</c:v>
                </c:pt>
                <c:pt idx="112" formatCode="0.0">
                  <c:v>0.53999545942464022</c:v>
                </c:pt>
                <c:pt idx="113" formatCode="0.0">
                  <c:v>0.53896895117636634</c:v>
                </c:pt>
                <c:pt idx="114" formatCode="0.0">
                  <c:v>0.54269589279767139</c:v>
                </c:pt>
                <c:pt idx="115" formatCode="0.0">
                  <c:v>0.53494781243016609</c:v>
                </c:pt>
                <c:pt idx="116" formatCode="0.0">
                  <c:v>0.53698008733647329</c:v>
                </c:pt>
                <c:pt idx="117" formatCode="0.0">
                  <c:v>0.5396705738565899</c:v>
                </c:pt>
                <c:pt idx="118" formatCode="0.0">
                  <c:v>0.55648704065656118</c:v>
                </c:pt>
                <c:pt idx="119" formatCode="0.0">
                  <c:v>0.54145127852386066</c:v>
                </c:pt>
                <c:pt idx="120" formatCode="0.0">
                  <c:v>0.5471306930090627</c:v>
                </c:pt>
                <c:pt idx="121" formatCode="0.0">
                  <c:v>0.54428278117966267</c:v>
                </c:pt>
                <c:pt idx="122" formatCode="0.0">
                  <c:v>0.53458411613380019</c:v>
                </c:pt>
                <c:pt idx="123" formatCode="0.0">
                  <c:v>0.53097309357282663</c:v>
                </c:pt>
                <c:pt idx="124" formatCode="0.0">
                  <c:v>0.53085672145911045</c:v>
                </c:pt>
                <c:pt idx="125" formatCode="0.0">
                  <c:v>0.52689444526758888</c:v>
                </c:pt>
                <c:pt idx="126" formatCode="0.0">
                  <c:v>0.51692113932386652</c:v>
                </c:pt>
                <c:pt idx="127" formatCode="0.0">
                  <c:v>0.51236981413131755</c:v>
                </c:pt>
                <c:pt idx="128" formatCode="0.0">
                  <c:v>0.51617168930486124</c:v>
                </c:pt>
                <c:pt idx="129" formatCode="0.0">
                  <c:v>0.51922841245753082</c:v>
                </c:pt>
                <c:pt idx="130" formatCode="0.0">
                  <c:v>0.52235244682124538</c:v>
                </c:pt>
                <c:pt idx="131" formatCode="0.0">
                  <c:v>0.51980511836977761</c:v>
                </c:pt>
                <c:pt idx="132" formatCode="0.0">
                  <c:v>0.51842304155105834</c:v>
                </c:pt>
                <c:pt idx="133" formatCode="0.0">
                  <c:v>0.52452938345922528</c:v>
                </c:pt>
                <c:pt idx="134" formatCode="0.0">
                  <c:v>0.5204595853018722</c:v>
                </c:pt>
                <c:pt idx="135" formatCode="0.0">
                  <c:v>0.51267844774715077</c:v>
                </c:pt>
                <c:pt idx="136" formatCode="0.0">
                  <c:v>0.51408643311399227</c:v>
                </c:pt>
                <c:pt idx="137" formatCode="0.0">
                  <c:v>0.51456044071099272</c:v>
                </c:pt>
                <c:pt idx="138" formatCode="0.0">
                  <c:v>0.50542669354309255</c:v>
                </c:pt>
                <c:pt idx="139" formatCode="0.0">
                  <c:v>0.50542669354309255</c:v>
                </c:pt>
                <c:pt idx="140" formatCode="0.0">
                  <c:v>0.50155508103319146</c:v>
                </c:pt>
                <c:pt idx="141" formatCode="0.0">
                  <c:v>0.51257504483192484</c:v>
                </c:pt>
                <c:pt idx="142" formatCode="0.0">
                  <c:v>0.51841019119742937</c:v>
                </c:pt>
                <c:pt idx="143" formatCode="0.0">
                  <c:v>0.51467597115738772</c:v>
                </c:pt>
                <c:pt idx="144" formatCode="0.0">
                  <c:v>0.5243308931298255</c:v>
                </c:pt>
                <c:pt idx="145" formatCode="0.0">
                  <c:v>0.52223152639370118</c:v>
                </c:pt>
                <c:pt idx="146" formatCode="0.0">
                  <c:v>0.5174322862880546</c:v>
                </c:pt>
                <c:pt idx="147" formatCode="0.0">
                  <c:v>0.52816785117125886</c:v>
                </c:pt>
                <c:pt idx="148" formatCode="0.0">
                  <c:v>0.52867572272407137</c:v>
                </c:pt>
                <c:pt idx="149" formatCode="0.0">
                  <c:v>0.52232811284589287</c:v>
                </c:pt>
                <c:pt idx="150" formatCode="0.0">
                  <c:v>0.52869629064651036</c:v>
                </c:pt>
                <c:pt idx="151" formatCode="0.0">
                  <c:v>0.54394023151559145</c:v>
                </c:pt>
                <c:pt idx="152" formatCode="0.0">
                  <c:v>0.53446151570696376</c:v>
                </c:pt>
                <c:pt idx="153" formatCode="0.0">
                  <c:v>0.52651910212018438</c:v>
                </c:pt>
                <c:pt idx="154" formatCode="0.0">
                  <c:v>0.52021846733758403</c:v>
                </c:pt>
                <c:pt idx="155" formatCode="0.0">
                  <c:v>0.51922276050210447</c:v>
                </c:pt>
                <c:pt idx="156" formatCode="0.0">
                  <c:v>0.52730974951504694</c:v>
                </c:pt>
                <c:pt idx="157" formatCode="0.0">
                  <c:v>0.53232468466155525</c:v>
                </c:pt>
                <c:pt idx="158" formatCode="0.0">
                  <c:v>0.53382521825659857</c:v>
                </c:pt>
                <c:pt idx="159" formatCode="0.0">
                  <c:v>0.53383477096468102</c:v>
                </c:pt>
                <c:pt idx="160" formatCode="0.0">
                  <c:v>0.52721526450064538</c:v>
                </c:pt>
                <c:pt idx="161" formatCode="0.0">
                  <c:v>0.52642179685161528</c:v>
                </c:pt>
                <c:pt idx="162" formatCode="0.0">
                  <c:v>0.52852680961214471</c:v>
                </c:pt>
                <c:pt idx="163" formatCode="0.0">
                  <c:v>0.52689845289458115</c:v>
                </c:pt>
                <c:pt idx="164" formatCode="0.0">
                  <c:v>0.52357209548207917</c:v>
                </c:pt>
                <c:pt idx="165" formatCode="0.0">
                  <c:v>0.51629334179280928</c:v>
                </c:pt>
                <c:pt idx="166" formatCode="0.0">
                  <c:v>0.52142149496561085</c:v>
                </c:pt>
                <c:pt idx="167" formatCode="0.0">
                  <c:v>0.52012685300983708</c:v>
                </c:pt>
                <c:pt idx="168" formatCode="0.0">
                  <c:v>0.52738967537958448</c:v>
                </c:pt>
                <c:pt idx="169" formatCode="0.0">
                  <c:v>0.53786620023059251</c:v>
                </c:pt>
                <c:pt idx="170" formatCode="0.0">
                  <c:v>0.52843171120202415</c:v>
                </c:pt>
                <c:pt idx="171" formatCode="0.0">
                  <c:v>0.52254794928165527</c:v>
                </c:pt>
                <c:pt idx="172" formatCode="0.0">
                  <c:v>0.52696417381713057</c:v>
                </c:pt>
                <c:pt idx="173" formatCode="0.0">
                  <c:v>0.53103211798900596</c:v>
                </c:pt>
                <c:pt idx="174" formatCode="0.0">
                  <c:v>0.53464003451366537</c:v>
                </c:pt>
                <c:pt idx="175" formatCode="0.0">
                  <c:v>0.53412785003502217</c:v>
                </c:pt>
                <c:pt idx="176" formatCode="0.0">
                  <c:v>0.53768989627565356</c:v>
                </c:pt>
                <c:pt idx="177" formatCode="0.0">
                  <c:v>0.53144531540682349</c:v>
                </c:pt>
                <c:pt idx="178" formatCode="0.0">
                  <c:v>0.53314122327349067</c:v>
                </c:pt>
                <c:pt idx="179" formatCode="0.0">
                  <c:v>0.5340660119813021</c:v>
                </c:pt>
                <c:pt idx="180" formatCode="0.0">
                  <c:v>0.53463221305139763</c:v>
                </c:pt>
                <c:pt idx="181" formatCode="0.0">
                  <c:v>0.52906357947885896</c:v>
                </c:pt>
                <c:pt idx="182" formatCode="0.0">
                  <c:v>0.53103140646956426</c:v>
                </c:pt>
                <c:pt idx="183" formatCode="0.0">
                  <c:v>0.52561274484462428</c:v>
                </c:pt>
                <c:pt idx="184" formatCode="0.0">
                  <c:v>0.52401351829453979</c:v>
                </c:pt>
                <c:pt idx="185" formatCode="0.0">
                  <c:v>0.52744024302673087</c:v>
                </c:pt>
                <c:pt idx="186" formatCode="0.0">
                  <c:v>0.52795925246641207</c:v>
                </c:pt>
                <c:pt idx="187" formatCode="0.0">
                  <c:v>0.53367346929204396</c:v>
                </c:pt>
                <c:pt idx="188" formatCode="0.0">
                  <c:v>0.53722758241106561</c:v>
                </c:pt>
                <c:pt idx="189" formatCode="0.0">
                  <c:v>0.53722336208667221</c:v>
                </c:pt>
                <c:pt idx="190" formatCode="0.0">
                  <c:v>0.53574841858852262</c:v>
                </c:pt>
                <c:pt idx="191" formatCode="0.0">
                  <c:v>0.52514940471690341</c:v>
                </c:pt>
                <c:pt idx="192" formatCode="0.0">
                  <c:v>0.53355396274661415</c:v>
                </c:pt>
                <c:pt idx="193" formatCode="0.0">
                  <c:v>0.53059122995482144</c:v>
                </c:pt>
                <c:pt idx="194" formatCode="0.0">
                  <c:v>0.53146764158229443</c:v>
                </c:pt>
                <c:pt idx="195" formatCode="0.0">
                  <c:v>0.52461402110502053</c:v>
                </c:pt>
                <c:pt idx="196" formatCode="0.0">
                  <c:v>0.52923813744703918</c:v>
                </c:pt>
                <c:pt idx="197" formatCode="0.0">
                  <c:v>0.52730872890876535</c:v>
                </c:pt>
                <c:pt idx="198" formatCode="0.0">
                  <c:v>0.52844596118317455</c:v>
                </c:pt>
                <c:pt idx="199" formatCode="0.0">
                  <c:v>0.5282976377636055</c:v>
                </c:pt>
                <c:pt idx="200" formatCode="0.0">
                  <c:v>0.52425516303397957</c:v>
                </c:pt>
                <c:pt idx="201" formatCode="0.0">
                  <c:v>0.52465198692835446</c:v>
                </c:pt>
                <c:pt idx="202" formatCode="0.0">
                  <c:v>0.53534936028319868</c:v>
                </c:pt>
                <c:pt idx="203" formatCode="0.0">
                  <c:v>0.53662476910744727</c:v>
                </c:pt>
                <c:pt idx="204" formatCode="0.0">
                  <c:v>0.5423059488110622</c:v>
                </c:pt>
                <c:pt idx="205" formatCode="0.0">
                  <c:v>0.54102082982186972</c:v>
                </c:pt>
                <c:pt idx="206" formatCode="0.0">
                  <c:v>0.53792054952220758</c:v>
                </c:pt>
                <c:pt idx="207" formatCode="0.0">
                  <c:v>0.54434250080614521</c:v>
                </c:pt>
                <c:pt idx="208" formatCode="0.0">
                  <c:v>0.54189197558738211</c:v>
                </c:pt>
                <c:pt idx="209" formatCode="0.0">
                  <c:v>0.54175221241024429</c:v>
                </c:pt>
                <c:pt idx="210" formatCode="0.0">
                  <c:v>0.53475343290312827</c:v>
                </c:pt>
                <c:pt idx="211" formatCode="0.0">
                  <c:v>0.53921718654960127</c:v>
                </c:pt>
                <c:pt idx="212" formatCode="0.0">
                  <c:v>0.54192864243496985</c:v>
                </c:pt>
                <c:pt idx="213" formatCode="0.0">
                  <c:v>0.54039282473820849</c:v>
                </c:pt>
                <c:pt idx="214" formatCode="0.0">
                  <c:v>0.53754493267193104</c:v>
                </c:pt>
                <c:pt idx="215" formatCode="0.0">
                  <c:v>0.58080582950342852</c:v>
                </c:pt>
                <c:pt idx="216" formatCode="0.0">
                  <c:v>0.6238567799604855</c:v>
                </c:pt>
                <c:pt idx="217" formatCode="0.0">
                  <c:v>0</c:v>
                </c:pt>
                <c:pt idx="218" formatCode="0.0">
                  <c:v>0</c:v>
                </c:pt>
                <c:pt idx="219" formatCode="0.0">
                  <c:v>0</c:v>
                </c:pt>
                <c:pt idx="220" formatCode="0.0">
                  <c:v>0.66992170274127161</c:v>
                </c:pt>
                <c:pt idx="221" formatCode="0.0">
                  <c:v>0.5988704938813979</c:v>
                </c:pt>
                <c:pt idx="222" formatCode="0.0">
                  <c:v>0.56672878355231826</c:v>
                </c:pt>
                <c:pt idx="223" formatCode="0.0">
                  <c:v>0.5516043135118569</c:v>
                </c:pt>
                <c:pt idx="224" formatCode="0.0">
                  <c:v>0.53825119929913778</c:v>
                </c:pt>
                <c:pt idx="225" formatCode="0.0">
                  <c:v>0.53340061606779976</c:v>
                </c:pt>
                <c:pt idx="226" formatCode="0.0">
                  <c:v>0.5263258898757206</c:v>
                </c:pt>
                <c:pt idx="227" formatCode="0.0">
                  <c:v>0.51860561693415352</c:v>
                </c:pt>
                <c:pt idx="228" formatCode="0.0">
                  <c:v>0.52131618571696037</c:v>
                </c:pt>
                <c:pt idx="229" formatCode="0.0">
                  <c:v>0.52584082084366324</c:v>
                </c:pt>
                <c:pt idx="230" formatCode="0.0">
                  <c:v>0.53341166153393837</c:v>
                </c:pt>
                <c:pt idx="231" formatCode="0.0">
                  <c:v>0.54298384615542672</c:v>
                </c:pt>
                <c:pt idx="232" formatCode="0.0">
                  <c:v>0.53749949182512902</c:v>
                </c:pt>
                <c:pt idx="233" formatCode="0.0">
                  <c:v>0.53543582899429532</c:v>
                </c:pt>
                <c:pt idx="234" formatCode="0.0">
                  <c:v>0.53227547327967051</c:v>
                </c:pt>
                <c:pt idx="235" formatCode="0.0">
                  <c:v>0.52539032864762303</c:v>
                </c:pt>
                <c:pt idx="236" formatCode="0.0">
                  <c:v>0.52466854886923731</c:v>
                </c:pt>
                <c:pt idx="237" formatCode="0.0">
                  <c:v>0.52650833551514187</c:v>
                </c:pt>
                <c:pt idx="238" formatCode="0.0">
                  <c:v>0.52718734908853393</c:v>
                </c:pt>
                <c:pt idx="239" formatCode="0.0">
                  <c:v>0.54193110592496629</c:v>
                </c:pt>
                <c:pt idx="240" formatCode="0.0">
                  <c:v>0.53533450501771751</c:v>
                </c:pt>
                <c:pt idx="241" formatCode="0.0">
                  <c:v>0.53331401140137547</c:v>
                </c:pt>
                <c:pt idx="242" formatCode="0.0">
                  <c:v>0.52686376699716253</c:v>
                </c:pt>
                <c:pt idx="243" formatCode="0.0">
                  <c:v>0.540690408173507</c:v>
                </c:pt>
                <c:pt idx="244" formatCode="0.0">
                  <c:v>0.54850459729203371</c:v>
                </c:pt>
                <c:pt idx="245" formatCode="0.0">
                  <c:v>0.54106670482252905</c:v>
                </c:pt>
                <c:pt idx="246" formatCode="0.0">
                  <c:v>0.54502710084370265</c:v>
                </c:pt>
                <c:pt idx="247" formatCode="0.0">
                  <c:v>0.53581480316651464</c:v>
                </c:pt>
                <c:pt idx="248" formatCode="0.0">
                  <c:v>0.53870080500055351</c:v>
                </c:pt>
                <c:pt idx="249" formatCode="0.0">
                  <c:v>0.54191072708923571</c:v>
                </c:pt>
                <c:pt idx="250" formatCode="0.0">
                  <c:v>0.54745520183515772</c:v>
                </c:pt>
                <c:pt idx="251" formatCode="0.0">
                  <c:v>0.53411336088408656</c:v>
                </c:pt>
                <c:pt idx="252" formatCode="0.0">
                  <c:v>0.54750797450727762</c:v>
                </c:pt>
                <c:pt idx="253" formatCode="0.0">
                  <c:v>0.54235680479233583</c:v>
                </c:pt>
                <c:pt idx="254" formatCode="0.0">
                  <c:v>0.53212639196303624</c:v>
                </c:pt>
                <c:pt idx="255" formatCode="0.0">
                  <c:v>0.53329196969095038</c:v>
                </c:pt>
                <c:pt idx="256" formatCode="0.0">
                  <c:v>0.53958544784287887</c:v>
                </c:pt>
                <c:pt idx="257" formatCode="0.0">
                  <c:v>0.54680833051841382</c:v>
                </c:pt>
                <c:pt idx="258" formatCode="0.0">
                  <c:v>0.5484558467323728</c:v>
                </c:pt>
                <c:pt idx="259" formatCode="0.0">
                  <c:v>0.55143783792480838</c:v>
                </c:pt>
                <c:pt idx="260" formatCode="0.0">
                  <c:v>0.54950986087227582</c:v>
                </c:pt>
                <c:pt idx="261" formatCode="0.0">
                  <c:v>0.54634940066159821</c:v>
                </c:pt>
                <c:pt idx="262" formatCode="0.0">
                  <c:v>0.54781355073519222</c:v>
                </c:pt>
                <c:pt idx="263" formatCode="0.0">
                  <c:v>0.53923658571778799</c:v>
                </c:pt>
                <c:pt idx="264" formatCode="0.0">
                  <c:v>0.53739692846045561</c:v>
                </c:pt>
                <c:pt idx="265" formatCode="0.0">
                  <c:v>0.53134939241414492</c:v>
                </c:pt>
                <c:pt idx="266" formatCode="0.0">
                  <c:v>0.54571815372978982</c:v>
                </c:pt>
                <c:pt idx="267" formatCode="0.0">
                  <c:v>0.54712440929114758</c:v>
                </c:pt>
                <c:pt idx="268" formatCode="0.0">
                  <c:v>0.54423475782118069</c:v>
                </c:pt>
                <c:pt idx="269" formatCode="0.0">
                  <c:v>0.54245701755215792</c:v>
                </c:pt>
                <c:pt idx="270" formatCode="0.0">
                  <c:v>0.54823509678532245</c:v>
                </c:pt>
                <c:pt idx="271" formatCode="0.0">
                  <c:v>0.53931202060935624</c:v>
                </c:pt>
                <c:pt idx="272" formatCode="0.0">
                  <c:v>0.53920152273965083</c:v>
                </c:pt>
                <c:pt idx="273" formatCode="0.0">
                  <c:v>0.54814520392805488</c:v>
                </c:pt>
                <c:pt idx="274" formatCode="0.0">
                  <c:v>0.5469296620817351</c:v>
                </c:pt>
                <c:pt idx="275" formatCode="0.0">
                  <c:v>0.54560176671403737</c:v>
                </c:pt>
                <c:pt idx="276" formatCode="0.0">
                  <c:v>0.53941244287048307</c:v>
                </c:pt>
                <c:pt idx="277" formatCode="0.0">
                  <c:v>0.53670717743288032</c:v>
                </c:pt>
                <c:pt idx="278" formatCode="0.0">
                  <c:v>0.53464022748664619</c:v>
                </c:pt>
                <c:pt idx="279" formatCode="0.0">
                  <c:v>0.54168625528488279</c:v>
                </c:pt>
                <c:pt idx="280" formatCode="0.0">
                  <c:v>0.54399470978474684</c:v>
                </c:pt>
                <c:pt idx="281" formatCode="0.0">
                  <c:v>0.5489101701440251</c:v>
                </c:pt>
                <c:pt idx="282" formatCode="0.0">
                  <c:v>0.54165121481915124</c:v>
                </c:pt>
                <c:pt idx="283" formatCode="0.0">
                  <c:v>0.5436535322363355</c:v>
                </c:pt>
                <c:pt idx="284" formatCode="0.0">
                  <c:v>0.54557672471315821</c:v>
                </c:pt>
                <c:pt idx="285" formatCode="0.0">
                  <c:v>0.54056241187494714</c:v>
                </c:pt>
                <c:pt idx="286" formatCode="0.0">
                  <c:v>0.53673212757420785</c:v>
                </c:pt>
                <c:pt idx="287" formatCode="0.0">
                  <c:v>0.53619272835115483</c:v>
                </c:pt>
                <c:pt idx="288" formatCode="0.0">
                  <c:v>0.53616586196117133</c:v>
                </c:pt>
                <c:pt idx="289" formatCode="0.0">
                  <c:v>0.53405987302931779</c:v>
                </c:pt>
                <c:pt idx="290" formatCode="0.0">
                  <c:v>0.53399247070471378</c:v>
                </c:pt>
                <c:pt idx="291" formatCode="0.0">
                  <c:v>0.53882656409996832</c:v>
                </c:pt>
                <c:pt idx="292" formatCode="0.0">
                  <c:v>0.53604124992544921</c:v>
                </c:pt>
                <c:pt idx="293" formatCode="0.0">
                  <c:v>0.53683705498896273</c:v>
                </c:pt>
                <c:pt idx="294" formatCode="0.0">
                  <c:v>0.53659079209372784</c:v>
                </c:pt>
                <c:pt idx="295" formatCode="0.0">
                  <c:v>0.53836513436420474</c:v>
                </c:pt>
                <c:pt idx="296" formatCode="0.0">
                  <c:v>0.53186276000303634</c:v>
                </c:pt>
                <c:pt idx="297" formatCode="0.0">
                  <c:v>0.53230384033321598</c:v>
                </c:pt>
                <c:pt idx="298" formatCode="0.0">
                  <c:v>0.53618526812847545</c:v>
                </c:pt>
                <c:pt idx="299" formatCode="0.0">
                  <c:v>0.52683711738694405</c:v>
                </c:pt>
                <c:pt idx="300" formatCode="0.0">
                  <c:v>0.52829997146344065</c:v>
                </c:pt>
                <c:pt idx="301" formatCode="0.0">
                  <c:v>0.53475215604628257</c:v>
                </c:pt>
                <c:pt idx="302" formatCode="0.0">
                  <c:v>0.53734934935705025</c:v>
                </c:pt>
                <c:pt idx="303" formatCode="0.0">
                  <c:v>0.53005094191603397</c:v>
                </c:pt>
                <c:pt idx="304" formatCode="0.0">
                  <c:v>0.53030047569507499</c:v>
                </c:pt>
                <c:pt idx="305" formatCode="0.0">
                  <c:v>0.52686902722699336</c:v>
                </c:pt>
                <c:pt idx="306" formatCode="0.0">
                  <c:v>0.53597630481088609</c:v>
                </c:pt>
                <c:pt idx="307" formatCode="0.0">
                  <c:v>0.53110629070269544</c:v>
                </c:pt>
                <c:pt idx="308" formatCode="0.0">
                  <c:v>0.53420628203309817</c:v>
                </c:pt>
                <c:pt idx="309" formatCode="0.0">
                  <c:v>0.53008244530287452</c:v>
                </c:pt>
                <c:pt idx="310" formatCode="0.0">
                  <c:v>0.52555553584275239</c:v>
                </c:pt>
                <c:pt idx="311" formatCode="0.0">
                  <c:v>0.52807394924382944</c:v>
                </c:pt>
                <c:pt idx="312" formatCode="0.0">
                  <c:v>0.52770349568260588</c:v>
                </c:pt>
                <c:pt idx="313" formatCode="0.0">
                  <c:v>0.53815768393022623</c:v>
                </c:pt>
                <c:pt idx="314" formatCode="0.0">
                  <c:v>0.53771305582363582</c:v>
                </c:pt>
                <c:pt idx="315" formatCode="0.0">
                  <c:v>0.5352827057847932</c:v>
                </c:pt>
                <c:pt idx="316" formatCode="0.0">
                  <c:v>0.54085535168886423</c:v>
                </c:pt>
                <c:pt idx="317" formatCode="0.0">
                  <c:v>0.53784435316554502</c:v>
                </c:pt>
                <c:pt idx="318" formatCode="0.0">
                  <c:v>0.54022325259925641</c:v>
                </c:pt>
                <c:pt idx="319" formatCode="0.0">
                  <c:v>0.58925459319447782</c:v>
                </c:pt>
                <c:pt idx="320" formatCode="0.0">
                  <c:v>0.58682658300886748</c:v>
                </c:pt>
                <c:pt idx="321" formatCode="0.0">
                  <c:v>0.54910736588177333</c:v>
                </c:pt>
                <c:pt idx="322" formatCode="0.0">
                  <c:v>0.5528313547502326</c:v>
                </c:pt>
                <c:pt idx="323" formatCode="0.0">
                  <c:v>0.54343122883976569</c:v>
                </c:pt>
                <c:pt idx="324" formatCode="0.0">
                  <c:v>0.54077384380855398</c:v>
                </c:pt>
                <c:pt idx="325" formatCode="0.0">
                  <c:v>0.53298550693204239</c:v>
                </c:pt>
                <c:pt idx="326" formatCode="0.0">
                  <c:v>0.53418257761844701</c:v>
                </c:pt>
                <c:pt idx="327" formatCode="0.0">
                  <c:v>0.53938891723990434</c:v>
                </c:pt>
                <c:pt idx="328" formatCode="0.0">
                  <c:v>0.53730871681327819</c:v>
                </c:pt>
                <c:pt idx="329" formatCode="0.0">
                  <c:v>0.53816066229624349</c:v>
                </c:pt>
                <c:pt idx="330" formatCode="0.0">
                  <c:v>0.53912747677487571</c:v>
                </c:pt>
                <c:pt idx="331" formatCode="0.0">
                  <c:v>0.53793431928422886</c:v>
                </c:pt>
                <c:pt idx="332" formatCode="0.0">
                  <c:v>0.52786239611211694</c:v>
                </c:pt>
                <c:pt idx="333" formatCode="0.0">
                  <c:v>0.52641911365471017</c:v>
                </c:pt>
                <c:pt idx="334" formatCode="0.0">
                  <c:v>0.52726466208318468</c:v>
                </c:pt>
                <c:pt idx="335" formatCode="0.0">
                  <c:v>0.53337412902822212</c:v>
                </c:pt>
                <c:pt idx="336" formatCode="0.0">
                  <c:v>0.53415727142514957</c:v>
                </c:pt>
                <c:pt idx="337" formatCode="0.0">
                  <c:v>0.53846261762135605</c:v>
                </c:pt>
                <c:pt idx="338" formatCode="0.0">
                  <c:v>0.5447290492903919</c:v>
                </c:pt>
                <c:pt idx="339" formatCode="0.0">
                  <c:v>0.53573610590903664</c:v>
                </c:pt>
                <c:pt idx="340" formatCode="0.0">
                  <c:v>0.52961928857487561</c:v>
                </c:pt>
                <c:pt idx="341" formatCode="0.0">
                  <c:v>0.52487855250674631</c:v>
                </c:pt>
                <c:pt idx="342" formatCode="0.0">
                  <c:v>0.5255415620897308</c:v>
                </c:pt>
                <c:pt idx="343" formatCode="0.0">
                  <c:v>0.5209815618843513</c:v>
                </c:pt>
                <c:pt idx="344" formatCode="0.0">
                  <c:v>0.52330062632066188</c:v>
                </c:pt>
                <c:pt idx="345" formatCode="0.0">
                  <c:v>0.52500470159384038</c:v>
                </c:pt>
                <c:pt idx="346" formatCode="0.0">
                  <c:v>0.52901921401741403</c:v>
                </c:pt>
                <c:pt idx="347" formatCode="0.0">
                  <c:v>0.51889270371018503</c:v>
                </c:pt>
                <c:pt idx="348" formatCode="0.0">
                  <c:v>0.51928256243776161</c:v>
                </c:pt>
                <c:pt idx="349" formatCode="0.0">
                  <c:v>0.51950421659752333</c:v>
                </c:pt>
                <c:pt idx="350" formatCode="0.0">
                  <c:v>0.52201705754065852</c:v>
                </c:pt>
                <c:pt idx="351" formatCode="0.0">
                  <c:v>0.52446189621873451</c:v>
                </c:pt>
                <c:pt idx="352" formatCode="0.0">
                  <c:v>0.53988403351017467</c:v>
                </c:pt>
                <c:pt idx="353" formatCode="0.0">
                  <c:v>0.52631446478942445</c:v>
                </c:pt>
                <c:pt idx="354" formatCode="0.0">
                  <c:v>0.52334318545518899</c:v>
                </c:pt>
                <c:pt idx="355" formatCode="0.0">
                  <c:v>0.51857894854487785</c:v>
                </c:pt>
                <c:pt idx="356" formatCode="0.0">
                  <c:v>0.51868155047966447</c:v>
                </c:pt>
                <c:pt idx="357" formatCode="0.0">
                  <c:v>0.52290713299340152</c:v>
                </c:pt>
                <c:pt idx="358" formatCode="0.0">
                  <c:v>0.5254879236793123</c:v>
                </c:pt>
                <c:pt idx="359" formatCode="0.0">
                  <c:v>0.52777611812191005</c:v>
                </c:pt>
                <c:pt idx="360" formatCode="0.0">
                  <c:v>0.52204825314184267</c:v>
                </c:pt>
                <c:pt idx="361" formatCode="0.0">
                  <c:v>0.51758971990813119</c:v>
                </c:pt>
                <c:pt idx="362" formatCode="0.0">
                  <c:v>0.51242668337841701</c:v>
                </c:pt>
                <c:pt idx="363" formatCode="0.0">
                  <c:v>0.51517019522952534</c:v>
                </c:pt>
                <c:pt idx="364">
                  <c:v>0.52680667590919206</c:v>
                </c:pt>
                <c:pt idx="365">
                  <c:v>0.52796702933241502</c:v>
                </c:pt>
                <c:pt idx="366">
                  <c:v>0.52512096159104893</c:v>
                </c:pt>
                <c:pt idx="367">
                  <c:v>0.52373397521241993</c:v>
                </c:pt>
                <c:pt idx="368">
                  <c:v>0.53392661698335331</c:v>
                </c:pt>
                <c:pt idx="369">
                  <c:v>0.53226042370250326</c:v>
                </c:pt>
                <c:pt idx="370">
                  <c:v>0.60673320353600968</c:v>
                </c:pt>
                <c:pt idx="371">
                  <c:v>0.69264252877090626</c:v>
                </c:pt>
                <c:pt idx="372">
                  <c:v>0.57107889711199999</c:v>
                </c:pt>
                <c:pt idx="373">
                  <c:v>0.5317657315203197</c:v>
                </c:pt>
                <c:pt idx="374">
                  <c:v>0.5258668564736515</c:v>
                </c:pt>
                <c:pt idx="375">
                  <c:v>0.52810362515580367</c:v>
                </c:pt>
                <c:pt idx="376">
                  <c:v>0.51968145802208343</c:v>
                </c:pt>
                <c:pt idx="377">
                  <c:v>0.51889171921490118</c:v>
                </c:pt>
                <c:pt idx="378">
                  <c:v>0.51714328520487884</c:v>
                </c:pt>
                <c:pt idx="379">
                  <c:v>0.52162607018349938</c:v>
                </c:pt>
                <c:pt idx="380">
                  <c:v>0.5235409585479821</c:v>
                </c:pt>
                <c:pt idx="381">
                  <c:v>0.52383970507097155</c:v>
                </c:pt>
                <c:pt idx="382">
                  <c:v>0.52096192630920868</c:v>
                </c:pt>
                <c:pt idx="383">
                  <c:v>0.52429400164552797</c:v>
                </c:pt>
                <c:pt idx="384">
                  <c:v>0.52499812028333248</c:v>
                </c:pt>
                <c:pt idx="385">
                  <c:v>0.52332926884337627</c:v>
                </c:pt>
                <c:pt idx="386">
                  <c:v>0.52431035541889348</c:v>
                </c:pt>
                <c:pt idx="387">
                  <c:v>0.52821402704803722</c:v>
                </c:pt>
                <c:pt idx="388">
                  <c:v>0.52563328142429688</c:v>
                </c:pt>
                <c:pt idx="389">
                  <c:v>0.52840099294312237</c:v>
                </c:pt>
                <c:pt idx="390">
                  <c:v>0.52063979752580936</c:v>
                </c:pt>
                <c:pt idx="391">
                  <c:v>0.52818973480760434</c:v>
                </c:pt>
                <c:pt idx="392">
                  <c:v>0.52381355052020084</c:v>
                </c:pt>
                <c:pt idx="393">
                  <c:v>0.5229666071809933</c:v>
                </c:pt>
                <c:pt idx="394">
                  <c:v>0.52267036636913478</c:v>
                </c:pt>
                <c:pt idx="395">
                  <c:v>0.53543557886267112</c:v>
                </c:pt>
                <c:pt idx="396">
                  <c:v>0.52883858897359237</c:v>
                </c:pt>
                <c:pt idx="397">
                  <c:v>0.52859133592501628</c:v>
                </c:pt>
                <c:pt idx="398">
                  <c:v>0.52726649000958359</c:v>
                </c:pt>
                <c:pt idx="399">
                  <c:v>0.52541422655074166</c:v>
                </c:pt>
                <c:pt idx="400">
                  <c:v>0.52046365869717459</c:v>
                </c:pt>
                <c:pt idx="401">
                  <c:v>0.51868352818648022</c:v>
                </c:pt>
                <c:pt idx="402">
                  <c:v>0.51695574734020655</c:v>
                </c:pt>
                <c:pt idx="403">
                  <c:v>0.52184495378153695</c:v>
                </c:pt>
                <c:pt idx="404">
                  <c:v>0.52177006462699183</c:v>
                </c:pt>
                <c:pt idx="405">
                  <c:v>0.51699418921050289</c:v>
                </c:pt>
                <c:pt idx="406">
                  <c:v>0.51950588978441159</c:v>
                </c:pt>
                <c:pt idx="407">
                  <c:v>0.52172221296717503</c:v>
                </c:pt>
                <c:pt idx="408">
                  <c:v>0.52239358236345557</c:v>
                </c:pt>
                <c:pt idx="409">
                  <c:v>0.51970739222493223</c:v>
                </c:pt>
                <c:pt idx="410">
                  <c:v>0.52313983663148655</c:v>
                </c:pt>
                <c:pt idx="411">
                  <c:v>0.52661096154399401</c:v>
                </c:pt>
                <c:pt idx="412">
                  <c:v>0.5340246409279652</c:v>
                </c:pt>
                <c:pt idx="413">
                  <c:v>0.53431686957420721</c:v>
                </c:pt>
                <c:pt idx="414">
                  <c:v>0.55060174788406036</c:v>
                </c:pt>
                <c:pt idx="415">
                  <c:v>0.54846054222423646</c:v>
                </c:pt>
                <c:pt idx="416">
                  <c:v>0.54705781543584209</c:v>
                </c:pt>
                <c:pt idx="417">
                  <c:v>0.54388105485991722</c:v>
                </c:pt>
                <c:pt idx="418">
                  <c:v>0.53008979402036871</c:v>
                </c:pt>
                <c:pt idx="419">
                  <c:v>0.53373494556028256</c:v>
                </c:pt>
                <c:pt idx="420">
                  <c:v>0.53036556821146308</c:v>
                </c:pt>
                <c:pt idx="421">
                  <c:v>0.52782427722546243</c:v>
                </c:pt>
                <c:pt idx="422">
                  <c:v>0.5256147581351297</c:v>
                </c:pt>
                <c:pt idx="423">
                  <c:v>0.52445985943499529</c:v>
                </c:pt>
                <c:pt idx="424">
                  <c:v>0.52624031820745198</c:v>
                </c:pt>
                <c:pt idx="425">
                  <c:v>0.52996855905258022</c:v>
                </c:pt>
                <c:pt idx="426">
                  <c:v>0.5346039194673794</c:v>
                </c:pt>
                <c:pt idx="427">
                  <c:v>0.53589100085355246</c:v>
                </c:pt>
                <c:pt idx="428">
                  <c:v>0.52438025092800566</c:v>
                </c:pt>
                <c:pt idx="429">
                  <c:v>0.52133481123431691</c:v>
                </c:pt>
                <c:pt idx="430">
                  <c:v>0.52728563407032569</c:v>
                </c:pt>
                <c:pt idx="431">
                  <c:v>0.51579757489537936</c:v>
                </c:pt>
                <c:pt idx="432">
                  <c:v>0.51791073579783276</c:v>
                </c:pt>
                <c:pt idx="433">
                  <c:v>0.51812407371818503</c:v>
                </c:pt>
                <c:pt idx="434">
                  <c:v>0.52717050775502161</c:v>
                </c:pt>
                <c:pt idx="435">
                  <c:v>0.53226964482002581</c:v>
                </c:pt>
                <c:pt idx="436">
                  <c:v>0.53146446503177425</c:v>
                </c:pt>
                <c:pt idx="437">
                  <c:v>0.53547582428548557</c:v>
                </c:pt>
                <c:pt idx="438" formatCode="0.0">
                  <c:v>0.52420571947153405</c:v>
                </c:pt>
                <c:pt idx="439">
                  <c:v>0.52532722809378785</c:v>
                </c:pt>
                <c:pt idx="440">
                  <c:v>0.52403480871462571</c:v>
                </c:pt>
                <c:pt idx="441">
                  <c:v>0.52792926969043785</c:v>
                </c:pt>
                <c:pt idx="442">
                  <c:v>0.52290090612752416</c:v>
                </c:pt>
                <c:pt idx="443">
                  <c:v>0.51958605729797269</c:v>
                </c:pt>
                <c:pt idx="444">
                  <c:v>0.52524215312002553</c:v>
                </c:pt>
                <c:pt idx="445">
                  <c:v>0.52458710761307947</c:v>
                </c:pt>
                <c:pt idx="446">
                  <c:v>0.53350251599806475</c:v>
                </c:pt>
                <c:pt idx="447">
                  <c:v>0.54018976899644566</c:v>
                </c:pt>
                <c:pt idx="448">
                  <c:v>0.54762280670339014</c:v>
                </c:pt>
                <c:pt idx="449">
                  <c:v>0.54367349135663134</c:v>
                </c:pt>
                <c:pt idx="450">
                  <c:v>0.53896413539849863</c:v>
                </c:pt>
                <c:pt idx="451">
                  <c:v>0.54261460821451868</c:v>
                </c:pt>
                <c:pt idx="452">
                  <c:v>0.54396458171760198</c:v>
                </c:pt>
                <c:pt idx="453">
                  <c:v>0.61634324674990948</c:v>
                </c:pt>
                <c:pt idx="454">
                  <c:v>0</c:v>
                </c:pt>
                <c:pt idx="455">
                  <c:v>0.63444695603496237</c:v>
                </c:pt>
                <c:pt idx="456">
                  <c:v>0.54543201434189792</c:v>
                </c:pt>
                <c:pt idx="457">
                  <c:v>0.55276300077289364</c:v>
                </c:pt>
                <c:pt idx="458" formatCode="0.0">
                  <c:v>0.54670268699147129</c:v>
                </c:pt>
                <c:pt idx="459" formatCode="0.0">
                  <c:v>0.54545779906993164</c:v>
                </c:pt>
                <c:pt idx="460" formatCode="0.0">
                  <c:v>0.53853001620993346</c:v>
                </c:pt>
                <c:pt idx="461" formatCode="0.0">
                  <c:v>0.54077205349984947</c:v>
                </c:pt>
                <c:pt idx="462" formatCode="0.0">
                  <c:v>0.53446455297616102</c:v>
                </c:pt>
                <c:pt idx="463" formatCode="0.0">
                  <c:v>0.53334344232449349</c:v>
                </c:pt>
                <c:pt idx="464" formatCode="0.0">
                  <c:v>0.53759008261466457</c:v>
                </c:pt>
                <c:pt idx="465" formatCode="0.0">
                  <c:v>0.54352124251637213</c:v>
                </c:pt>
                <c:pt idx="466" formatCode="0.0">
                  <c:v>0.54468245621330946</c:v>
                </c:pt>
                <c:pt idx="467" formatCode="0.0">
                  <c:v>0.5523543342897802</c:v>
                </c:pt>
                <c:pt idx="468" formatCode="0.0">
                  <c:v>0.55043394457912187</c:v>
                </c:pt>
                <c:pt idx="469" formatCode="0.0">
                  <c:v>0.56138877661061581</c:v>
                </c:pt>
                <c:pt idx="470" formatCode="0.0">
                  <c:v>0.54825095937314261</c:v>
                </c:pt>
                <c:pt idx="471" formatCode="0.0">
                  <c:v>0.552760731977745</c:v>
                </c:pt>
                <c:pt idx="472" formatCode="0.0">
                  <c:v>0.54384389005712552</c:v>
                </c:pt>
                <c:pt idx="473" formatCode="0.0">
                  <c:v>0.54649942963723663</c:v>
                </c:pt>
                <c:pt idx="474" formatCode="0.0">
                  <c:v>0.52984389478247707</c:v>
                </c:pt>
                <c:pt idx="475" formatCode="0.0">
                  <c:v>0.52145794284334557</c:v>
                </c:pt>
                <c:pt idx="476" formatCode="0.0">
                  <c:v>0.51767368343824294</c:v>
                </c:pt>
                <c:pt idx="477" formatCode="0.0">
                  <c:v>0.52333917689925946</c:v>
                </c:pt>
                <c:pt idx="478" formatCode="0.0">
                  <c:v>0.51921175993864466</c:v>
                </c:pt>
                <c:pt idx="479" formatCode="0.0">
                  <c:v>0.52597652722709587</c:v>
                </c:pt>
                <c:pt idx="480" formatCode="0.0">
                  <c:v>0.52850619082588512</c:v>
                </c:pt>
                <c:pt idx="481" formatCode="0.0">
                  <c:v>0.52929028390902522</c:v>
                </c:pt>
                <c:pt idx="482" formatCode="0.0">
                  <c:v>0.52389657143250246</c:v>
                </c:pt>
                <c:pt idx="483" formatCode="0.0">
                  <c:v>0.53027465360451242</c:v>
                </c:pt>
                <c:pt idx="484" formatCode="0.0">
                  <c:v>0.53325746986480838</c:v>
                </c:pt>
                <c:pt idx="485" formatCode="0.0">
                  <c:v>0.53449555125028059</c:v>
                </c:pt>
                <c:pt idx="486" formatCode="0.0">
                  <c:v>0.53414150926212445</c:v>
                </c:pt>
                <c:pt idx="487" formatCode="0.0">
                  <c:v>0.51842964501714395</c:v>
                </c:pt>
                <c:pt idx="488" formatCode="0.0">
                  <c:v>0.51662018232065543</c:v>
                </c:pt>
                <c:pt idx="489" formatCode="0.0">
                  <c:v>0.53115183485558648</c:v>
                </c:pt>
                <c:pt idx="490" formatCode="0.0">
                  <c:v>0.52984345940469035</c:v>
                </c:pt>
                <c:pt idx="491" formatCode="0.0">
                  <c:v>0.52107061670002885</c:v>
                </c:pt>
                <c:pt idx="492" formatCode="0.0">
                  <c:v>0.52081347254107868</c:v>
                </c:pt>
                <c:pt idx="493" formatCode="0.0">
                  <c:v>0.51991981517473751</c:v>
                </c:pt>
                <c:pt idx="494" formatCode="0.0">
                  <c:v>0.52998155652000689</c:v>
                </c:pt>
                <c:pt idx="495" formatCode="0.0">
                  <c:v>0.53876493177239815</c:v>
                </c:pt>
                <c:pt idx="496" formatCode="0.0">
                  <c:v>0.53443506767423099</c:v>
                </c:pt>
                <c:pt idx="497" formatCode="0.0">
                  <c:v>0.5304891082276415</c:v>
                </c:pt>
                <c:pt idx="498" formatCode="0.0">
                  <c:v>0.52152887994755504</c:v>
                </c:pt>
                <c:pt idx="499" formatCode="0.0">
                  <c:v>0.51387876047321723</c:v>
                </c:pt>
                <c:pt idx="500" formatCode="0.0">
                  <c:v>0.51319018548364803</c:v>
                </c:pt>
                <c:pt idx="501" formatCode="0.0">
                  <c:v>0.51836231873044614</c:v>
                </c:pt>
                <c:pt idx="502" formatCode="0.0">
                  <c:v>0.51603692555574121</c:v>
                </c:pt>
                <c:pt idx="503" formatCode="0.0">
                  <c:v>0.51935917777210905</c:v>
                </c:pt>
                <c:pt idx="504" formatCode="0.0">
                  <c:v>0.52967954932810768</c:v>
                </c:pt>
                <c:pt idx="505" formatCode="0.0">
                  <c:v>0.53456232283698724</c:v>
                </c:pt>
                <c:pt idx="506" formatCode="0.0">
                  <c:v>0.53173511211385815</c:v>
                </c:pt>
                <c:pt idx="507" formatCode="0.0">
                  <c:v>0.52928788082892875</c:v>
                </c:pt>
                <c:pt idx="508" formatCode="0.0">
                  <c:v>0.52865936225678689</c:v>
                </c:pt>
                <c:pt idx="509" formatCode="0.0">
                  <c:v>0.52374525435130259</c:v>
                </c:pt>
                <c:pt idx="510" formatCode="0.0">
                  <c:v>0.52527686229086101</c:v>
                </c:pt>
                <c:pt idx="511" formatCode="0.0">
                  <c:v>0.51794117738121115</c:v>
                </c:pt>
                <c:pt idx="512" formatCode="0.0">
                  <c:v>0.52127583634917596</c:v>
                </c:pt>
                <c:pt idx="513" formatCode="0.0">
                  <c:v>0.51244738106990717</c:v>
                </c:pt>
                <c:pt idx="514" formatCode="0.0">
                  <c:v>0.51836209711517622</c:v>
                </c:pt>
                <c:pt idx="515" formatCode="0.0">
                  <c:v>0.52344603097135523</c:v>
                </c:pt>
                <c:pt idx="516" formatCode="0.0">
                  <c:v>0.51709108311340479</c:v>
                </c:pt>
                <c:pt idx="517" formatCode="0.0">
                  <c:v>0.52020165677519459</c:v>
                </c:pt>
                <c:pt idx="518" formatCode="0.0">
                  <c:v>0.51326004733986297</c:v>
                </c:pt>
                <c:pt idx="519" formatCode="0.0">
                  <c:v>0.52874801853558773</c:v>
                </c:pt>
                <c:pt idx="520" formatCode="0.0">
                  <c:v>0.51861490302690405</c:v>
                </c:pt>
                <c:pt idx="521" formatCode="0.0">
                  <c:v>0.52513167422249796</c:v>
                </c:pt>
                <c:pt idx="522" formatCode="0.0">
                  <c:v>0.53000943694644842</c:v>
                </c:pt>
                <c:pt idx="523" formatCode="0.0">
                  <c:v>0.53022018198748222</c:v>
                </c:pt>
                <c:pt idx="524" formatCode="0.0">
                  <c:v>0.52418361930802282</c:v>
                </c:pt>
                <c:pt idx="525" formatCode="0.0">
                  <c:v>0.52945000841553436</c:v>
                </c:pt>
                <c:pt idx="526" formatCode="0.0">
                  <c:v>0.52316682190233732</c:v>
                </c:pt>
                <c:pt idx="527" formatCode="0.0">
                  <c:v>0.52694197776753238</c:v>
                </c:pt>
                <c:pt idx="528" formatCode="0.0">
                  <c:v>0.53379941345396842</c:v>
                </c:pt>
                <c:pt idx="529" formatCode="0.0">
                  <c:v>0.5339803823086049</c:v>
                </c:pt>
                <c:pt idx="530" formatCode="0.0">
                  <c:v>0.53096889095869548</c:v>
                </c:pt>
                <c:pt idx="531" formatCode="0.0">
                  <c:v>0.53541152985448603</c:v>
                </c:pt>
                <c:pt idx="532" formatCode="0.0">
                  <c:v>0.52601074135614545</c:v>
                </c:pt>
                <c:pt idx="533" formatCode="0.0">
                  <c:v>0.51893188761453879</c:v>
                </c:pt>
                <c:pt idx="534" formatCode="0.0">
                  <c:v>0.51006690258522247</c:v>
                </c:pt>
                <c:pt idx="535" formatCode="0.0">
                  <c:v>0.51184529204528939</c:v>
                </c:pt>
                <c:pt idx="536" formatCode="0.0">
                  <c:v>0.51165821610428952</c:v>
                </c:pt>
                <c:pt idx="537" formatCode="0.0">
                  <c:v>0.51442293345377266</c:v>
                </c:pt>
                <c:pt idx="538" formatCode="0.0">
                  <c:v>0.51633801727010475</c:v>
                </c:pt>
                <c:pt idx="539" formatCode="0.0">
                  <c:v>0.51922675051706357</c:v>
                </c:pt>
                <c:pt idx="540" formatCode="0.0">
                  <c:v>0.52079810423456074</c:v>
                </c:pt>
                <c:pt idx="541" formatCode="0.0">
                  <c:v>0.51208706004656235</c:v>
                </c:pt>
                <c:pt idx="542" formatCode="0.0">
                  <c:v>0.50443454356149287</c:v>
                </c:pt>
                <c:pt idx="543" formatCode="0.0">
                  <c:v>0.51113507750665454</c:v>
                </c:pt>
                <c:pt idx="544" formatCode="0.0">
                  <c:v>0.5130584183998087</c:v>
                </c:pt>
                <c:pt idx="545" formatCode="0.0">
                  <c:v>0.5153087184304288</c:v>
                </c:pt>
                <c:pt idx="546" formatCode="0.0">
                  <c:v>0.51811571468763828</c:v>
                </c:pt>
                <c:pt idx="547" formatCode="0.0">
                  <c:v>0.52295197053792375</c:v>
                </c:pt>
                <c:pt idx="548" formatCode="0.0">
                  <c:v>0.52581273042414689</c:v>
                </c:pt>
                <c:pt idx="549" formatCode="0.0">
                  <c:v>0.52397796405578345</c:v>
                </c:pt>
                <c:pt idx="550" formatCode="0.0">
                  <c:v>0.52095675868778712</c:v>
                </c:pt>
                <c:pt idx="551" formatCode="0.0">
                  <c:v>0.52824602829185341</c:v>
                </c:pt>
                <c:pt idx="552" formatCode="0.0">
                  <c:v>0.53069909724579822</c:v>
                </c:pt>
                <c:pt idx="553" formatCode="0.0">
                  <c:v>0.52907929242024365</c:v>
                </c:pt>
                <c:pt idx="554" formatCode="0.0">
                  <c:v>0.52362831282263844</c:v>
                </c:pt>
                <c:pt idx="555" formatCode="0.0">
                  <c:v>0.52238098420662116</c:v>
                </c:pt>
                <c:pt idx="556" formatCode="0.0">
                  <c:v>0.52325305484933227</c:v>
                </c:pt>
                <c:pt idx="557" formatCode="0.0">
                  <c:v>0.52621430875871189</c:v>
                </c:pt>
                <c:pt idx="558" formatCode="0.0">
                  <c:v>0.52093323153518556</c:v>
                </c:pt>
                <c:pt idx="559" formatCode="0.0">
                  <c:v>0.51898570128395494</c:v>
                </c:pt>
                <c:pt idx="560" formatCode="0.0">
                  <c:v>0.51420915530156042</c:v>
                </c:pt>
                <c:pt idx="561" formatCode="0.0">
                  <c:v>0.51105381666297178</c:v>
                </c:pt>
                <c:pt idx="562" formatCode="0.0">
                  <c:v>0.52086836222200161</c:v>
                </c:pt>
                <c:pt idx="563" formatCode="0.0">
                  <c:v>0.52316604753336726</c:v>
                </c:pt>
                <c:pt idx="564" formatCode="0.0">
                  <c:v>0.52199362791350667</c:v>
                </c:pt>
                <c:pt idx="565" formatCode="0.0">
                  <c:v>0.5131313131313131</c:v>
                </c:pt>
                <c:pt idx="566" formatCode="0.0">
                  <c:v>0.51928335406307491</c:v>
                </c:pt>
                <c:pt idx="567" formatCode="0.0">
                  <c:v>0.5299111361181511</c:v>
                </c:pt>
                <c:pt idx="568" formatCode="0.0">
                  <c:v>0.51238057321304264</c:v>
                </c:pt>
                <c:pt idx="569" formatCode="0.0">
                  <c:v>0.52115982506490732</c:v>
                </c:pt>
                <c:pt idx="570" formatCode="0.0">
                  <c:v>0.51578321214235001</c:v>
                </c:pt>
                <c:pt idx="571" formatCode="0.0">
                  <c:v>0.51676918186728704</c:v>
                </c:pt>
                <c:pt idx="572" formatCode="0.0">
                  <c:v>0.51629514814368804</c:v>
                </c:pt>
                <c:pt idx="573" formatCode="0.0">
                  <c:v>0.51304171109086594</c:v>
                </c:pt>
                <c:pt idx="574" formatCode="0.0">
                  <c:v>0.51731293389956756</c:v>
                </c:pt>
                <c:pt idx="575" formatCode="0.0">
                  <c:v>0.52448025215947958</c:v>
                </c:pt>
                <c:pt idx="576" formatCode="0.0">
                  <c:v>0.52650398611008342</c:v>
                </c:pt>
                <c:pt idx="577" formatCode="0.0">
                  <c:v>0.53241730471605075</c:v>
                </c:pt>
                <c:pt idx="578" formatCode="0.0">
                  <c:v>0.5271595820593219</c:v>
                </c:pt>
                <c:pt idx="579" formatCode="0.0">
                  <c:v>0.53082678956090912</c:v>
                </c:pt>
                <c:pt idx="580" formatCode="0.0">
                  <c:v>0.52422226223792701</c:v>
                </c:pt>
                <c:pt idx="581" formatCode="0.0">
                  <c:v>0.53195964239409199</c:v>
                </c:pt>
                <c:pt idx="582" formatCode="0.0">
                  <c:v>0.53462355544792717</c:v>
                </c:pt>
                <c:pt idx="583" formatCode="0.0">
                  <c:v>0.53013706285341733</c:v>
                </c:pt>
                <c:pt idx="584" formatCode="0.0">
                  <c:v>0.5327036033471988</c:v>
                </c:pt>
                <c:pt idx="585" formatCode="0.0">
                  <c:v>0.52602564417668196</c:v>
                </c:pt>
                <c:pt idx="586" formatCode="0.0">
                  <c:v>0.52524315746219485</c:v>
                </c:pt>
                <c:pt idx="587" formatCode="0.0">
                  <c:v>0.52659858351904143</c:v>
                </c:pt>
                <c:pt idx="588" formatCode="0.0">
                  <c:v>0.5313027021603659</c:v>
                </c:pt>
                <c:pt idx="589" formatCode="0.0">
                  <c:v>0.53252924151599201</c:v>
                </c:pt>
                <c:pt idx="590" formatCode="0.0">
                  <c:v>0.53748407422849931</c:v>
                </c:pt>
                <c:pt idx="591" formatCode="0.0">
                  <c:v>0.53222655767244809</c:v>
                </c:pt>
                <c:pt idx="592" formatCode="0.0">
                  <c:v>0.53518973954818561</c:v>
                </c:pt>
                <c:pt idx="593" formatCode="0.0">
                  <c:v>0.53004999669120323</c:v>
                </c:pt>
                <c:pt idx="594" formatCode="0.0">
                  <c:v>0.53522722328165773</c:v>
                </c:pt>
                <c:pt idx="595" formatCode="0.0">
                  <c:v>0.53602350035468871</c:v>
                </c:pt>
                <c:pt idx="596" formatCode="0.0">
                  <c:v>0.52998736074563002</c:v>
                </c:pt>
                <c:pt idx="597" formatCode="0.0">
                  <c:v>0.52840695725408882</c:v>
                </c:pt>
                <c:pt idx="598" formatCode="0.0">
                  <c:v>0.53576161540542744</c:v>
                </c:pt>
                <c:pt idx="599" formatCode="0.0">
                  <c:v>0</c:v>
                </c:pt>
                <c:pt idx="600" formatCode="0.0">
                  <c:v>0.56013081867361247</c:v>
                </c:pt>
                <c:pt idx="601" formatCode="0.0">
                  <c:v>0.58022884003900055</c:v>
                </c:pt>
                <c:pt idx="602" formatCode="0.0">
                  <c:v>0.58676626920606312</c:v>
                </c:pt>
                <c:pt idx="603" formatCode="0.0">
                  <c:v>0.55355773039111145</c:v>
                </c:pt>
                <c:pt idx="604" formatCode="0.0">
                  <c:v>0.5272466966340279</c:v>
                </c:pt>
                <c:pt idx="605" formatCode="0.0">
                  <c:v>0.53068248492777959</c:v>
                </c:pt>
                <c:pt idx="606" formatCode="0.0">
                  <c:v>0.52746886131552428</c:v>
                </c:pt>
                <c:pt idx="607" formatCode="0.0">
                  <c:v>0.52590290310395882</c:v>
                </c:pt>
                <c:pt idx="608" formatCode="0.0">
                  <c:v>0.52672764380678838</c:v>
                </c:pt>
                <c:pt idx="609" formatCode="0.0">
                  <c:v>0.52982888066104883</c:v>
                </c:pt>
                <c:pt idx="610" formatCode="0.0">
                  <c:v>0.52145874266991565</c:v>
                </c:pt>
                <c:pt idx="611" formatCode="0.0">
                  <c:v>0.52905152594121263</c:v>
                </c:pt>
                <c:pt idx="612" formatCode="0.0">
                  <c:v>0.5248003673552275</c:v>
                </c:pt>
                <c:pt idx="613" formatCode="0.0">
                  <c:v>0.51087244972942425</c:v>
                </c:pt>
                <c:pt idx="614" formatCode="0.0">
                  <c:v>0.5289787438442185</c:v>
                </c:pt>
                <c:pt idx="615" formatCode="0.0">
                  <c:v>0.5398390644093537</c:v>
                </c:pt>
                <c:pt idx="616" formatCode="0.0">
                  <c:v>0.53380474134528</c:v>
                </c:pt>
                <c:pt idx="617" formatCode="0.0">
                  <c:v>0.53641798672648666</c:v>
                </c:pt>
                <c:pt idx="618" formatCode="0.0">
                  <c:v>0.54045137066422222</c:v>
                </c:pt>
                <c:pt idx="619" formatCode="0.0">
                  <c:v>0.54268251035977744</c:v>
                </c:pt>
                <c:pt idx="620" formatCode="0.0">
                  <c:v>0.53836171679457834</c:v>
                </c:pt>
                <c:pt idx="621" formatCode="0.0">
                  <c:v>0.53274924500874332</c:v>
                </c:pt>
                <c:pt idx="622" formatCode="0.0">
                  <c:v>0.52854931526642279</c:v>
                </c:pt>
                <c:pt idx="623" formatCode="0.0">
                  <c:v>0.53416777302901997</c:v>
                </c:pt>
                <c:pt idx="624" formatCode="0.0">
                  <c:v>0.53591567495250869</c:v>
                </c:pt>
                <c:pt idx="625" formatCode="0.0">
                  <c:v>0.53232963849532688</c:v>
                </c:pt>
                <c:pt idx="626" formatCode="0.0">
                  <c:v>0.52688592534521639</c:v>
                </c:pt>
                <c:pt idx="627" formatCode="0.0">
                  <c:v>0.52880012071059757</c:v>
                </c:pt>
                <c:pt idx="628" formatCode="0.0">
                  <c:v>0.57178695399413448</c:v>
                </c:pt>
                <c:pt idx="629" formatCode="0.0">
                  <c:v>0.53574923445398559</c:v>
                </c:pt>
                <c:pt idx="630" formatCode="0.0">
                  <c:v>0.52147106513731756</c:v>
                </c:pt>
                <c:pt idx="631" formatCode="0.0">
                  <c:v>0.51744733269499321</c:v>
                </c:pt>
                <c:pt idx="632" formatCode="0.0">
                  <c:v>0.51528675203588004</c:v>
                </c:pt>
                <c:pt idx="633" formatCode="0.0">
                  <c:v>0.5152968149574324</c:v>
                </c:pt>
                <c:pt idx="634" formatCode="0.0">
                  <c:v>0.51395260676390619</c:v>
                </c:pt>
                <c:pt idx="635" formatCode="0.0">
                  <c:v>0.51767416176797576</c:v>
                </c:pt>
                <c:pt idx="636" formatCode="0.0">
                  <c:v>0.51453439304214788</c:v>
                </c:pt>
                <c:pt idx="637" formatCode="0.0">
                  <c:v>0.52162180816647585</c:v>
                </c:pt>
                <c:pt idx="638" formatCode="0.0">
                  <c:v>0.53564772513674197</c:v>
                </c:pt>
                <c:pt idx="639" formatCode="0.0">
                  <c:v>0.53483875993396102</c:v>
                </c:pt>
                <c:pt idx="640" formatCode="0.0">
                  <c:v>0.53362577357958996</c:v>
                </c:pt>
                <c:pt idx="641" formatCode="0.0">
                  <c:v>0.53025616869907688</c:v>
                </c:pt>
                <c:pt idx="642" formatCode="0.0">
                  <c:v>0.53221151567670977</c:v>
                </c:pt>
                <c:pt idx="643" formatCode="0.0">
                  <c:v>0.52477113008595644</c:v>
                </c:pt>
                <c:pt idx="644" formatCode="0.0">
                  <c:v>0.52511799766981737</c:v>
                </c:pt>
                <c:pt idx="645" formatCode="0.0">
                  <c:v>0.52363574936679114</c:v>
                </c:pt>
                <c:pt idx="646" formatCode="0.0">
                  <c:v>0.53226957845925493</c:v>
                </c:pt>
                <c:pt idx="647" formatCode="0.0">
                  <c:v>0.54280563903379275</c:v>
                </c:pt>
                <c:pt idx="648" formatCode="0.0">
                  <c:v>0.53122348634863448</c:v>
                </c:pt>
                <c:pt idx="649" formatCode="0.0">
                  <c:v>0.52850641869007631</c:v>
                </c:pt>
                <c:pt idx="650" formatCode="0.0">
                  <c:v>0.53533616204153467</c:v>
                </c:pt>
                <c:pt idx="651" formatCode="0.0">
                  <c:v>0.53059344597002234</c:v>
                </c:pt>
                <c:pt idx="652" formatCode="0.0">
                  <c:v>0.53458082172487909</c:v>
                </c:pt>
                <c:pt idx="653" formatCode="0.0">
                  <c:v>0.52624325230635116</c:v>
                </c:pt>
                <c:pt idx="654" formatCode="0.0">
                  <c:v>0.52600378468602993</c:v>
                </c:pt>
                <c:pt idx="655" formatCode="0.0">
                  <c:v>0.52337232144213641</c:v>
                </c:pt>
                <c:pt idx="656" formatCode="0.0">
                  <c:v>0.52490285614645193</c:v>
                </c:pt>
                <c:pt idx="657" formatCode="0.0">
                  <c:v>0.52401060007191258</c:v>
                </c:pt>
                <c:pt idx="658" formatCode="0.0">
                  <c:v>0.53226787036777345</c:v>
                </c:pt>
                <c:pt idx="659" formatCode="0.0">
                  <c:v>0.52382121531209813</c:v>
                </c:pt>
                <c:pt idx="660" formatCode="0.0">
                  <c:v>0.521751497427279</c:v>
                </c:pt>
                <c:pt idx="661" formatCode="0.0">
                  <c:v>0.5268239386775917</c:v>
                </c:pt>
                <c:pt idx="662" formatCode="0.0">
                  <c:v>0.51972541645943293</c:v>
                </c:pt>
                <c:pt idx="663" formatCode="0.0">
                  <c:v>0.52399322799628612</c:v>
                </c:pt>
                <c:pt idx="664" formatCode="0.0">
                  <c:v>0.52122905943991316</c:v>
                </c:pt>
                <c:pt idx="665" formatCode="0.0">
                  <c:v>0.51877562873465655</c:v>
                </c:pt>
                <c:pt idx="666" formatCode="0.0">
                  <c:v>0.52077312118203523</c:v>
                </c:pt>
                <c:pt idx="667" formatCode="0.0">
                  <c:v>0.51638056987928793</c:v>
                </c:pt>
                <c:pt idx="668" formatCode="0.0">
                  <c:v>0.50968206644271163</c:v>
                </c:pt>
                <c:pt idx="669" formatCode="0.0">
                  <c:v>0.50939348660199113</c:v>
                </c:pt>
                <c:pt idx="670" formatCode="0.0">
                  <c:v>0.51508746260056582</c:v>
                </c:pt>
                <c:pt idx="671" formatCode="0.0">
                  <c:v>0.52396909389335633</c:v>
                </c:pt>
                <c:pt idx="672" formatCode="0.0">
                  <c:v>0.51894072186532914</c:v>
                </c:pt>
                <c:pt idx="673" formatCode="0.0">
                  <c:v>0.52047198941402895</c:v>
                </c:pt>
                <c:pt idx="674" formatCode="0.0">
                  <c:v>0.52528120349149532</c:v>
                </c:pt>
                <c:pt idx="675" formatCode="0.0">
                  <c:v>0.52353502942265784</c:v>
                </c:pt>
                <c:pt idx="676" formatCode="0.0">
                  <c:v>0.51995411096768607</c:v>
                </c:pt>
                <c:pt idx="677" formatCode="0.0">
                  <c:v>0.51678724292702594</c:v>
                </c:pt>
                <c:pt idx="678" formatCode="0.0">
                  <c:v>0.51487958240425313</c:v>
                </c:pt>
                <c:pt idx="679" formatCode="0.0">
                  <c:v>0.52411695949279224</c:v>
                </c:pt>
                <c:pt idx="680" formatCode="0.0">
                  <c:v>0.53966176534556731</c:v>
                </c:pt>
                <c:pt idx="681" formatCode="0.0">
                  <c:v>0.53294885818930449</c:v>
                </c:pt>
                <c:pt idx="682" formatCode="0.0">
                  <c:v>0.53002485404485311</c:v>
                </c:pt>
                <c:pt idx="683" formatCode="0.0">
                  <c:v>0.5241903299390136</c:v>
                </c:pt>
                <c:pt idx="684" formatCode="0.0">
                  <c:v>0.52641846920075097</c:v>
                </c:pt>
                <c:pt idx="685" formatCode="0.0">
                  <c:v>0.52052806809790797</c:v>
                </c:pt>
                <c:pt idx="686" formatCode="0.0">
                  <c:v>0.52971242714814282</c:v>
                </c:pt>
                <c:pt idx="687" formatCode="0.0">
                  <c:v>0.52669210240100295</c:v>
                </c:pt>
                <c:pt idx="688" formatCode="0.0">
                  <c:v>0.51860177719621448</c:v>
                </c:pt>
                <c:pt idx="689" formatCode="0.0">
                  <c:v>0.51683811837546434</c:v>
                </c:pt>
                <c:pt idx="690" formatCode="0.0">
                  <c:v>0.51590968726835706</c:v>
                </c:pt>
                <c:pt idx="691" formatCode="0.0">
                  <c:v>0.52317929945271591</c:v>
                </c:pt>
                <c:pt idx="692" formatCode="0.0">
                  <c:v>0.52079330173301497</c:v>
                </c:pt>
                <c:pt idx="693" formatCode="0.0">
                  <c:v>0.51915130698675638</c:v>
                </c:pt>
                <c:pt idx="694" formatCode="0.0">
                  <c:v>0.51797349054329689</c:v>
                </c:pt>
                <c:pt idx="695" formatCode="0.0">
                  <c:v>0.51740034068295704</c:v>
                </c:pt>
                <c:pt idx="696" formatCode="0.0">
                  <c:v>0.51757912513152482</c:v>
                </c:pt>
                <c:pt idx="697" formatCode="0.0">
                  <c:v>0.51649247556212508</c:v>
                </c:pt>
                <c:pt idx="698" formatCode="0.0">
                  <c:v>0.51549496891771496</c:v>
                </c:pt>
                <c:pt idx="699" formatCode="0.0">
                  <c:v>0.51350890364813429</c:v>
                </c:pt>
                <c:pt idx="700" formatCode="0.0">
                  <c:v>0.51312006955987111</c:v>
                </c:pt>
                <c:pt idx="701" formatCode="0.0">
                  <c:v>0.51194538731242045</c:v>
                </c:pt>
                <c:pt idx="702" formatCode="0.0">
                  <c:v>0.51305516997699274</c:v>
                </c:pt>
                <c:pt idx="703" formatCode="0.0">
                  <c:v>0.50488719185451647</c:v>
                </c:pt>
                <c:pt idx="704" formatCode="0.0">
                  <c:v>0.50680306765788452</c:v>
                </c:pt>
                <c:pt idx="705" formatCode="0.0">
                  <c:v>0.50591976438689468</c:v>
                </c:pt>
                <c:pt idx="706" formatCode="0.0">
                  <c:v>0.50650631474457886</c:v>
                </c:pt>
                <c:pt idx="707" formatCode="0.0">
                  <c:v>0.51618409833945311</c:v>
                </c:pt>
                <c:pt idx="708" formatCode="0.0">
                  <c:v>0.5160818295079046</c:v>
                </c:pt>
                <c:pt idx="709" formatCode="0.0">
                  <c:v>0.51174251838103413</c:v>
                </c:pt>
                <c:pt idx="710" formatCode="0.0">
                  <c:v>0.50830789261236298</c:v>
                </c:pt>
                <c:pt idx="711" formatCode="0.0">
                  <c:v>0.5054958481416193</c:v>
                </c:pt>
                <c:pt idx="712" formatCode="0.0">
                  <c:v>0.50174669071549338</c:v>
                </c:pt>
                <c:pt idx="713" formatCode="0.0">
                  <c:v>0.50079215955638667</c:v>
                </c:pt>
                <c:pt idx="714" formatCode="0.0">
                  <c:v>0.50203783558566539</c:v>
                </c:pt>
                <c:pt idx="715" formatCode="0.0">
                  <c:v>0.49974004775421121</c:v>
                </c:pt>
                <c:pt idx="716" formatCode="0.0">
                  <c:v>0.50458900770735071</c:v>
                </c:pt>
                <c:pt idx="717" formatCode="0.0">
                  <c:v>0.50584619811589127</c:v>
                </c:pt>
                <c:pt idx="718" formatCode="0.0">
                  <c:v>0.51074578765862488</c:v>
                </c:pt>
                <c:pt idx="719" formatCode="0.0">
                  <c:v>0.51668100087097557</c:v>
                </c:pt>
                <c:pt idx="720" formatCode="0.0">
                  <c:v>0.51270593243573426</c:v>
                </c:pt>
                <c:pt idx="721" formatCode="0.0">
                  <c:v>0.51171988491522402</c:v>
                </c:pt>
                <c:pt idx="722" formatCode="0.0">
                  <c:v>0.50522738788091426</c:v>
                </c:pt>
                <c:pt idx="723" formatCode="0.0">
                  <c:v>0.50585636858690408</c:v>
                </c:pt>
                <c:pt idx="724" formatCode="0.0">
                  <c:v>0.50478362263122878</c:v>
                </c:pt>
                <c:pt idx="725" formatCode="0.0">
                  <c:v>0.50384138150568791</c:v>
                </c:pt>
                <c:pt idx="726" formatCode="General">
                  <c:v>0.50734333878962956</c:v>
                </c:pt>
                <c:pt idx="727" formatCode="General">
                  <c:v>0.50908154264486682</c:v>
                </c:pt>
                <c:pt idx="728" formatCode="General">
                  <c:v>0.50798267664272012</c:v>
                </c:pt>
                <c:pt idx="729" formatCode="General">
                  <c:v>0.51033212523159954</c:v>
                </c:pt>
                <c:pt idx="730">
                  <c:v>0.51342293253068094</c:v>
                </c:pt>
                <c:pt idx="731">
                  <c:v>0.50742934077548896</c:v>
                </c:pt>
                <c:pt idx="732">
                  <c:v>0.51481288592277796</c:v>
                </c:pt>
                <c:pt idx="733">
                  <c:v>0.51207583051663264</c:v>
                </c:pt>
                <c:pt idx="734">
                  <c:v>0.51530519180480505</c:v>
                </c:pt>
                <c:pt idx="735">
                  <c:v>0.5107570377906846</c:v>
                </c:pt>
                <c:pt idx="736">
                  <c:v>0.511132247180623</c:v>
                </c:pt>
                <c:pt idx="737">
                  <c:v>0.50914483477156114</c:v>
                </c:pt>
                <c:pt idx="738">
                  <c:v>0.50613755858833187</c:v>
                </c:pt>
                <c:pt idx="739">
                  <c:v>0.51695435835555426</c:v>
                </c:pt>
                <c:pt idx="740">
                  <c:v>0.52411600509614731</c:v>
                </c:pt>
                <c:pt idx="741">
                  <c:v>0.5254518288750607</c:v>
                </c:pt>
                <c:pt idx="742">
                  <c:v>0.5264973861103629</c:v>
                </c:pt>
                <c:pt idx="743">
                  <c:v>0.52009012893266515</c:v>
                </c:pt>
                <c:pt idx="744">
                  <c:v>0.52031510289428662</c:v>
                </c:pt>
                <c:pt idx="745">
                  <c:v>0.52040077772824178</c:v>
                </c:pt>
                <c:pt idx="746">
                  <c:v>0.51333376398885455</c:v>
                </c:pt>
                <c:pt idx="747">
                  <c:v>0.5096453527904703</c:v>
                </c:pt>
                <c:pt idx="748">
                  <c:v>0.51504158205691719</c:v>
                </c:pt>
                <c:pt idx="749">
                  <c:v>0.52452698439189382</c:v>
                </c:pt>
                <c:pt idx="750">
                  <c:v>0.52274849629429465</c:v>
                </c:pt>
                <c:pt idx="751">
                  <c:v>0.51810043885694712</c:v>
                </c:pt>
                <c:pt idx="752">
                  <c:v>0.51715882569515026</c:v>
                </c:pt>
                <c:pt idx="753">
                  <c:v>0.50551764385904963</c:v>
                </c:pt>
                <c:pt idx="754">
                  <c:v>0.51314586132489659</c:v>
                </c:pt>
                <c:pt idx="755">
                  <c:v>0.51799500032462864</c:v>
                </c:pt>
                <c:pt idx="756">
                  <c:v>0.52481437758256533</c:v>
                </c:pt>
                <c:pt idx="757">
                  <c:v>0.52178621230590039</c:v>
                </c:pt>
                <c:pt idx="758">
                  <c:v>0.52211695140684355</c:v>
                </c:pt>
                <c:pt idx="759">
                  <c:v>0.51679386513704173</c:v>
                </c:pt>
                <c:pt idx="760">
                  <c:v>0.51866786801986542</c:v>
                </c:pt>
                <c:pt idx="761">
                  <c:v>0.52522063812183106</c:v>
                </c:pt>
                <c:pt idx="762">
                  <c:v>0.52181333215938641</c:v>
                </c:pt>
                <c:pt idx="763">
                  <c:v>0.52630970624258666</c:v>
                </c:pt>
                <c:pt idx="764">
                  <c:v>0.52367693569657059</c:v>
                </c:pt>
                <c:pt idx="765">
                  <c:v>0.52128336869394665</c:v>
                </c:pt>
                <c:pt idx="766">
                  <c:v>0.52227244806608952</c:v>
                </c:pt>
                <c:pt idx="767">
                  <c:v>0.5352765188694385</c:v>
                </c:pt>
                <c:pt idx="768">
                  <c:v>0.53184032628638656</c:v>
                </c:pt>
                <c:pt idx="769">
                  <c:v>0.52310888356871965</c:v>
                </c:pt>
                <c:pt idx="770">
                  <c:v>0.52009456349872907</c:v>
                </c:pt>
                <c:pt idx="771">
                  <c:v>0.52340409039026203</c:v>
                </c:pt>
                <c:pt idx="772">
                  <c:v>0.52853661499997873</c:v>
                </c:pt>
                <c:pt idx="773">
                  <c:v>0.51715266075743038</c:v>
                </c:pt>
                <c:pt idx="774">
                  <c:v>0.51658259629233605</c:v>
                </c:pt>
                <c:pt idx="775">
                  <c:v>0.51851742842174042</c:v>
                </c:pt>
                <c:pt idx="776">
                  <c:v>0.52546892509799148</c:v>
                </c:pt>
                <c:pt idx="777">
                  <c:v>0.5304762024070685</c:v>
                </c:pt>
                <c:pt idx="778">
                  <c:v>0.52258374433148302</c:v>
                </c:pt>
                <c:pt idx="779">
                  <c:v>0.52003819342395341</c:v>
                </c:pt>
                <c:pt idx="780">
                  <c:v>0.51755090704587292</c:v>
                </c:pt>
                <c:pt idx="781">
                  <c:v>0.51356381988119015</c:v>
                </c:pt>
                <c:pt idx="782">
                  <c:v>0.51892952108414991</c:v>
                </c:pt>
                <c:pt idx="783">
                  <c:v>0.52106548618214099</c:v>
                </c:pt>
                <c:pt idx="784">
                  <c:v>0.52476933749545107</c:v>
                </c:pt>
                <c:pt idx="785">
                  <c:v>0.51719434737790249</c:v>
                </c:pt>
                <c:pt idx="786">
                  <c:v>0.52454591325090261</c:v>
                </c:pt>
                <c:pt idx="787">
                  <c:v>0.52416839911822166</c:v>
                </c:pt>
                <c:pt idx="788">
                  <c:v>0.51956390379451922</c:v>
                </c:pt>
                <c:pt idx="789">
                  <c:v>0.51888216025914469</c:v>
                </c:pt>
                <c:pt idx="790">
                  <c:v>0.51826895513525995</c:v>
                </c:pt>
                <c:pt idx="791">
                  <c:v>0.51003249964867647</c:v>
                </c:pt>
                <c:pt idx="792">
                  <c:v>0.51699519568515151</c:v>
                </c:pt>
                <c:pt idx="793">
                  <c:v>0.51182173070144987</c:v>
                </c:pt>
                <c:pt idx="794">
                  <c:v>0.51111502711578305</c:v>
                </c:pt>
                <c:pt idx="795">
                  <c:v>0.62184118474795158</c:v>
                </c:pt>
                <c:pt idx="796">
                  <c:v>0.63317303443475781</c:v>
                </c:pt>
                <c:pt idx="797">
                  <c:v>0.5247384284908172</c:v>
                </c:pt>
                <c:pt idx="798">
                  <c:v>0.52657781460939623</c:v>
                </c:pt>
                <c:pt idx="799">
                  <c:v>0.52830338969866331</c:v>
                </c:pt>
                <c:pt idx="800">
                  <c:v>0.52680531704267686</c:v>
                </c:pt>
                <c:pt idx="801">
                  <c:v>0.51869198759732238</c:v>
                </c:pt>
                <c:pt idx="802">
                  <c:v>0.51915726098403292</c:v>
                </c:pt>
                <c:pt idx="803">
                  <c:v>0.51743421370616161</c:v>
                </c:pt>
                <c:pt idx="804">
                  <c:v>0.51893446404789667</c:v>
                </c:pt>
                <c:pt idx="805">
                  <c:v>0.52522342206179917</c:v>
                </c:pt>
                <c:pt idx="806">
                  <c:v>0.52178535142638738</c:v>
                </c:pt>
                <c:pt idx="807">
                  <c:v>0.52155339798195266</c:v>
                </c:pt>
                <c:pt idx="808">
                  <c:v>0.51036077513147549</c:v>
                </c:pt>
                <c:pt idx="809">
                  <c:v>0.51945121135999639</c:v>
                </c:pt>
                <c:pt idx="810">
                  <c:v>0.51689399999784957</c:v>
                </c:pt>
                <c:pt idx="811">
                  <c:v>0.51699216958044381</c:v>
                </c:pt>
                <c:pt idx="812">
                  <c:v>0.52147919702856838</c:v>
                </c:pt>
                <c:pt idx="813">
                  <c:v>0.53081338149134594</c:v>
                </c:pt>
                <c:pt idx="814">
                  <c:v>0.52178094705424238</c:v>
                </c:pt>
                <c:pt idx="815">
                  <c:v>0.52120530279145838</c:v>
                </c:pt>
                <c:pt idx="816">
                  <c:v>0.5121328373686046</c:v>
                </c:pt>
                <c:pt idx="817">
                  <c:v>0.51112379438316891</c:v>
                </c:pt>
                <c:pt idx="818">
                  <c:v>0.51494862558493104</c:v>
                </c:pt>
                <c:pt idx="819">
                  <c:v>0.51097583826373472</c:v>
                </c:pt>
                <c:pt idx="820">
                  <c:v>0.5131247481669422</c:v>
                </c:pt>
                <c:pt idx="821">
                  <c:v>0.52543826838397889</c:v>
                </c:pt>
                <c:pt idx="822">
                  <c:v>0.5257369018443705</c:v>
                </c:pt>
                <c:pt idx="823">
                  <c:v>0.52026568206736024</c:v>
                </c:pt>
                <c:pt idx="824" formatCode="0.0">
                  <c:v>0.51569640465383215</c:v>
                </c:pt>
                <c:pt idx="825" formatCode="0.0">
                  <c:v>0.5265665723194618</c:v>
                </c:pt>
                <c:pt idx="826" formatCode="0.0">
                  <c:v>0.53077085781261446</c:v>
                </c:pt>
                <c:pt idx="827" formatCode="0.0">
                  <c:v>0.53942562332250887</c:v>
                </c:pt>
                <c:pt idx="828" formatCode="0.0">
                  <c:v>0.53922729315873752</c:v>
                </c:pt>
                <c:pt idx="829" formatCode="0.0">
                  <c:v>0.52431354476343006</c:v>
                </c:pt>
                <c:pt idx="830" formatCode="0.0">
                  <c:v>0.52225245511718577</c:v>
                </c:pt>
                <c:pt idx="831" formatCode="0.0">
                  <c:v>0.52559187061699297</c:v>
                </c:pt>
                <c:pt idx="832" formatCode="0.0">
                  <c:v>0.52625595431000827</c:v>
                </c:pt>
                <c:pt idx="833" formatCode="0.0">
                  <c:v>0.52064995775005096</c:v>
                </c:pt>
                <c:pt idx="834" formatCode="0.0">
                  <c:v>0.5321507226019746</c:v>
                </c:pt>
                <c:pt idx="835" formatCode="0.0">
                  <c:v>0.52545827683785717</c:v>
                </c:pt>
                <c:pt idx="836" formatCode="0.0">
                  <c:v>0.52205049407227377</c:v>
                </c:pt>
                <c:pt idx="837" formatCode="0.0">
                  <c:v>0.52037627219941285</c:v>
                </c:pt>
                <c:pt idx="838" formatCode="0.0">
                  <c:v>0.52087221472608136</c:v>
                </c:pt>
                <c:pt idx="839" formatCode="0.0">
                  <c:v>0.52755676373093485</c:v>
                </c:pt>
                <c:pt idx="840" formatCode="0.0">
                  <c:v>0.53957476547020466</c:v>
                </c:pt>
                <c:pt idx="841" formatCode="0.0">
                  <c:v>0.52925614182898317</c:v>
                </c:pt>
                <c:pt idx="842" formatCode="0.0">
                  <c:v>0.53056848622861108</c:v>
                </c:pt>
                <c:pt idx="843" formatCode="0.0">
                  <c:v>0.52214977958731845</c:v>
                </c:pt>
                <c:pt idx="844" formatCode="0.0">
                  <c:v>0.52243845527644284</c:v>
                </c:pt>
                <c:pt idx="845" formatCode="0.0">
                  <c:v>0.51797565981072657</c:v>
                </c:pt>
                <c:pt idx="846" formatCode="0.0">
                  <c:v>0.51394087594279791</c:v>
                </c:pt>
                <c:pt idx="847" formatCode="0.0">
                  <c:v>0.50922321164471041</c:v>
                </c:pt>
                <c:pt idx="848" formatCode="0.0">
                  <c:v>0.51191123355701529</c:v>
                </c:pt>
                <c:pt idx="849" formatCode="0.0">
                  <c:v>0.50854892044045164</c:v>
                </c:pt>
                <c:pt idx="850" formatCode="0.0">
                  <c:v>0.51292750696526934</c:v>
                </c:pt>
                <c:pt idx="851" formatCode="0.0">
                  <c:v>0.51972418416739119</c:v>
                </c:pt>
                <c:pt idx="852" formatCode="0.0">
                  <c:v>0.51920928775854325</c:v>
                </c:pt>
                <c:pt idx="853" formatCode="0.0">
                  <c:v>0.52822807993655974</c:v>
                </c:pt>
                <c:pt idx="854" formatCode="0.0">
                  <c:v>0.51330862707910685</c:v>
                </c:pt>
                <c:pt idx="855" formatCode="0.0">
                  <c:v>0.51282095611417045</c:v>
                </c:pt>
                <c:pt idx="856" formatCode="0.0">
                  <c:v>0.51734626733338418</c:v>
                </c:pt>
                <c:pt idx="857" formatCode="0.0">
                  <c:v>0.51267797465881537</c:v>
                </c:pt>
                <c:pt idx="858" formatCode="0.0">
                  <c:v>0.50911830602117503</c:v>
                </c:pt>
                <c:pt idx="859" formatCode="0.0">
                  <c:v>0.50704773911315604</c:v>
                </c:pt>
                <c:pt idx="860" formatCode="0.0">
                  <c:v>0.50780070144303424</c:v>
                </c:pt>
                <c:pt idx="861" formatCode="0.0">
                  <c:v>0.51093269782901229</c:v>
                </c:pt>
                <c:pt idx="862" formatCode="0.0">
                  <c:v>0.51988349127565714</c:v>
                </c:pt>
                <c:pt idx="863" formatCode="0.0">
                  <c:v>0.52393560856968835</c:v>
                </c:pt>
                <c:pt idx="864" formatCode="0.0">
                  <c:v>0.52399591446594407</c:v>
                </c:pt>
                <c:pt idx="865" formatCode="0.0">
                  <c:v>0.5241030684097705</c:v>
                </c:pt>
                <c:pt idx="866" formatCode="0.0">
                  <c:v>0.52444431873786723</c:v>
                </c:pt>
                <c:pt idx="867" formatCode="0.0">
                  <c:v>0.5169366992733655</c:v>
                </c:pt>
                <c:pt idx="868" formatCode="0.0">
                  <c:v>0.54243070890969802</c:v>
                </c:pt>
                <c:pt idx="869" formatCode="0.0">
                  <c:v>0.60200782639215744</c:v>
                </c:pt>
                <c:pt idx="870" formatCode="0.0">
                  <c:v>0.68761321567745093</c:v>
                </c:pt>
                <c:pt idx="871" formatCode="0.0">
                  <c:v>0.53519874974289794</c:v>
                </c:pt>
                <c:pt idx="872" formatCode="0.0">
                  <c:v>0.51940703327818027</c:v>
                </c:pt>
                <c:pt idx="873" formatCode="0.0">
                  <c:v>0.51618836631495535</c:v>
                </c:pt>
                <c:pt idx="874" formatCode="0.0">
                  <c:v>0.51306377491369759</c:v>
                </c:pt>
                <c:pt idx="875" formatCode="0.0">
                  <c:v>0.52166846425144231</c:v>
                </c:pt>
                <c:pt idx="876" formatCode="0.0">
                  <c:v>0.5173225331544079</c:v>
                </c:pt>
                <c:pt idx="877" formatCode="0.0">
                  <c:v>0.52049167411031294</c:v>
                </c:pt>
                <c:pt idx="878" formatCode="0.0">
                  <c:v>0.5141844238308646</c:v>
                </c:pt>
                <c:pt idx="879" formatCode="0.0">
                  <c:v>0.50725834957743676</c:v>
                </c:pt>
                <c:pt idx="880" formatCode="0.0">
                  <c:v>0.51305311731722769</c:v>
                </c:pt>
                <c:pt idx="881" formatCode="0.0">
                  <c:v>0.51549058403225856</c:v>
                </c:pt>
                <c:pt idx="882" formatCode="0.0">
                  <c:v>0.51932342896829053</c:v>
                </c:pt>
                <c:pt idx="883" formatCode="0.0">
                  <c:v>0.52197286374214036</c:v>
                </c:pt>
                <c:pt idx="884" formatCode="0.0">
                  <c:v>0.52390916019604739</c:v>
                </c:pt>
                <c:pt idx="885" formatCode="0.0">
                  <c:v>0.51228223100544923</c:v>
                </c:pt>
                <c:pt idx="886" formatCode="0.0">
                  <c:v>0.51246044457613205</c:v>
                </c:pt>
                <c:pt idx="887" formatCode="0.0">
                  <c:v>0.50982681424496434</c:v>
                </c:pt>
                <c:pt idx="888" formatCode="0.0">
                  <c:v>0.51932609267116614</c:v>
                </c:pt>
                <c:pt idx="889" formatCode="0.0">
                  <c:v>0.51887740583032982</c:v>
                </c:pt>
                <c:pt idx="890" formatCode="0.0">
                  <c:v>0.51712476251968953</c:v>
                </c:pt>
                <c:pt idx="891" formatCode="0.0">
                  <c:v>0.51829132467070871</c:v>
                </c:pt>
                <c:pt idx="892" formatCode="0.0">
                  <c:v>0.51984442873008974</c:v>
                </c:pt>
                <c:pt idx="893" formatCode="0.0">
                  <c:v>0.52065434608975902</c:v>
                </c:pt>
                <c:pt idx="894" formatCode="0.0">
                  <c:v>0.51922882262229719</c:v>
                </c:pt>
                <c:pt idx="895" formatCode="0.0">
                  <c:v>0.52339251262771913</c:v>
                </c:pt>
                <c:pt idx="896" formatCode="0.0">
                  <c:v>0.52133953657692089</c:v>
                </c:pt>
                <c:pt idx="897" formatCode="0.0">
                  <c:v>0.51972993002823886</c:v>
                </c:pt>
                <c:pt idx="898" formatCode="0.0">
                  <c:v>0.51209884400311778</c:v>
                </c:pt>
                <c:pt idx="899" formatCode="0.0">
                  <c:v>0.51595132942903499</c:v>
                </c:pt>
                <c:pt idx="900" formatCode="0.0">
                  <c:v>0.52222696174041539</c:v>
                </c:pt>
                <c:pt idx="901" formatCode="0.0">
                  <c:v>0.52093141995841463</c:v>
                </c:pt>
                <c:pt idx="902" formatCode="0.0">
                  <c:v>0.52979760557834532</c:v>
                </c:pt>
                <c:pt idx="903" formatCode="0.0">
                  <c:v>0.51898491924208989</c:v>
                </c:pt>
                <c:pt idx="904" formatCode="0.0">
                  <c:v>0.5161049698263116</c:v>
                </c:pt>
                <c:pt idx="905" formatCode="0.0">
                  <c:v>0.51899346074748298</c:v>
                </c:pt>
                <c:pt idx="906" formatCode="0.0">
                  <c:v>0.5179525643261681</c:v>
                </c:pt>
                <c:pt idx="907" formatCode="0.0">
                  <c:v>0.51837307733754123</c:v>
                </c:pt>
                <c:pt idx="908" formatCode="0.0">
                  <c:v>0.52590805987821332</c:v>
                </c:pt>
                <c:pt idx="909" formatCode="0.0">
                  <c:v>0.52195965023668622</c:v>
                </c:pt>
                <c:pt idx="910" formatCode="0.0">
                  <c:v>0.52216163346527511</c:v>
                </c:pt>
                <c:pt idx="911" formatCode="0.0">
                  <c:v>0.52447019035538289</c:v>
                </c:pt>
                <c:pt idx="912" formatCode="0.0">
                  <c:v>0.51796800443372637</c:v>
                </c:pt>
                <c:pt idx="913" formatCode="0.0">
                  <c:v>0.51221607659322832</c:v>
                </c:pt>
                <c:pt idx="914" formatCode="0.0">
                  <c:v>0.51575802447694441</c:v>
                </c:pt>
                <c:pt idx="915" formatCode="0.0">
                  <c:v>0.53198593795175209</c:v>
                </c:pt>
                <c:pt idx="916" formatCode="0.0">
                  <c:v>0.52323991357299171</c:v>
                </c:pt>
                <c:pt idx="917" formatCode="0.0">
                  <c:v>0.53255019652174052</c:v>
                </c:pt>
                <c:pt idx="918" formatCode="0.0">
                  <c:v>0.53342529223235702</c:v>
                </c:pt>
                <c:pt idx="919" formatCode="0.0">
                  <c:v>0.52473828121134258</c:v>
                </c:pt>
                <c:pt idx="920" formatCode="0.0">
                  <c:v>0.52871285237578047</c:v>
                </c:pt>
                <c:pt idx="921" formatCode="0.0">
                  <c:v>0.52102612108030844</c:v>
                </c:pt>
                <c:pt idx="922" formatCode="0.0">
                  <c:v>0.52577305460661206</c:v>
                </c:pt>
                <c:pt idx="923" formatCode="0.0">
                  <c:v>0.51538053913988846</c:v>
                </c:pt>
                <c:pt idx="924" formatCode="0.0">
                  <c:v>0.51315313826399367</c:v>
                </c:pt>
                <c:pt idx="925" formatCode="0.0">
                  <c:v>0.51989146551325649</c:v>
                </c:pt>
                <c:pt idx="926" formatCode="0.0">
                  <c:v>0.5223466874202346</c:v>
                </c:pt>
                <c:pt idx="927" formatCode="0.0">
                  <c:v>0.5116369921528755</c:v>
                </c:pt>
                <c:pt idx="928" formatCode="0.0">
                  <c:v>0.52742556340099289</c:v>
                </c:pt>
                <c:pt idx="929" formatCode="0.0">
                  <c:v>0.52865773248030423</c:v>
                </c:pt>
                <c:pt idx="930" formatCode="0.0">
                  <c:v>0.53535390781931458</c:v>
                </c:pt>
                <c:pt idx="931" formatCode="0.0">
                  <c:v>0.53041623172023467</c:v>
                </c:pt>
                <c:pt idx="932" formatCode="0.0">
                  <c:v>0.53076323623191524</c:v>
                </c:pt>
                <c:pt idx="933" formatCode="0.0">
                  <c:v>0.52771563337529503</c:v>
                </c:pt>
                <c:pt idx="934" formatCode="0.0">
                  <c:v>0.52819284238565523</c:v>
                </c:pt>
                <c:pt idx="935" formatCode="0.0">
                  <c:v>0.52677309915279513</c:v>
                </c:pt>
                <c:pt idx="936" formatCode="0.0">
                  <c:v>0.52397357415307033</c:v>
                </c:pt>
                <c:pt idx="937" formatCode="0.0">
                  <c:v>0.52657002592276791</c:v>
                </c:pt>
                <c:pt idx="938" formatCode="0.0">
                  <c:v>0.53021539645125026</c:v>
                </c:pt>
                <c:pt idx="939" formatCode="0.0">
                  <c:v>0.53072889923776112</c:v>
                </c:pt>
                <c:pt idx="940" formatCode="0.0">
                  <c:v>0.52984064416826948</c:v>
                </c:pt>
                <c:pt idx="941" formatCode="0.0">
                  <c:v>0.5294933906954592</c:v>
                </c:pt>
                <c:pt idx="942" formatCode="0.0">
                  <c:v>0.52372636134406814</c:v>
                </c:pt>
                <c:pt idx="943" formatCode="0.0">
                  <c:v>0.52224076629572014</c:v>
                </c:pt>
                <c:pt idx="944" formatCode="0.0">
                  <c:v>0.51887354737800129</c:v>
                </c:pt>
                <c:pt idx="945" formatCode="0.0">
                  <c:v>0.5313906893897884</c:v>
                </c:pt>
                <c:pt idx="946" formatCode="0.0">
                  <c:v>0.53037479861671799</c:v>
                </c:pt>
                <c:pt idx="947" formatCode="0.0">
                  <c:v>0.52279767692834267</c:v>
                </c:pt>
                <c:pt idx="948" formatCode="0.0">
                  <c:v>0.51943127945842027</c:v>
                </c:pt>
                <c:pt idx="949" formatCode="0.0">
                  <c:v>0.52076262707304322</c:v>
                </c:pt>
                <c:pt idx="950" formatCode="0.0">
                  <c:v>0.52424399994990334</c:v>
                </c:pt>
                <c:pt idx="951" formatCode="0.0">
                  <c:v>0.52593822551447933</c:v>
                </c:pt>
                <c:pt idx="952" formatCode="0.0">
                  <c:v>0.52522932463836636</c:v>
                </c:pt>
                <c:pt idx="953" formatCode="0.0">
                  <c:v>0.52410436286719297</c:v>
                </c:pt>
                <c:pt idx="954" formatCode="0.0">
                  <c:v>0.52590402080250009</c:v>
                </c:pt>
                <c:pt idx="955" formatCode="0.0">
                  <c:v>0.52807862760903412</c:v>
                </c:pt>
                <c:pt idx="956" formatCode="0.0">
                  <c:v>0.52870657657660158</c:v>
                </c:pt>
                <c:pt idx="957" formatCode="0.0">
                  <c:v>0.53493434947254415</c:v>
                </c:pt>
                <c:pt idx="958" formatCode="0.0">
                  <c:v>0.53931789174335287</c:v>
                </c:pt>
                <c:pt idx="959" formatCode="0.0">
                  <c:v>0.53576487791780814</c:v>
                </c:pt>
                <c:pt idx="960" formatCode="0.0">
                  <c:v>0.53649222534682017</c:v>
                </c:pt>
                <c:pt idx="961" formatCode="0.0">
                  <c:v>0.53173536275421074</c:v>
                </c:pt>
                <c:pt idx="962" formatCode="0.0">
                  <c:v>0.54220818662913872</c:v>
                </c:pt>
                <c:pt idx="963" formatCode="0.0">
                  <c:v>0.54674068110777607</c:v>
                </c:pt>
                <c:pt idx="964" formatCode="0.0">
                  <c:v>0.58048053727849691</c:v>
                </c:pt>
                <c:pt idx="965" formatCode="0.0">
                  <c:v>0.59493024733851163</c:v>
                </c:pt>
                <c:pt idx="966" formatCode="0.0">
                  <c:v>0.54143454389521173</c:v>
                </c:pt>
                <c:pt idx="967" formatCode="0.0">
                  <c:v>0.54639979716941123</c:v>
                </c:pt>
                <c:pt idx="968" formatCode="0.0">
                  <c:v>0.54355997924190258</c:v>
                </c:pt>
                <c:pt idx="969" formatCode="0.0">
                  <c:v>0.54031706675451641</c:v>
                </c:pt>
                <c:pt idx="970" formatCode="0.0">
                  <c:v>0.53515671341620752</c:v>
                </c:pt>
                <c:pt idx="971" formatCode="0.0">
                  <c:v>0.53398602718798105</c:v>
                </c:pt>
                <c:pt idx="972" formatCode="0.0">
                  <c:v>0.53334313899306895</c:v>
                </c:pt>
                <c:pt idx="973" formatCode="0.0">
                  <c:v>0.53080443476516803</c:v>
                </c:pt>
                <c:pt idx="974" formatCode="0.0">
                  <c:v>0.53750058583775329</c:v>
                </c:pt>
                <c:pt idx="975" formatCode="0.0">
                  <c:v>0.53238193128663625</c:v>
                </c:pt>
                <c:pt idx="976" formatCode="0.0">
                  <c:v>0.53160758897390337</c:v>
                </c:pt>
                <c:pt idx="977" formatCode="0.0">
                  <c:v>0.53386200749442358</c:v>
                </c:pt>
                <c:pt idx="978" formatCode="0.0">
                  <c:v>0.52580524774858994</c:v>
                </c:pt>
                <c:pt idx="979" formatCode="0.0">
                  <c:v>0.52530430592622579</c:v>
                </c:pt>
                <c:pt idx="980" formatCode="0.0">
                  <c:v>0.5282023640016843</c:v>
                </c:pt>
                <c:pt idx="981" formatCode="0.0">
                  <c:v>0.5195305737546928</c:v>
                </c:pt>
                <c:pt idx="982" formatCode="0.0">
                  <c:v>0.52537216405133191</c:v>
                </c:pt>
                <c:pt idx="983" formatCode="0.0">
                  <c:v>0.51774984789311951</c:v>
                </c:pt>
                <c:pt idx="984" formatCode="0.0">
                  <c:v>0.52169099999872715</c:v>
                </c:pt>
                <c:pt idx="985" formatCode="0.0">
                  <c:v>0.51670650513818894</c:v>
                </c:pt>
                <c:pt idx="986" formatCode="0.0">
                  <c:v>0.51626330739626825</c:v>
                </c:pt>
                <c:pt idx="987" formatCode="0.0">
                  <c:v>0.51476007424965742</c:v>
                </c:pt>
                <c:pt idx="988" formatCode="0.0">
                  <c:v>0.51816795837896623</c:v>
                </c:pt>
                <c:pt idx="989" formatCode="0.0">
                  <c:v>0.51555430279108572</c:v>
                </c:pt>
                <c:pt idx="990" formatCode="0.0">
                  <c:v>0.51165411327804766</c:v>
                </c:pt>
                <c:pt idx="991" formatCode="0.0">
                  <c:v>0.51325083426646356</c:v>
                </c:pt>
                <c:pt idx="992" formatCode="0.0">
                  <c:v>0.53346892285783776</c:v>
                </c:pt>
                <c:pt idx="993" formatCode="0.0">
                  <c:v>0.53809661414103704</c:v>
                </c:pt>
                <c:pt idx="994" formatCode="0.0">
                  <c:v>0.54282755252580017</c:v>
                </c:pt>
                <c:pt idx="995" formatCode="0.0">
                  <c:v>0.53967279504053811</c:v>
                </c:pt>
                <c:pt idx="996" formatCode="0.0">
                  <c:v>0.54214880296266843</c:v>
                </c:pt>
                <c:pt idx="997" formatCode="0.0">
                  <c:v>0.555027428902239</c:v>
                </c:pt>
                <c:pt idx="998" formatCode="0.0">
                  <c:v>0.55494672758906816</c:v>
                </c:pt>
                <c:pt idx="999" formatCode="0.0">
                  <c:v>0.54892572959001107</c:v>
                </c:pt>
                <c:pt idx="1000" formatCode="0.0">
                  <c:v>0.54720898380792826</c:v>
                </c:pt>
                <c:pt idx="1001" formatCode="0.0">
                  <c:v>0.54249515228809109</c:v>
                </c:pt>
                <c:pt idx="1002" formatCode="0.0">
                  <c:v>0.53780333968146643</c:v>
                </c:pt>
                <c:pt idx="1003" formatCode="0.0">
                  <c:v>0.54233557071989025</c:v>
                </c:pt>
                <c:pt idx="1004" formatCode="0.0">
                  <c:v>0.54425060001438785</c:v>
                </c:pt>
                <c:pt idx="1005" formatCode="0.0">
                  <c:v>0.5473034951257385</c:v>
                </c:pt>
                <c:pt idx="1006" formatCode="0.0">
                  <c:v>0.54527673732454529</c:v>
                </c:pt>
                <c:pt idx="1007" formatCode="0.0">
                  <c:v>0.53318419682079632</c:v>
                </c:pt>
                <c:pt idx="1008" formatCode="0.0">
                  <c:v>0.53179329530331554</c:v>
                </c:pt>
                <c:pt idx="1009" formatCode="0.0">
                  <c:v>0.53921929769740928</c:v>
                </c:pt>
                <c:pt idx="1010" formatCode="0.0">
                  <c:v>0.53900433738683928</c:v>
                </c:pt>
                <c:pt idx="1011" formatCode="0.0">
                  <c:v>0.54725876739827306</c:v>
                </c:pt>
                <c:pt idx="1012" formatCode="0.0">
                  <c:v>0.54561696128537396</c:v>
                </c:pt>
                <c:pt idx="1013" formatCode="0.0">
                  <c:v>0.54202068157856231</c:v>
                </c:pt>
                <c:pt idx="1014" formatCode="0.0">
                  <c:v>0.54623216931062557</c:v>
                </c:pt>
                <c:pt idx="1015" formatCode="0.0">
                  <c:v>0.54102205738918352</c:v>
                </c:pt>
                <c:pt idx="1016" formatCode="0.0">
                  <c:v>0.54344229643773534</c:v>
                </c:pt>
                <c:pt idx="1017" formatCode="0.0">
                  <c:v>0.53803934291142552</c:v>
                </c:pt>
                <c:pt idx="1018" formatCode="0.0">
                  <c:v>0.54054113457618469</c:v>
                </c:pt>
                <c:pt idx="1019" formatCode="0.0">
                  <c:v>0.53804653025562355</c:v>
                </c:pt>
                <c:pt idx="1020" formatCode="0.0">
                  <c:v>0.53837363699538932</c:v>
                </c:pt>
                <c:pt idx="1021" formatCode="0.0">
                  <c:v>0.53635541149922139</c:v>
                </c:pt>
                <c:pt idx="1022" formatCode="0.0">
                  <c:v>0.53638839847496445</c:v>
                </c:pt>
                <c:pt idx="1023" formatCode="0.0">
                  <c:v>0.53761570059178299</c:v>
                </c:pt>
                <c:pt idx="1024" formatCode="0.0">
                  <c:v>0.52652084279922073</c:v>
                </c:pt>
                <c:pt idx="1025" formatCode="0.0">
                  <c:v>0.52915809651375589</c:v>
                </c:pt>
                <c:pt idx="1026" formatCode="General">
                  <c:v>0.52832303238043177</c:v>
                </c:pt>
                <c:pt idx="1027">
                  <c:v>0.53097535902031801</c:v>
                </c:pt>
                <c:pt idx="1028">
                  <c:v>0.53211733318238774</c:v>
                </c:pt>
                <c:pt idx="1029">
                  <c:v>0.52634848041659965</c:v>
                </c:pt>
                <c:pt idx="1030">
                  <c:v>0.52948441901814391</c:v>
                </c:pt>
                <c:pt idx="1031" formatCode="General">
                  <c:v>0.52746284592607628</c:v>
                </c:pt>
                <c:pt idx="1032" formatCode="0.0">
                  <c:v>0.52467367135942033</c:v>
                </c:pt>
                <c:pt idx="1033" formatCode="0.0">
                  <c:v>0.52748418543048081</c:v>
                </c:pt>
                <c:pt idx="1034" formatCode="General">
                  <c:v>0.53035236476416059</c:v>
                </c:pt>
                <c:pt idx="1035" formatCode="General">
                  <c:v>0.53508185466141689</c:v>
                </c:pt>
                <c:pt idx="1036" formatCode="0.0">
                  <c:v>0.53894199220239747</c:v>
                </c:pt>
                <c:pt idx="1037" formatCode="General">
                  <c:v>0.57489659761718703</c:v>
                </c:pt>
                <c:pt idx="1038" formatCode="General">
                  <c:v>0.54741364576464924</c:v>
                </c:pt>
                <c:pt idx="1039">
                  <c:v>0.52930346860187072</c:v>
                </c:pt>
                <c:pt idx="1040">
                  <c:v>0.52483202645588145</c:v>
                </c:pt>
                <c:pt idx="1041">
                  <c:v>0.52545689355520409</c:v>
                </c:pt>
                <c:pt idx="1042">
                  <c:v>0.53002839343048247</c:v>
                </c:pt>
                <c:pt idx="1043">
                  <c:v>0.52916376486402561</c:v>
                </c:pt>
                <c:pt idx="1044">
                  <c:v>0.52143867009231903</c:v>
                </c:pt>
                <c:pt idx="1045">
                  <c:v>0.52264893481025021</c:v>
                </c:pt>
                <c:pt idx="1046">
                  <c:v>0.52286310920693957</c:v>
                </c:pt>
                <c:pt idx="1047">
                  <c:v>0.52344485578297284</c:v>
                </c:pt>
                <c:pt idx="1048">
                  <c:v>0.52624660181460203</c:v>
                </c:pt>
                <c:pt idx="1049">
                  <c:v>0.52239403781454019</c:v>
                </c:pt>
                <c:pt idx="1050">
                  <c:v>0.5239105898222951</c:v>
                </c:pt>
                <c:pt idx="1051">
                  <c:v>0.52622861155618195</c:v>
                </c:pt>
                <c:pt idx="1052">
                  <c:v>0.5234301144321678</c:v>
                </c:pt>
                <c:pt idx="1053" formatCode="0.0">
                  <c:v>0.53291055660056219</c:v>
                </c:pt>
                <c:pt idx="1054" formatCode="General">
                  <c:v>0.55013369270743384</c:v>
                </c:pt>
                <c:pt idx="1055">
                  <c:v>0.55012870619722976</c:v>
                </c:pt>
                <c:pt idx="1056">
                  <c:v>0.54148117783269667</c:v>
                </c:pt>
                <c:pt idx="1057">
                  <c:v>0.54258618987861251</c:v>
                </c:pt>
                <c:pt idx="1058">
                  <c:v>0.52764937213289875</c:v>
                </c:pt>
                <c:pt idx="1059">
                  <c:v>0.52432935151840987</c:v>
                </c:pt>
                <c:pt idx="1060" formatCode="0.0">
                  <c:v>0.5339552433287913</c:v>
                </c:pt>
                <c:pt idx="1061" formatCode="0.0">
                  <c:v>0.53790455207953514</c:v>
                </c:pt>
                <c:pt idx="1062" formatCode="0.0">
                  <c:v>0.54358432823808744</c:v>
                </c:pt>
                <c:pt idx="1063" formatCode="General">
                  <c:v>0.53688089436695274</c:v>
                </c:pt>
                <c:pt idx="1064" formatCode="0.0">
                  <c:v>0.53876738292687387</c:v>
                </c:pt>
                <c:pt idx="1065" formatCode="General">
                  <c:v>0.53852878701757356</c:v>
                </c:pt>
                <c:pt idx="1066" formatCode="General">
                  <c:v>0.53041897107197111</c:v>
                </c:pt>
                <c:pt idx="1067" formatCode="General">
                  <c:v>0.53204276244714255</c:v>
                </c:pt>
                <c:pt idx="1068" formatCode="General">
                  <c:v>0.52322043112775951</c:v>
                </c:pt>
                <c:pt idx="1069" formatCode="General">
                  <c:v>0.51978403237571758</c:v>
                </c:pt>
                <c:pt idx="1070" formatCode="General">
                  <c:v>0.52618583765760296</c:v>
                </c:pt>
                <c:pt idx="1071" formatCode="General">
                  <c:v>0.52650446071730628</c:v>
                </c:pt>
                <c:pt idx="1072" formatCode="General">
                  <c:v>0.52204548439106435</c:v>
                </c:pt>
                <c:pt idx="1073" formatCode="0.0">
                  <c:v>0.52606236285910879</c:v>
                </c:pt>
                <c:pt idx="1074" formatCode="0.0">
                  <c:v>0.51834323492667556</c:v>
                </c:pt>
                <c:pt idx="1075" formatCode="General">
                  <c:v>0.52363267641867861</c:v>
                </c:pt>
                <c:pt idx="1076" formatCode="General">
                  <c:v>0.52996630281844304</c:v>
                </c:pt>
                <c:pt idx="1077" formatCode="0.0">
                  <c:v>0.52812342719910998</c:v>
                </c:pt>
                <c:pt idx="1078" formatCode="General">
                  <c:v>0.52243021954103852</c:v>
                </c:pt>
                <c:pt idx="1079" formatCode="General">
                  <c:v>0.52706834128761648</c:v>
                </c:pt>
                <c:pt idx="1080" formatCode="General">
                  <c:v>0.52762266699230231</c:v>
                </c:pt>
                <c:pt idx="1081" formatCode="General">
                  <c:v>0.52649125302623623</c:v>
                </c:pt>
                <c:pt idx="1082" formatCode="General">
                  <c:v>0.52678562665257667</c:v>
                </c:pt>
                <c:pt idx="1083" formatCode="General">
                  <c:v>0.52948013066271393</c:v>
                </c:pt>
                <c:pt idx="1084" formatCode="General">
                  <c:v>0.53186267242174723</c:v>
                </c:pt>
                <c:pt idx="1085" formatCode="General">
                  <c:v>0.5345984060226856</c:v>
                </c:pt>
                <c:pt idx="1086" formatCode="General">
                  <c:v>0.53019539071592603</c:v>
                </c:pt>
                <c:pt idx="1087" formatCode="General">
                  <c:v>0.53758977069141545</c:v>
                </c:pt>
                <c:pt idx="1088" formatCode="General">
                  <c:v>0.5364318759902853</c:v>
                </c:pt>
                <c:pt idx="1089" formatCode="General">
                  <c:v>0.52962821789593939</c:v>
                </c:pt>
                <c:pt idx="1090" formatCode="General">
                  <c:v>0.5260030315338502</c:v>
                </c:pt>
                <c:pt idx="1091" formatCode="General">
                  <c:v>0.52204632866606737</c:v>
                </c:pt>
                <c:pt idx="1092" formatCode="General">
                  <c:v>0.52135749949932519</c:v>
                </c:pt>
                <c:pt idx="1093" formatCode="General">
                  <c:v>0.52366416087170065</c:v>
                </c:pt>
                <c:pt idx="1094" formatCode="General">
                  <c:v>0.52904155635912564</c:v>
                </c:pt>
                <c:pt idx="1095" formatCode="General">
                  <c:v>0.52349612015781855</c:v>
                </c:pt>
              </c:numCache>
            </c:numRef>
          </c:xVal>
          <c:yVal>
            <c:numRef>
              <c:f>'Parameters ranges for ANN step1'!$AR$3:$AR$1137</c:f>
              <c:numCache>
                <c:formatCode>0</c:formatCode>
                <c:ptCount val="1135"/>
                <c:pt idx="0">
                  <c:v>1160.3421687500006</c:v>
                </c:pt>
                <c:pt idx="1">
                  <c:v>1164.5178624999996</c:v>
                </c:pt>
                <c:pt idx="2">
                  <c:v>1159.3623975694434</c:v>
                </c:pt>
                <c:pt idx="3">
                  <c:v>1162.425414583334</c:v>
                </c:pt>
                <c:pt idx="4">
                  <c:v>1162.6749295138891</c:v>
                </c:pt>
                <c:pt idx="5">
                  <c:v>1162.7462694444439</c:v>
                </c:pt>
                <c:pt idx="6">
                  <c:v>1163.0948465277781</c:v>
                </c:pt>
                <c:pt idx="7">
                  <c:v>1163.463802777778</c:v>
                </c:pt>
                <c:pt idx="8">
                  <c:v>1161.299641666667</c:v>
                </c:pt>
                <c:pt idx="9">
                  <c:v>1162.247630555556</c:v>
                </c:pt>
                <c:pt idx="10">
                  <c:v>1160.0082302083331</c:v>
                </c:pt>
                <c:pt idx="11">
                  <c:v>1146.9138274305558</c:v>
                </c:pt>
                <c:pt idx="12">
                  <c:v>1147.7437177083325</c:v>
                </c:pt>
                <c:pt idx="13">
                  <c:v>1144.7682850694443</c:v>
                </c:pt>
                <c:pt idx="14">
                  <c:v>1150.9504197916658</c:v>
                </c:pt>
                <c:pt idx="15">
                  <c:v>1149.1629111111115</c:v>
                </c:pt>
                <c:pt idx="16">
                  <c:v>1145.2791815972223</c:v>
                </c:pt>
                <c:pt idx="17">
                  <c:v>1149.7934350694443</c:v>
                </c:pt>
                <c:pt idx="18">
                  <c:v>1154.5028065972224</c:v>
                </c:pt>
                <c:pt idx="19">
                  <c:v>1144.6996590277779</c:v>
                </c:pt>
                <c:pt idx="20">
                  <c:v>1143.376786805555</c:v>
                </c:pt>
                <c:pt idx="21">
                  <c:v>1149.0718180555562</c:v>
                </c:pt>
                <c:pt idx="22">
                  <c:v>1150.1985090277765</c:v>
                </c:pt>
                <c:pt idx="23">
                  <c:v>1143.862427430556</c:v>
                </c:pt>
                <c:pt idx="24">
                  <c:v>1149.870685763889</c:v>
                </c:pt>
                <c:pt idx="25">
                  <c:v>1139.6017687499993</c:v>
                </c:pt>
                <c:pt idx="26">
                  <c:v>1150.0343322916667</c:v>
                </c:pt>
                <c:pt idx="27">
                  <c:v>1153.3609107638893</c:v>
                </c:pt>
                <c:pt idx="28">
                  <c:v>1151.7036243055545</c:v>
                </c:pt>
                <c:pt idx="29">
                  <c:v>1140.6263013888886</c:v>
                </c:pt>
                <c:pt idx="30">
                  <c:v>1146.0578270833332</c:v>
                </c:pt>
                <c:pt idx="31">
                  <c:v>1145.6802274305558</c:v>
                </c:pt>
                <c:pt idx="32">
                  <c:v>1149.7535145833322</c:v>
                </c:pt>
                <c:pt idx="33">
                  <c:v>1137.420714236112</c:v>
                </c:pt>
                <c:pt idx="34">
                  <c:v>1145.4108593750009</c:v>
                </c:pt>
                <c:pt idx="35">
                  <c:v>1151.2787656250007</c:v>
                </c:pt>
                <c:pt idx="36">
                  <c:v>1155.1396142361116</c:v>
                </c:pt>
                <c:pt idx="37">
                  <c:v>1154.9265802083332</c:v>
                </c:pt>
                <c:pt idx="38">
                  <c:v>1155.4248437499996</c:v>
                </c:pt>
                <c:pt idx="39">
                  <c:v>1152.2276704861113</c:v>
                </c:pt>
                <c:pt idx="40">
                  <c:v>1150.3564270833335</c:v>
                </c:pt>
                <c:pt idx="41">
                  <c:v>1150.8298968750005</c:v>
                </c:pt>
                <c:pt idx="42">
                  <c:v>1152.7411013888877</c:v>
                </c:pt>
                <c:pt idx="43">
                  <c:v>1151.122922916667</c:v>
                </c:pt>
                <c:pt idx="44">
                  <c:v>1144.5981222222226</c:v>
                </c:pt>
                <c:pt idx="45">
                  <c:v>1011.5579468750005</c:v>
                </c:pt>
                <c:pt idx="46">
                  <c:v>910.08008576388886</c:v>
                </c:pt>
                <c:pt idx="47">
                  <c:v>1141.6579326388892</c:v>
                </c:pt>
                <c:pt idx="48">
                  <c:v>1149.5195413194442</c:v>
                </c:pt>
                <c:pt idx="49">
                  <c:v>1147.6815190972229</c:v>
                </c:pt>
                <c:pt idx="50">
                  <c:v>1143.9785847222226</c:v>
                </c:pt>
                <c:pt idx="51">
                  <c:v>1146.5795357638885</c:v>
                </c:pt>
                <c:pt idx="52">
                  <c:v>1142.564573611111</c:v>
                </c:pt>
                <c:pt idx="53">
                  <c:v>1145.9099211805565</c:v>
                </c:pt>
                <c:pt idx="54">
                  <c:v>1143.1627180555552</c:v>
                </c:pt>
                <c:pt idx="55">
                  <c:v>1137.6942475694455</c:v>
                </c:pt>
                <c:pt idx="56">
                  <c:v>1139.6202239583333</c:v>
                </c:pt>
                <c:pt idx="57">
                  <c:v>1138.0092947916664</c:v>
                </c:pt>
                <c:pt idx="58">
                  <c:v>1141.8829753472226</c:v>
                </c:pt>
                <c:pt idx="59">
                  <c:v>1144.6481291666664</c:v>
                </c:pt>
                <c:pt idx="60">
                  <c:v>1150.680496875</c:v>
                </c:pt>
                <c:pt idx="61">
                  <c:v>1144.3773743055551</c:v>
                </c:pt>
                <c:pt idx="62">
                  <c:v>1149.8551954861111</c:v>
                </c:pt>
                <c:pt idx="63">
                  <c:v>1149.0529940972231</c:v>
                </c:pt>
                <c:pt idx="64">
                  <c:v>1145.3577607638895</c:v>
                </c:pt>
                <c:pt idx="65">
                  <c:v>1142.2844986111124</c:v>
                </c:pt>
                <c:pt idx="66">
                  <c:v>1147.0084010416663</c:v>
                </c:pt>
                <c:pt idx="67">
                  <c:v>1148.3965572916663</c:v>
                </c:pt>
                <c:pt idx="68">
                  <c:v>1141.022812847222</c:v>
                </c:pt>
                <c:pt idx="69">
                  <c:v>1114.880206944445</c:v>
                </c:pt>
                <c:pt idx="70">
                  <c:v>1152.6557704861104</c:v>
                </c:pt>
                <c:pt idx="71">
                  <c:v>1155.623204166666</c:v>
                </c:pt>
                <c:pt idx="72">
                  <c:v>1152.5017086805562</c:v>
                </c:pt>
                <c:pt idx="73">
                  <c:v>1148.4194996527781</c:v>
                </c:pt>
                <c:pt idx="74">
                  <c:v>1147.2030402777784</c:v>
                </c:pt>
                <c:pt idx="75">
                  <c:v>1146.3593732638885</c:v>
                </c:pt>
                <c:pt idx="76">
                  <c:v>1151.0328458333336</c:v>
                </c:pt>
                <c:pt idx="77">
                  <c:v>1152.2168361111098</c:v>
                </c:pt>
                <c:pt idx="78">
                  <c:v>1152.0604736111122</c:v>
                </c:pt>
                <c:pt idx="79">
                  <c:v>1148.7152663194443</c:v>
                </c:pt>
                <c:pt idx="80">
                  <c:v>1146.7503388888895</c:v>
                </c:pt>
                <c:pt idx="81">
                  <c:v>1145.911757638889</c:v>
                </c:pt>
                <c:pt idx="82">
                  <c:v>1146.0220315972219</c:v>
                </c:pt>
                <c:pt idx="83">
                  <c:v>1150.0278326388893</c:v>
                </c:pt>
                <c:pt idx="84">
                  <c:v>1150.1678034722215</c:v>
                </c:pt>
                <c:pt idx="85">
                  <c:v>1148.1853177083328</c:v>
                </c:pt>
                <c:pt idx="86">
                  <c:v>1149.9706159722223</c:v>
                </c:pt>
                <c:pt idx="87">
                  <c:v>1145.2687031249998</c:v>
                </c:pt>
                <c:pt idx="88">
                  <c:v>1144.2169059027779</c:v>
                </c:pt>
                <c:pt idx="89">
                  <c:v>1147.5349913194439</c:v>
                </c:pt>
                <c:pt idx="90">
                  <c:v>1151.2344329861107</c:v>
                </c:pt>
                <c:pt idx="91">
                  <c:v>1154.640075347223</c:v>
                </c:pt>
                <c:pt idx="92">
                  <c:v>1151.6950864583337</c:v>
                </c:pt>
                <c:pt idx="93">
                  <c:v>1151.205620833334</c:v>
                </c:pt>
                <c:pt idx="94">
                  <c:v>1148.6901711805554</c:v>
                </c:pt>
                <c:pt idx="95">
                  <c:v>1150.1617986111119</c:v>
                </c:pt>
                <c:pt idx="96">
                  <c:v>1150.2223246527769</c:v>
                </c:pt>
                <c:pt idx="97">
                  <c:v>1145.5689430555556</c:v>
                </c:pt>
                <c:pt idx="98">
                  <c:v>1148.9473878472211</c:v>
                </c:pt>
                <c:pt idx="99">
                  <c:v>1148.3381704861104</c:v>
                </c:pt>
                <c:pt idx="100">
                  <c:v>1146.8840874999994</c:v>
                </c:pt>
                <c:pt idx="101">
                  <c:v>1150.3091152777772</c:v>
                </c:pt>
                <c:pt idx="102">
                  <c:v>1142.5654565972229</c:v>
                </c:pt>
                <c:pt idx="103">
                  <c:v>1144.7998208333336</c:v>
                </c:pt>
                <c:pt idx="104">
                  <c:v>1144.2961184027774</c:v>
                </c:pt>
                <c:pt idx="105">
                  <c:v>1153.6493951388898</c:v>
                </c:pt>
                <c:pt idx="106">
                  <c:v>1154.28284375</c:v>
                </c:pt>
                <c:pt idx="107">
                  <c:v>1151.7315868055555</c:v>
                </c:pt>
                <c:pt idx="108">
                  <c:v>1152.6613291666677</c:v>
                </c:pt>
                <c:pt idx="109">
                  <c:v>1143.3233732638894</c:v>
                </c:pt>
                <c:pt idx="110">
                  <c:v>1147.9295409722222</c:v>
                </c:pt>
                <c:pt idx="111">
                  <c:v>1155.2461138888887</c:v>
                </c:pt>
                <c:pt idx="112">
                  <c:v>1154.1851975694444</c:v>
                </c:pt>
                <c:pt idx="113">
                  <c:v>1151.1844677083327</c:v>
                </c:pt>
                <c:pt idx="114">
                  <c:v>1150.0165142361111</c:v>
                </c:pt>
                <c:pt idx="115">
                  <c:v>1152.5038038194441</c:v>
                </c:pt>
                <c:pt idx="116">
                  <c:v>1155.5241927083332</c:v>
                </c:pt>
                <c:pt idx="117">
                  <c:v>1150.2759201388888</c:v>
                </c:pt>
                <c:pt idx="118">
                  <c:v>1151.2769465277777</c:v>
                </c:pt>
                <c:pt idx="119">
                  <c:v>1151.579005208333</c:v>
                </c:pt>
                <c:pt idx="120">
                  <c:v>1152.0014486111111</c:v>
                </c:pt>
                <c:pt idx="121">
                  <c:v>1152.0910836805558</c:v>
                </c:pt>
                <c:pt idx="122">
                  <c:v>1154.80981527778</c:v>
                </c:pt>
                <c:pt idx="123">
                  <c:v>1148.10986284722</c:v>
                </c:pt>
                <c:pt idx="124">
                  <c:v>1145.608465625</c:v>
                </c:pt>
                <c:pt idx="125">
                  <c:v>1143.4412680555599</c:v>
                </c:pt>
                <c:pt idx="126">
                  <c:v>1147.2400538194399</c:v>
                </c:pt>
                <c:pt idx="127">
                  <c:v>1143.61630138889</c:v>
                </c:pt>
                <c:pt idx="128">
                  <c:v>1147.78780902778</c:v>
                </c:pt>
                <c:pt idx="129">
                  <c:v>1146.9185888888901</c:v>
                </c:pt>
                <c:pt idx="130">
                  <c:v>1148.85340034722</c:v>
                </c:pt>
                <c:pt idx="131">
                  <c:v>1147.5194177083299</c:v>
                </c:pt>
                <c:pt idx="132">
                  <c:v>1149.39135763889</c:v>
                </c:pt>
                <c:pt idx="133">
                  <c:v>1146.7957197916701</c:v>
                </c:pt>
                <c:pt idx="134">
                  <c:v>1153.4085204861101</c:v>
                </c:pt>
                <c:pt idx="135">
                  <c:v>1147.35132673611</c:v>
                </c:pt>
                <c:pt idx="136">
                  <c:v>1151.4728899305601</c:v>
                </c:pt>
                <c:pt idx="137">
                  <c:v>1146.81753368056</c:v>
                </c:pt>
                <c:pt idx="138">
                  <c:v>1146.7731131944399</c:v>
                </c:pt>
                <c:pt idx="139">
                  <c:v>1146.3793295138901</c:v>
                </c:pt>
                <c:pt idx="140">
                  <c:v>1148.87317534722</c:v>
                </c:pt>
                <c:pt idx="141">
                  <c:v>1148.14473645833</c:v>
                </c:pt>
                <c:pt idx="142">
                  <c:v>1133.0776072916699</c:v>
                </c:pt>
                <c:pt idx="143">
                  <c:v>1110.41056875</c:v>
                </c:pt>
                <c:pt idx="144">
                  <c:v>1034.8429625000001</c:v>
                </c:pt>
                <c:pt idx="145">
                  <c:v>437.15447326388897</c:v>
                </c:pt>
                <c:pt idx="149">
                  <c:v>952.54697673610997</c:v>
                </c:pt>
                <c:pt idx="150">
                  <c:v>1151.1377111111101</c:v>
                </c:pt>
                <c:pt idx="151">
                  <c:v>1149.90773645833</c:v>
                </c:pt>
                <c:pt idx="152">
                  <c:v>1147.1286322916701</c:v>
                </c:pt>
                <c:pt idx="153">
                  <c:v>1152.4058690972199</c:v>
                </c:pt>
                <c:pt idx="154">
                  <c:v>1152.5039354166699</c:v>
                </c:pt>
                <c:pt idx="155">
                  <c:v>1154.1056555555599</c:v>
                </c:pt>
                <c:pt idx="156">
                  <c:v>1153.28488993056</c:v>
                </c:pt>
                <c:pt idx="157">
                  <c:v>1148.2119475694401</c:v>
                </c:pt>
                <c:pt idx="158">
                  <c:v>1150.15268402778</c:v>
                </c:pt>
                <c:pt idx="159">
                  <c:v>1147.3820638888899</c:v>
                </c:pt>
                <c:pt idx="160">
                  <c:v>1153.07149409722</c:v>
                </c:pt>
                <c:pt idx="161">
                  <c:v>1154.4905072916699</c:v>
                </c:pt>
                <c:pt idx="162">
                  <c:v>1153.6162777777799</c:v>
                </c:pt>
                <c:pt idx="163">
                  <c:v>1153.1136989583299</c:v>
                </c:pt>
                <c:pt idx="164">
                  <c:v>1148.76444722222</c:v>
                </c:pt>
                <c:pt idx="165">
                  <c:v>1149.5522118055501</c:v>
                </c:pt>
                <c:pt idx="166">
                  <c:v>1150.25015659722</c:v>
                </c:pt>
                <c:pt idx="167">
                  <c:v>1152.6707920138899</c:v>
                </c:pt>
                <c:pt idx="168">
                  <c:v>1148.4436368055599</c:v>
                </c:pt>
                <c:pt idx="169">
                  <c:v>1148.6803899305501</c:v>
                </c:pt>
                <c:pt idx="170">
                  <c:v>1150.83544861111</c:v>
                </c:pt>
                <c:pt idx="171">
                  <c:v>1145.112415625</c:v>
                </c:pt>
                <c:pt idx="172">
                  <c:v>1152.5633746527801</c:v>
                </c:pt>
                <c:pt idx="173">
                  <c:v>1153.8875767361101</c:v>
                </c:pt>
                <c:pt idx="174">
                  <c:v>1152.09551111111</c:v>
                </c:pt>
                <c:pt idx="175">
                  <c:v>1152.13473854167</c:v>
                </c:pt>
                <c:pt idx="176">
                  <c:v>1153.3099864583301</c:v>
                </c:pt>
                <c:pt idx="177">
                  <c:v>1157.0725774305599</c:v>
                </c:pt>
                <c:pt idx="178">
                  <c:v>1155.4017048611099</c:v>
                </c:pt>
                <c:pt idx="179">
                  <c:v>1156.15623680555</c:v>
                </c:pt>
                <c:pt idx="180">
                  <c:v>1151.5413822916701</c:v>
                </c:pt>
                <c:pt idx="181">
                  <c:v>1150.6749680555599</c:v>
                </c:pt>
                <c:pt idx="182">
                  <c:v>1149.20340173611</c:v>
                </c:pt>
                <c:pt idx="183">
                  <c:v>1152.8926187500001</c:v>
                </c:pt>
                <c:pt idx="184">
                  <c:v>1154.1163552083301</c:v>
                </c:pt>
                <c:pt idx="185">
                  <c:v>1156.65994409722</c:v>
                </c:pt>
                <c:pt idx="186">
                  <c:v>1155.6536340277801</c:v>
                </c:pt>
                <c:pt idx="187">
                  <c:v>1155.4408663194399</c:v>
                </c:pt>
                <c:pt idx="188">
                  <c:v>1153.8931145833301</c:v>
                </c:pt>
                <c:pt idx="189">
                  <c:v>1154.72490173611</c:v>
                </c:pt>
                <c:pt idx="190">
                  <c:v>1156.2516378472201</c:v>
                </c:pt>
                <c:pt idx="191">
                  <c:v>1148.8324968750001</c:v>
                </c:pt>
                <c:pt idx="192">
                  <c:v>1143.0772843750001</c:v>
                </c:pt>
                <c:pt idx="193">
                  <c:v>1143.6237048611099</c:v>
                </c:pt>
                <c:pt idx="194">
                  <c:v>1150.7755468749999</c:v>
                </c:pt>
                <c:pt idx="195">
                  <c:v>1154.8327565972199</c:v>
                </c:pt>
                <c:pt idx="196">
                  <c:v>1151.0635163194399</c:v>
                </c:pt>
                <c:pt idx="197">
                  <c:v>1154.0308194444401</c:v>
                </c:pt>
                <c:pt idx="198">
                  <c:v>1153.42618784722</c:v>
                </c:pt>
                <c:pt idx="199">
                  <c:v>1155.08888125</c:v>
                </c:pt>
                <c:pt idx="200">
                  <c:v>1153.5426444444399</c:v>
                </c:pt>
                <c:pt idx="201">
                  <c:v>1154.20401180556</c:v>
                </c:pt>
                <c:pt idx="202">
                  <c:v>1151.9662333333299</c:v>
                </c:pt>
                <c:pt idx="203">
                  <c:v>1152.76590277778</c:v>
                </c:pt>
                <c:pt idx="204">
                  <c:v>1153.44651180556</c:v>
                </c:pt>
                <c:pt idx="205">
                  <c:v>1154.01862673611</c:v>
                </c:pt>
                <c:pt idx="206">
                  <c:v>1154.8150899305599</c:v>
                </c:pt>
                <c:pt idx="207">
                  <c:v>1154.2040961805601</c:v>
                </c:pt>
                <c:pt idx="208">
                  <c:v>1151.3536065972201</c:v>
                </c:pt>
                <c:pt idx="209">
                  <c:v>1151.9627684027801</c:v>
                </c:pt>
                <c:pt idx="210">
                  <c:v>1154.3273326388901</c:v>
                </c:pt>
                <c:pt idx="211">
                  <c:v>1154.32178958333</c:v>
                </c:pt>
                <c:pt idx="212">
                  <c:v>1151.0159847222201</c:v>
                </c:pt>
                <c:pt idx="213">
                  <c:v>1152.60181458333</c:v>
                </c:pt>
                <c:pt idx="214">
                  <c:v>1155.8052159722199</c:v>
                </c:pt>
                <c:pt idx="215">
                  <c:v>1154.18532326389</c:v>
                </c:pt>
                <c:pt idx="216">
                  <c:v>1154.1222461805601</c:v>
                </c:pt>
                <c:pt idx="217">
                  <c:v>1155.3031475694399</c:v>
                </c:pt>
                <c:pt idx="218">
                  <c:v>1153.48628194444</c:v>
                </c:pt>
                <c:pt idx="219">
                  <c:v>1145.71678055556</c:v>
                </c:pt>
                <c:pt idx="220">
                  <c:v>1154.70386493055</c:v>
                </c:pt>
                <c:pt idx="221">
                  <c:v>1154.2796305555601</c:v>
                </c:pt>
                <c:pt idx="222">
                  <c:v>1148.81372986111</c:v>
                </c:pt>
                <c:pt idx="223">
                  <c:v>1151.1530631944499</c:v>
                </c:pt>
                <c:pt idx="224">
                  <c:v>1152.1334291666701</c:v>
                </c:pt>
                <c:pt idx="225">
                  <c:v>1150.7908111111101</c:v>
                </c:pt>
                <c:pt idx="226">
                  <c:v>1155.2577069444401</c:v>
                </c:pt>
                <c:pt idx="227">
                  <c:v>1155.2577069444401</c:v>
                </c:pt>
                <c:pt idx="228">
                  <c:v>1155.80068368056</c:v>
                </c:pt>
                <c:pt idx="229">
                  <c:v>1154.7399607638899</c:v>
                </c:pt>
                <c:pt idx="230">
                  <c:v>1157.2126677083299</c:v>
                </c:pt>
                <c:pt idx="231">
                  <c:v>1154.9568065972201</c:v>
                </c:pt>
                <c:pt idx="232">
                  <c:v>1155.0394083333299</c:v>
                </c:pt>
                <c:pt idx="233">
                  <c:v>1154.66860243056</c:v>
                </c:pt>
                <c:pt idx="234">
                  <c:v>1153.9604871527799</c:v>
                </c:pt>
                <c:pt idx="235">
                  <c:v>1155.44902916667</c:v>
                </c:pt>
                <c:pt idx="236">
                  <c:v>1155.6346506944401</c:v>
                </c:pt>
                <c:pt idx="237">
                  <c:v>1154.5604517361101</c:v>
                </c:pt>
                <c:pt idx="238">
                  <c:v>1154.8612954861101</c:v>
                </c:pt>
                <c:pt idx="239">
                  <c:v>1150.0225347222199</c:v>
                </c:pt>
                <c:pt idx="240">
                  <c:v>1150.18080763889</c:v>
                </c:pt>
                <c:pt idx="241">
                  <c:v>1154.8454902777801</c:v>
                </c:pt>
                <c:pt idx="242">
                  <c:v>1151.26667361111</c:v>
                </c:pt>
                <c:pt idx="243">
                  <c:v>1150.42271840278</c:v>
                </c:pt>
                <c:pt idx="244">
                  <c:v>1149.21823993056</c:v>
                </c:pt>
                <c:pt idx="245">
                  <c:v>1156.1615538194401</c:v>
                </c:pt>
                <c:pt idx="246">
                  <c:v>1157.0257930555599</c:v>
                </c:pt>
                <c:pt idx="247">
                  <c:v>1155.80266979167</c:v>
                </c:pt>
                <c:pt idx="248">
                  <c:v>1156.42828333333</c:v>
                </c:pt>
                <c:pt idx="249">
                  <c:v>1152.37814409722</c:v>
                </c:pt>
                <c:pt idx="250">
                  <c:v>1150.93695590278</c:v>
                </c:pt>
                <c:pt idx="251">
                  <c:v>1149.9635229166699</c:v>
                </c:pt>
                <c:pt idx="252">
                  <c:v>1154.905115625</c:v>
                </c:pt>
                <c:pt idx="253">
                  <c:v>1155.34450763889</c:v>
                </c:pt>
                <c:pt idx="254">
                  <c:v>1142.61406840278</c:v>
                </c:pt>
                <c:pt idx="255">
                  <c:v>1151.0492631944401</c:v>
                </c:pt>
                <c:pt idx="256">
                  <c:v>1149.9430121527801</c:v>
                </c:pt>
                <c:pt idx="257">
                  <c:v>1150.9847583333301</c:v>
                </c:pt>
                <c:pt idx="258">
                  <c:v>1129.8471562499999</c:v>
                </c:pt>
                <c:pt idx="259">
                  <c:v>1048.41683090278</c:v>
                </c:pt>
                <c:pt idx="260">
                  <c:v>886.69380763889001</c:v>
                </c:pt>
                <c:pt idx="261">
                  <c:v>1118.10519895833</c:v>
                </c:pt>
                <c:pt idx="262">
                  <c:v>1125.6685111111101</c:v>
                </c:pt>
                <c:pt idx="263">
                  <c:v>1123.07030763889</c:v>
                </c:pt>
                <c:pt idx="264">
                  <c:v>1121.51340798611</c:v>
                </c:pt>
                <c:pt idx="265">
                  <c:v>1119.6690979166699</c:v>
                </c:pt>
                <c:pt idx="266">
                  <c:v>1110.9975694444399</c:v>
                </c:pt>
                <c:pt idx="267">
                  <c:v>1091.49765555556</c:v>
                </c:pt>
                <c:pt idx="268">
                  <c:v>1125.07358402778</c:v>
                </c:pt>
                <c:pt idx="269">
                  <c:v>1126.71846354167</c:v>
                </c:pt>
                <c:pt idx="270">
                  <c:v>1126.7312243055601</c:v>
                </c:pt>
                <c:pt idx="271">
                  <c:v>1125.98164444444</c:v>
                </c:pt>
                <c:pt idx="272">
                  <c:v>1125.69418506944</c:v>
                </c:pt>
                <c:pt idx="273">
                  <c:v>1125.5069187500001</c:v>
                </c:pt>
                <c:pt idx="274">
                  <c:v>1122.57821006944</c:v>
                </c:pt>
                <c:pt idx="275">
                  <c:v>1123.04405243055</c:v>
                </c:pt>
                <c:pt idx="276">
                  <c:v>1127.940146875</c:v>
                </c:pt>
                <c:pt idx="277">
                  <c:v>1126.39080416667</c:v>
                </c:pt>
                <c:pt idx="278">
                  <c:v>1124.8549277777799</c:v>
                </c:pt>
                <c:pt idx="279">
                  <c:v>1124.2670086805499</c:v>
                </c:pt>
                <c:pt idx="280">
                  <c:v>1127.5330142361099</c:v>
                </c:pt>
                <c:pt idx="281">
                  <c:v>1125.76531527778</c:v>
                </c:pt>
                <c:pt idx="282">
                  <c:v>1127.0736916666699</c:v>
                </c:pt>
                <c:pt idx="283">
                  <c:v>1126.64507777778</c:v>
                </c:pt>
                <c:pt idx="284">
                  <c:v>1123.8628020833301</c:v>
                </c:pt>
                <c:pt idx="285">
                  <c:v>1126.908534375</c:v>
                </c:pt>
                <c:pt idx="286">
                  <c:v>1125.648178125</c:v>
                </c:pt>
                <c:pt idx="287">
                  <c:v>1128.74585243056</c:v>
                </c:pt>
                <c:pt idx="288">
                  <c:v>1127.4758750000001</c:v>
                </c:pt>
                <c:pt idx="289">
                  <c:v>1125.79411979167</c:v>
                </c:pt>
                <c:pt idx="290">
                  <c:v>1126.21524756944</c:v>
                </c:pt>
                <c:pt idx="291">
                  <c:v>1125.45637847222</c:v>
                </c:pt>
                <c:pt idx="292">
                  <c:v>1128.0518371527801</c:v>
                </c:pt>
                <c:pt idx="293">
                  <c:v>1128.1874826388901</c:v>
                </c:pt>
                <c:pt idx="294">
                  <c:v>1130.8354868055601</c:v>
                </c:pt>
                <c:pt idx="295">
                  <c:v>1130.96981493056</c:v>
                </c:pt>
                <c:pt idx="296">
                  <c:v>1127.30728125</c:v>
                </c:pt>
                <c:pt idx="297">
                  <c:v>1126.01106006945</c:v>
                </c:pt>
                <c:pt idx="298">
                  <c:v>1123.61130555556</c:v>
                </c:pt>
                <c:pt idx="299">
                  <c:v>1127.47587083333</c:v>
                </c:pt>
                <c:pt idx="300">
                  <c:v>1126.7984611111101</c:v>
                </c:pt>
                <c:pt idx="301">
                  <c:v>1122.9059809027799</c:v>
                </c:pt>
                <c:pt idx="302">
                  <c:v>1117.17402951389</c:v>
                </c:pt>
                <c:pt idx="303">
                  <c:v>1123.41183020833</c:v>
                </c:pt>
                <c:pt idx="304">
                  <c:v>1124.61711076389</c:v>
                </c:pt>
                <c:pt idx="305">
                  <c:v>1125.2798909722201</c:v>
                </c:pt>
                <c:pt idx="306">
                  <c:v>1126.78120277778</c:v>
                </c:pt>
                <c:pt idx="307">
                  <c:v>1124.3579100694401</c:v>
                </c:pt>
                <c:pt idx="308">
                  <c:v>1125.1489378472199</c:v>
                </c:pt>
                <c:pt idx="309">
                  <c:v>1125.81769479167</c:v>
                </c:pt>
                <c:pt idx="310">
                  <c:v>1126.90237222222</c:v>
                </c:pt>
                <c:pt idx="311">
                  <c:v>1126.2211701388901</c:v>
                </c:pt>
                <c:pt idx="312">
                  <c:v>1126.1587711805601</c:v>
                </c:pt>
                <c:pt idx="313">
                  <c:v>1125.4528666666699</c:v>
                </c:pt>
                <c:pt idx="314">
                  <c:v>1124.89177604167</c:v>
                </c:pt>
                <c:pt idx="315">
                  <c:v>1126.9060524305601</c:v>
                </c:pt>
                <c:pt idx="316">
                  <c:v>1127.91389652778</c:v>
                </c:pt>
                <c:pt idx="317">
                  <c:v>1126.93409930556</c:v>
                </c:pt>
                <c:pt idx="318">
                  <c:v>1119.8455350694401</c:v>
                </c:pt>
                <c:pt idx="319">
                  <c:v>1121.2088774305601</c:v>
                </c:pt>
                <c:pt idx="320">
                  <c:v>1122.75031666667</c:v>
                </c:pt>
                <c:pt idx="321">
                  <c:v>1116.4850319444499</c:v>
                </c:pt>
                <c:pt idx="322">
                  <c:v>1114.45239479167</c:v>
                </c:pt>
                <c:pt idx="323">
                  <c:v>1118.3874270833301</c:v>
                </c:pt>
                <c:pt idx="324">
                  <c:v>1126.9688954861099</c:v>
                </c:pt>
                <c:pt idx="325">
                  <c:v>1122.8965625000001</c:v>
                </c:pt>
                <c:pt idx="326">
                  <c:v>1118.5919739583301</c:v>
                </c:pt>
                <c:pt idx="327">
                  <c:v>1119.5284236111099</c:v>
                </c:pt>
                <c:pt idx="328">
                  <c:v>1126.54154479167</c:v>
                </c:pt>
                <c:pt idx="329">
                  <c:v>1126.80399826389</c:v>
                </c:pt>
                <c:pt idx="330">
                  <c:v>1128.0779888888901</c:v>
                </c:pt>
                <c:pt idx="331">
                  <c:v>1128.3164847222199</c:v>
                </c:pt>
                <c:pt idx="332">
                  <c:v>1127.1660878472201</c:v>
                </c:pt>
                <c:pt idx="333">
                  <c:v>1127.8783354166701</c:v>
                </c:pt>
                <c:pt idx="334">
                  <c:v>1121.544084375</c:v>
                </c:pt>
                <c:pt idx="335">
                  <c:v>1105.0334145833301</c:v>
                </c:pt>
                <c:pt idx="336">
                  <c:v>1126.4277374999999</c:v>
                </c:pt>
                <c:pt idx="337">
                  <c:v>1125.602065625</c:v>
                </c:pt>
                <c:pt idx="338">
                  <c:v>1120.8194805555599</c:v>
                </c:pt>
                <c:pt idx="339">
                  <c:v>1128.1604385416699</c:v>
                </c:pt>
                <c:pt idx="340">
                  <c:v>1126.99378611111</c:v>
                </c:pt>
                <c:pt idx="341">
                  <c:v>1122.9347065972199</c:v>
                </c:pt>
                <c:pt idx="342">
                  <c:v>1122.64068611111</c:v>
                </c:pt>
                <c:pt idx="343">
                  <c:v>1122.53441423611</c:v>
                </c:pt>
                <c:pt idx="344">
                  <c:v>1122.5530517361101</c:v>
                </c:pt>
                <c:pt idx="345">
                  <c:v>1122.7440305555599</c:v>
                </c:pt>
                <c:pt idx="346">
                  <c:v>1125.95182673611</c:v>
                </c:pt>
                <c:pt idx="347">
                  <c:v>1125.29264340278</c:v>
                </c:pt>
                <c:pt idx="348">
                  <c:v>1114.99508194445</c:v>
                </c:pt>
                <c:pt idx="349">
                  <c:v>1122.73214166667</c:v>
                </c:pt>
                <c:pt idx="350">
                  <c:v>1122.5692142361099</c:v>
                </c:pt>
                <c:pt idx="351">
                  <c:v>1123.59143854167</c:v>
                </c:pt>
                <c:pt idx="352">
                  <c:v>1123.46911423611</c:v>
                </c:pt>
                <c:pt idx="353">
                  <c:v>1121.2229027777801</c:v>
                </c:pt>
                <c:pt idx="354">
                  <c:v>1121.48405555556</c:v>
                </c:pt>
                <c:pt idx="355">
                  <c:v>1122.1310458333301</c:v>
                </c:pt>
                <c:pt idx="356">
                  <c:v>1109.3350274305601</c:v>
                </c:pt>
                <c:pt idx="357">
                  <c:v>1115.4639819444401</c:v>
                </c:pt>
                <c:pt idx="358">
                  <c:v>1123.76993402778</c:v>
                </c:pt>
                <c:pt idx="359">
                  <c:v>1123.9440395833301</c:v>
                </c:pt>
                <c:pt idx="360">
                  <c:v>1123.2724427083299</c:v>
                </c:pt>
                <c:pt idx="361">
                  <c:v>1118.67948854167</c:v>
                </c:pt>
                <c:pt idx="362">
                  <c:v>1102.3674402777799</c:v>
                </c:pt>
                <c:pt idx="363">
                  <c:v>1085.98019097222</c:v>
                </c:pt>
                <c:pt idx="364">
                  <c:v>1055.92584270833</c:v>
                </c:pt>
                <c:pt idx="365">
                  <c:v>947.58168402777801</c:v>
                </c:pt>
                <c:pt idx="366" formatCode="General">
                  <c:v>1137.6312673611101</c:v>
                </c:pt>
                <c:pt idx="367" formatCode="General">
                  <c:v>1155.1994315972199</c:v>
                </c:pt>
                <c:pt idx="368" formatCode="General">
                  <c:v>1142.90074861111</c:v>
                </c:pt>
                <c:pt idx="369" formatCode="General">
                  <c:v>1142.80609513889</c:v>
                </c:pt>
                <c:pt idx="370">
                  <c:v>1136.13741597222</c:v>
                </c:pt>
                <c:pt idx="371">
                  <c:v>1129.57766180556</c:v>
                </c:pt>
                <c:pt idx="372">
                  <c:v>1127.7332694444401</c:v>
                </c:pt>
                <c:pt idx="373">
                  <c:v>1127.957528125</c:v>
                </c:pt>
                <c:pt idx="374">
                  <c:v>1120.8497277777799</c:v>
                </c:pt>
                <c:pt idx="375">
                  <c:v>1118.0008510416701</c:v>
                </c:pt>
                <c:pt idx="376">
                  <c:v>1122.073059375</c:v>
                </c:pt>
                <c:pt idx="377">
                  <c:v>1157.0000298611101</c:v>
                </c:pt>
                <c:pt idx="378">
                  <c:v>1159.3606902777799</c:v>
                </c:pt>
                <c:pt idx="379">
                  <c:v>1159.03261909722</c:v>
                </c:pt>
                <c:pt idx="380">
                  <c:v>1159.44593472222</c:v>
                </c:pt>
                <c:pt idx="381">
                  <c:v>1161.58203229167</c:v>
                </c:pt>
                <c:pt idx="382">
                  <c:v>1151.1010718749999</c:v>
                </c:pt>
                <c:pt idx="383">
                  <c:v>1155.1023229166699</c:v>
                </c:pt>
                <c:pt idx="384">
                  <c:v>1139.3999354166699</c:v>
                </c:pt>
                <c:pt idx="385">
                  <c:v>1140.9047253472199</c:v>
                </c:pt>
                <c:pt idx="386">
                  <c:v>1143.4173979166701</c:v>
                </c:pt>
                <c:pt idx="387">
                  <c:v>1142.3726729166699</c:v>
                </c:pt>
                <c:pt idx="388">
                  <c:v>1136.28748993056</c:v>
                </c:pt>
                <c:pt idx="389">
                  <c:v>1140.8926531249999</c:v>
                </c:pt>
                <c:pt idx="390">
                  <c:v>1137.0891680555601</c:v>
                </c:pt>
                <c:pt idx="391">
                  <c:v>1135.6372670138901</c:v>
                </c:pt>
                <c:pt idx="392">
                  <c:v>1142.2290677083299</c:v>
                </c:pt>
                <c:pt idx="393">
                  <c:v>1138.1262527777801</c:v>
                </c:pt>
                <c:pt idx="394">
                  <c:v>1143.48323680556</c:v>
                </c:pt>
                <c:pt idx="395">
                  <c:v>1144.7326499999999</c:v>
                </c:pt>
                <c:pt idx="396">
                  <c:v>1144.765975</c:v>
                </c:pt>
                <c:pt idx="397">
                  <c:v>1134.11195138889</c:v>
                </c:pt>
                <c:pt idx="398">
                  <c:v>1142.43265625</c:v>
                </c:pt>
                <c:pt idx="399">
                  <c:v>1152.29923923611</c:v>
                </c:pt>
                <c:pt idx="400">
                  <c:v>1152.97965451389</c:v>
                </c:pt>
                <c:pt idx="401">
                  <c:v>1146.59006527778</c:v>
                </c:pt>
                <c:pt idx="402">
                  <c:v>1147.1014986111099</c:v>
                </c:pt>
                <c:pt idx="403">
                  <c:v>1146.88386666667</c:v>
                </c:pt>
                <c:pt idx="404">
                  <c:v>1149.9189670138901</c:v>
                </c:pt>
                <c:pt idx="405">
                  <c:v>1155.0763576388899</c:v>
                </c:pt>
                <c:pt idx="406">
                  <c:v>1152.2143434027801</c:v>
                </c:pt>
                <c:pt idx="407">
                  <c:v>1154.9946065972199</c:v>
                </c:pt>
                <c:pt idx="408">
                  <c:v>1151.9656597222199</c:v>
                </c:pt>
                <c:pt idx="409">
                  <c:v>1146.55587013889</c:v>
                </c:pt>
                <c:pt idx="410">
                  <c:v>1145.01064930556</c:v>
                </c:pt>
                <c:pt idx="411">
                  <c:v>1148.2717006944399</c:v>
                </c:pt>
                <c:pt idx="412">
                  <c:v>1148.3860111111101</c:v>
                </c:pt>
                <c:pt idx="413">
                  <c:v>1147.78534375</c:v>
                </c:pt>
                <c:pt idx="414">
                  <c:v>1141.63614722222</c:v>
                </c:pt>
                <c:pt idx="415">
                  <c:v>1149.7184381944501</c:v>
                </c:pt>
                <c:pt idx="416">
                  <c:v>1153.02430451389</c:v>
                </c:pt>
                <c:pt idx="417">
                  <c:v>1149.30174270833</c:v>
                </c:pt>
                <c:pt idx="418">
                  <c:v>1153.2292173611099</c:v>
                </c:pt>
                <c:pt idx="419">
                  <c:v>1146.8021638888899</c:v>
                </c:pt>
                <c:pt idx="420">
                  <c:v>1149.93396111111</c:v>
                </c:pt>
                <c:pt idx="421">
                  <c:v>1154.06901076389</c:v>
                </c:pt>
                <c:pt idx="422">
                  <c:v>1151.90435208333</c:v>
                </c:pt>
                <c:pt idx="423">
                  <c:v>1151.970784375</c:v>
                </c:pt>
                <c:pt idx="424">
                  <c:v>1148.5392350694401</c:v>
                </c:pt>
                <c:pt idx="425">
                  <c:v>1151.76787361111</c:v>
                </c:pt>
                <c:pt idx="426">
                  <c:v>1150.70961006945</c:v>
                </c:pt>
                <c:pt idx="427">
                  <c:v>1143.56705902778</c:v>
                </c:pt>
                <c:pt idx="428">
                  <c:v>1144.9250197916699</c:v>
                </c:pt>
                <c:pt idx="429">
                  <c:v>1142.5231024305599</c:v>
                </c:pt>
                <c:pt idx="430">
                  <c:v>1154.3285260416701</c:v>
                </c:pt>
                <c:pt idx="431">
                  <c:v>1153.5579722222201</c:v>
                </c:pt>
                <c:pt idx="432">
                  <c:v>1155.2427510416701</c:v>
                </c:pt>
                <c:pt idx="433">
                  <c:v>1152.23716215278</c:v>
                </c:pt>
                <c:pt idx="434">
                  <c:v>1154.2322385416701</c:v>
                </c:pt>
                <c:pt idx="435">
                  <c:v>1154.6761836805599</c:v>
                </c:pt>
                <c:pt idx="436">
                  <c:v>1149.6979565972199</c:v>
                </c:pt>
                <c:pt idx="437">
                  <c:v>1152.22325590278</c:v>
                </c:pt>
                <c:pt idx="438">
                  <c:v>1152.64470208333</c:v>
                </c:pt>
                <c:pt idx="439">
                  <c:v>1153.2567149305601</c:v>
                </c:pt>
                <c:pt idx="440">
                  <c:v>1150.0140739583301</c:v>
                </c:pt>
                <c:pt idx="441">
                  <c:v>1151.4837805555601</c:v>
                </c:pt>
                <c:pt idx="442">
                  <c:v>1150.57398541667</c:v>
                </c:pt>
                <c:pt idx="443">
                  <c:v>1157.48730451389</c:v>
                </c:pt>
                <c:pt idx="444">
                  <c:v>1157.0076927083301</c:v>
                </c:pt>
                <c:pt idx="445">
                  <c:v>1145.61738784722</c:v>
                </c:pt>
                <c:pt idx="446">
                  <c:v>1153.25850972222</c:v>
                </c:pt>
                <c:pt idx="447">
                  <c:v>1148.99253125</c:v>
                </c:pt>
                <c:pt idx="448">
                  <c:v>1151.0005354166699</c:v>
                </c:pt>
                <c:pt idx="449">
                  <c:v>1154.51617048611</c:v>
                </c:pt>
                <c:pt idx="450">
                  <c:v>1157.64159930556</c:v>
                </c:pt>
                <c:pt idx="451">
                  <c:v>1156.13072743056</c:v>
                </c:pt>
                <c:pt idx="452">
                  <c:v>1153.2794822916701</c:v>
                </c:pt>
                <c:pt idx="453">
                  <c:v>1154.65674027778</c:v>
                </c:pt>
                <c:pt idx="454">
                  <c:v>1149.9042916666699</c:v>
                </c:pt>
                <c:pt idx="455">
                  <c:v>1157.9998875000001</c:v>
                </c:pt>
                <c:pt idx="456">
                  <c:v>1150.8268638888901</c:v>
                </c:pt>
                <c:pt idx="457">
                  <c:v>1148.3312722222199</c:v>
                </c:pt>
                <c:pt idx="458">
                  <c:v>1149.5103208333301</c:v>
                </c:pt>
                <c:pt idx="459">
                  <c:v>1156.0059503472201</c:v>
                </c:pt>
                <c:pt idx="460">
                  <c:v>1157.05734618056</c:v>
                </c:pt>
                <c:pt idx="461">
                  <c:v>1159.72366354167</c:v>
                </c:pt>
                <c:pt idx="462">
                  <c:v>1161.1907343749999</c:v>
                </c:pt>
                <c:pt idx="463">
                  <c:v>1156.84423784722</c:v>
                </c:pt>
                <c:pt idx="464">
                  <c:v>1154.13185833333</c:v>
                </c:pt>
                <c:pt idx="465">
                  <c:v>1146.73372361111</c:v>
                </c:pt>
                <c:pt idx="466">
                  <c:v>1113.1676937499999</c:v>
                </c:pt>
                <c:pt idx="467">
                  <c:v>1034.4644211805501</c:v>
                </c:pt>
                <c:pt idx="468">
                  <c:v>995.48193125</c:v>
                </c:pt>
                <c:pt idx="469">
                  <c:v>1157.9391322916699</c:v>
                </c:pt>
                <c:pt idx="470">
                  <c:v>1157.88307638889</c:v>
                </c:pt>
                <c:pt idx="471">
                  <c:v>1158.6752399305601</c:v>
                </c:pt>
                <c:pt idx="472">
                  <c:v>1161.5754881944499</c:v>
                </c:pt>
                <c:pt idx="473">
                  <c:v>1162.3755718750001</c:v>
                </c:pt>
                <c:pt idx="474">
                  <c:v>1160.5876072916701</c:v>
                </c:pt>
                <c:pt idx="475">
                  <c:v>1160.5177427083299</c:v>
                </c:pt>
                <c:pt idx="476">
                  <c:v>1157.42045659722</c:v>
                </c:pt>
                <c:pt idx="477">
                  <c:v>1161.12980972222</c:v>
                </c:pt>
                <c:pt idx="478">
                  <c:v>1156.4649947916701</c:v>
                </c:pt>
                <c:pt idx="479">
                  <c:v>1144.09797291667</c:v>
                </c:pt>
                <c:pt idx="480">
                  <c:v>1123.96865243056</c:v>
                </c:pt>
                <c:pt idx="481">
                  <c:v>1125.773078125</c:v>
                </c:pt>
                <c:pt idx="482">
                  <c:v>1117.67342430555</c:v>
                </c:pt>
                <c:pt idx="483">
                  <c:v>1116.7149347222201</c:v>
                </c:pt>
                <c:pt idx="484">
                  <c:v>1138.04549895833</c:v>
                </c:pt>
                <c:pt idx="485">
                  <c:v>1162.34755277778</c:v>
                </c:pt>
                <c:pt idx="486">
                  <c:v>1161.8579611111099</c:v>
                </c:pt>
                <c:pt idx="487">
                  <c:v>1160.7098684027801</c:v>
                </c:pt>
                <c:pt idx="488">
                  <c:v>1158.6977218750001</c:v>
                </c:pt>
                <c:pt idx="489">
                  <c:v>1158.34865069445</c:v>
                </c:pt>
                <c:pt idx="490">
                  <c:v>1162.5947309027799</c:v>
                </c:pt>
                <c:pt idx="491">
                  <c:v>1159.8602118055601</c:v>
                </c:pt>
                <c:pt idx="492">
                  <c:v>1161.00852777778</c:v>
                </c:pt>
                <c:pt idx="493">
                  <c:v>1139.5926916666699</c:v>
                </c:pt>
                <c:pt idx="494">
                  <c:v>1112.59899201389</c:v>
                </c:pt>
                <c:pt idx="495">
                  <c:v>1029.6513385416699</c:v>
                </c:pt>
                <c:pt idx="496">
                  <c:v>956.90242222222196</c:v>
                </c:pt>
                <c:pt idx="498">
                  <c:v>823.949504166667</c:v>
                </c:pt>
                <c:pt idx="499">
                  <c:v>1156.3790812499999</c:v>
                </c:pt>
                <c:pt idx="500">
                  <c:v>1155.2576225694399</c:v>
                </c:pt>
                <c:pt idx="501">
                  <c:v>1158.0234791666701</c:v>
                </c:pt>
                <c:pt idx="502">
                  <c:v>1157.63478680555</c:v>
                </c:pt>
                <c:pt idx="503">
                  <c:v>1159.79214201389</c:v>
                </c:pt>
                <c:pt idx="504">
                  <c:v>1156.48185520833</c:v>
                </c:pt>
                <c:pt idx="505">
                  <c:v>1158.7652295138901</c:v>
                </c:pt>
                <c:pt idx="506">
                  <c:v>1109.2466631944401</c:v>
                </c:pt>
                <c:pt idx="507">
                  <c:v>1150.67249097222</c:v>
                </c:pt>
                <c:pt idx="508">
                  <c:v>1153.2936597222199</c:v>
                </c:pt>
                <c:pt idx="509">
                  <c:v>1150.62387847222</c:v>
                </c:pt>
                <c:pt idx="510">
                  <c:v>1155.8664909722199</c:v>
                </c:pt>
                <c:pt idx="511">
                  <c:v>1155.1315868055599</c:v>
                </c:pt>
                <c:pt idx="512">
                  <c:v>1156.18336770833</c:v>
                </c:pt>
                <c:pt idx="513">
                  <c:v>1156.3084614583299</c:v>
                </c:pt>
                <c:pt idx="514">
                  <c:v>1156.84148229167</c:v>
                </c:pt>
                <c:pt idx="515">
                  <c:v>1159.2643993055499</c:v>
                </c:pt>
                <c:pt idx="516">
                  <c:v>1158.26980833333</c:v>
                </c:pt>
                <c:pt idx="517">
                  <c:v>1159.31665590278</c:v>
                </c:pt>
                <c:pt idx="518">
                  <c:v>1153.53602326389</c:v>
                </c:pt>
                <c:pt idx="519">
                  <c:v>1157.0883142361099</c:v>
                </c:pt>
                <c:pt idx="520">
                  <c:v>1158.89295625</c:v>
                </c:pt>
                <c:pt idx="521">
                  <c:v>1154.89337916667</c:v>
                </c:pt>
                <c:pt idx="522">
                  <c:v>1159.3457920138901</c:v>
                </c:pt>
                <c:pt idx="523">
                  <c:v>1155.16949444444</c:v>
                </c:pt>
                <c:pt idx="524">
                  <c:v>1152.5236663194501</c:v>
                </c:pt>
                <c:pt idx="525">
                  <c:v>1155.5110527777799</c:v>
                </c:pt>
                <c:pt idx="526">
                  <c:v>1160.4239444444499</c:v>
                </c:pt>
                <c:pt idx="527">
                  <c:v>1160.6413263888901</c:v>
                </c:pt>
                <c:pt idx="528">
                  <c:v>1158.5863291666701</c:v>
                </c:pt>
                <c:pt idx="529">
                  <c:v>1157.4773124999999</c:v>
                </c:pt>
                <c:pt idx="530">
                  <c:v>1158.9802374999999</c:v>
                </c:pt>
                <c:pt idx="531">
                  <c:v>1159</c:v>
                </c:pt>
                <c:pt idx="532">
                  <c:v>1158.4375909722201</c:v>
                </c:pt>
                <c:pt idx="533">
                  <c:v>1159.11355104167</c:v>
                </c:pt>
                <c:pt idx="534">
                  <c:v>1159.5706006944399</c:v>
                </c:pt>
                <c:pt idx="535">
                  <c:v>1154.0279097222201</c:v>
                </c:pt>
                <c:pt idx="536">
                  <c:v>1155.07020902778</c:v>
                </c:pt>
                <c:pt idx="537">
                  <c:v>1158.3660406250001</c:v>
                </c:pt>
                <c:pt idx="538">
                  <c:v>1159.8497538194399</c:v>
                </c:pt>
                <c:pt idx="539">
                  <c:v>1161.9178159722201</c:v>
                </c:pt>
                <c:pt idx="540">
                  <c:v>1161.95841909722</c:v>
                </c:pt>
                <c:pt idx="541">
                  <c:v>1161.9014218750001</c:v>
                </c:pt>
                <c:pt idx="542">
                  <c:v>1158.2516663194399</c:v>
                </c:pt>
                <c:pt idx="543">
                  <c:v>1158.0892777777799</c:v>
                </c:pt>
                <c:pt idx="544">
                  <c:v>1159.5888253472201</c:v>
                </c:pt>
                <c:pt idx="545">
                  <c:v>1160.0231458333301</c:v>
                </c:pt>
                <c:pt idx="546">
                  <c:v>1158.18126145833</c:v>
                </c:pt>
                <c:pt idx="547">
                  <c:v>1160.00549166667</c:v>
                </c:pt>
                <c:pt idx="548">
                  <c:v>1154.85853611111</c:v>
                </c:pt>
                <c:pt idx="549">
                  <c:v>1157.2019312499999</c:v>
                </c:pt>
                <c:pt idx="550">
                  <c:v>1155.2027826388901</c:v>
                </c:pt>
                <c:pt idx="551">
                  <c:v>1158.4343920138899</c:v>
                </c:pt>
                <c:pt idx="552">
                  <c:v>1158.9040892361099</c:v>
                </c:pt>
                <c:pt idx="553">
                  <c:v>1160.41127291667</c:v>
                </c:pt>
                <c:pt idx="554">
                  <c:v>1158.29986006944</c:v>
                </c:pt>
                <c:pt idx="555">
                  <c:v>1161.5965333333299</c:v>
                </c:pt>
                <c:pt idx="556">
                  <c:v>1159.5146711805501</c:v>
                </c:pt>
                <c:pt idx="557">
                  <c:v>1162.03230173611</c:v>
                </c:pt>
                <c:pt idx="558">
                  <c:v>1160.8558347222199</c:v>
                </c:pt>
                <c:pt idx="559">
                  <c:v>1161.8136965277799</c:v>
                </c:pt>
                <c:pt idx="560">
                  <c:v>1161.07226909722</c:v>
                </c:pt>
                <c:pt idx="561">
                  <c:v>1158.92235069444</c:v>
                </c:pt>
                <c:pt idx="562">
                  <c:v>1159.1566402777801</c:v>
                </c:pt>
                <c:pt idx="563">
                  <c:v>1159.69594131944</c:v>
                </c:pt>
                <c:pt idx="564">
                  <c:v>1157.37433333333</c:v>
                </c:pt>
                <c:pt idx="565">
                  <c:v>1157.96430069445</c:v>
                </c:pt>
                <c:pt idx="566">
                  <c:v>1160.72467777778</c:v>
                </c:pt>
                <c:pt idx="567">
                  <c:v>1159.15898506944</c:v>
                </c:pt>
                <c:pt idx="568">
                  <c:v>1158.3364715277801</c:v>
                </c:pt>
                <c:pt idx="569">
                  <c:v>1156.7455524305601</c:v>
                </c:pt>
                <c:pt idx="570">
                  <c:v>1151.0626878472201</c:v>
                </c:pt>
                <c:pt idx="571">
                  <c:v>1155.1198045138899</c:v>
                </c:pt>
                <c:pt idx="572">
                  <c:v>1159.5488746527799</c:v>
                </c:pt>
                <c:pt idx="573">
                  <c:v>1159.7383784722199</c:v>
                </c:pt>
                <c:pt idx="574">
                  <c:v>1158.3267052083299</c:v>
                </c:pt>
                <c:pt idx="575">
                  <c:v>1161.26858194444</c:v>
                </c:pt>
                <c:pt idx="576">
                  <c:v>1158.2728750000001</c:v>
                </c:pt>
                <c:pt idx="577">
                  <c:v>1158.46146770833</c:v>
                </c:pt>
                <c:pt idx="578">
                  <c:v>1160.0745965277799</c:v>
                </c:pt>
                <c:pt idx="579">
                  <c:v>1160.0580381944401</c:v>
                </c:pt>
                <c:pt idx="580">
                  <c:v>1155.70825277778</c:v>
                </c:pt>
                <c:pt idx="581">
                  <c:v>1158.06377951389</c:v>
                </c:pt>
                <c:pt idx="582">
                  <c:v>1161.9310607638899</c:v>
                </c:pt>
                <c:pt idx="583">
                  <c:v>1152.3315781250001</c:v>
                </c:pt>
                <c:pt idx="584">
                  <c:v>1157.2614496527799</c:v>
                </c:pt>
                <c:pt idx="585">
                  <c:v>1158.7654243055599</c:v>
                </c:pt>
                <c:pt idx="586">
                  <c:v>1159.64666354167</c:v>
                </c:pt>
                <c:pt idx="587">
                  <c:v>1159.92760347222</c:v>
                </c:pt>
                <c:pt idx="588">
                  <c:v>1157.27592083333</c:v>
                </c:pt>
                <c:pt idx="589">
                  <c:v>1161.06961979167</c:v>
                </c:pt>
                <c:pt idx="590">
                  <c:v>1159.6189784722201</c:v>
                </c:pt>
                <c:pt idx="591">
                  <c:v>1161.88598229167</c:v>
                </c:pt>
                <c:pt idx="592">
                  <c:v>1159.83352256944</c:v>
                </c:pt>
                <c:pt idx="593">
                  <c:v>1157.98940138889</c:v>
                </c:pt>
                <c:pt idx="594">
                  <c:v>1158.9179208333301</c:v>
                </c:pt>
                <c:pt idx="595">
                  <c:v>1161.06245659722</c:v>
                </c:pt>
                <c:pt idx="596">
                  <c:v>1160.1943659722201</c:v>
                </c:pt>
                <c:pt idx="597">
                  <c:v>1158.33918645833</c:v>
                </c:pt>
                <c:pt idx="598">
                  <c:v>1156.83886944444</c:v>
                </c:pt>
                <c:pt idx="599">
                  <c:v>1159.2079743055599</c:v>
                </c:pt>
                <c:pt idx="600">
                  <c:v>1158.60161076389</c:v>
                </c:pt>
                <c:pt idx="601">
                  <c:v>1162.6379524305601</c:v>
                </c:pt>
                <c:pt idx="602">
                  <c:v>1162.0184986111101</c:v>
                </c:pt>
                <c:pt idx="603">
                  <c:v>1159.36033993056</c:v>
                </c:pt>
                <c:pt idx="604">
                  <c:v>1160.4088010416699</c:v>
                </c:pt>
                <c:pt idx="605">
                  <c:v>1162.3368194444499</c:v>
                </c:pt>
                <c:pt idx="606">
                  <c:v>1156.2988826388901</c:v>
                </c:pt>
                <c:pt idx="607">
                  <c:v>1159.08782708333</c:v>
                </c:pt>
                <c:pt idx="608">
                  <c:v>1160.7839503472201</c:v>
                </c:pt>
                <c:pt idx="609">
                  <c:v>1160.4045128472201</c:v>
                </c:pt>
                <c:pt idx="610">
                  <c:v>1153.82247986111</c:v>
                </c:pt>
                <c:pt idx="611">
                  <c:v>1160.5011423611099</c:v>
                </c:pt>
                <c:pt idx="612">
                  <c:v>1160.95233229167</c:v>
                </c:pt>
                <c:pt idx="613">
                  <c:v>1161.46873923611</c:v>
                </c:pt>
                <c:pt idx="614">
                  <c:v>1162.5685180555599</c:v>
                </c:pt>
                <c:pt idx="615">
                  <c:v>1162.7872666666699</c:v>
                </c:pt>
                <c:pt idx="616">
                  <c:v>1162.2621222222199</c:v>
                </c:pt>
                <c:pt idx="617">
                  <c:v>1161.6104312499999</c:v>
                </c:pt>
                <c:pt idx="618">
                  <c:v>1160.1082975694401</c:v>
                </c:pt>
                <c:pt idx="619">
                  <c:v>1161.85849027778</c:v>
                </c:pt>
                <c:pt idx="620">
                  <c:v>1157.48144201389</c:v>
                </c:pt>
                <c:pt idx="621">
                  <c:v>1156.4486093749999</c:v>
                </c:pt>
                <c:pt idx="622">
                  <c:v>1160.26971736111</c:v>
                </c:pt>
                <c:pt idx="623">
                  <c:v>1161.59123506944</c:v>
                </c:pt>
                <c:pt idx="624">
                  <c:v>1160.1882947916699</c:v>
                </c:pt>
                <c:pt idx="625">
                  <c:v>1158.19187847222</c:v>
                </c:pt>
                <c:pt idx="626">
                  <c:v>1156.8708843750001</c:v>
                </c:pt>
                <c:pt idx="627">
                  <c:v>1159.0080440972199</c:v>
                </c:pt>
                <c:pt idx="628">
                  <c:v>1160.0322215277799</c:v>
                </c:pt>
                <c:pt idx="629">
                  <c:v>1161.9576371527801</c:v>
                </c:pt>
                <c:pt idx="630">
                  <c:v>1161.5298618055599</c:v>
                </c:pt>
                <c:pt idx="631">
                  <c:v>1158.18873229167</c:v>
                </c:pt>
                <c:pt idx="632">
                  <c:v>1160.2867107638899</c:v>
                </c:pt>
                <c:pt idx="633">
                  <c:v>1159.615278125</c:v>
                </c:pt>
                <c:pt idx="634">
                  <c:v>1154.0655489583301</c:v>
                </c:pt>
                <c:pt idx="635">
                  <c:v>1146.8629885416699</c:v>
                </c:pt>
                <c:pt idx="636">
                  <c:v>1151.4707954861101</c:v>
                </c:pt>
                <c:pt idx="637">
                  <c:v>1160.8844763888901</c:v>
                </c:pt>
                <c:pt idx="638">
                  <c:v>1158.2894385416701</c:v>
                </c:pt>
                <c:pt idx="639">
                  <c:v>1145.1812243055599</c:v>
                </c:pt>
                <c:pt idx="640">
                  <c:v>1140.33879513889</c:v>
                </c:pt>
                <c:pt idx="641">
                  <c:v>848.52389930555603</c:v>
                </c:pt>
                <c:pt idx="642">
                  <c:v>652.14254548611098</c:v>
                </c:pt>
                <c:pt idx="643">
                  <c:v>890.66077569444406</c:v>
                </c:pt>
                <c:pt idx="644">
                  <c:v>1154.8305548611099</c:v>
                </c:pt>
                <c:pt idx="645">
                  <c:v>1156.4747875</c:v>
                </c:pt>
                <c:pt idx="646">
                  <c:v>1158.70829166667</c:v>
                </c:pt>
                <c:pt idx="647">
                  <c:v>1159.4799201388901</c:v>
                </c:pt>
                <c:pt idx="648">
                  <c:v>1147.23392951389</c:v>
                </c:pt>
                <c:pt idx="649">
                  <c:v>1162.1850548611101</c:v>
                </c:pt>
                <c:pt idx="650">
                  <c:v>1159.79448263889</c:v>
                </c:pt>
                <c:pt idx="651">
                  <c:v>1159.13983472222</c:v>
                </c:pt>
                <c:pt idx="652">
                  <c:v>1159.7163135416699</c:v>
                </c:pt>
                <c:pt idx="653">
                  <c:v>1155.9028093750001</c:v>
                </c:pt>
                <c:pt idx="654">
                  <c:v>1158.07439097222</c:v>
                </c:pt>
                <c:pt idx="655">
                  <c:v>1114.7486704861101</c:v>
                </c:pt>
                <c:pt idx="656">
                  <c:v>1161.0032458333301</c:v>
                </c:pt>
                <c:pt idx="657">
                  <c:v>1159.63487291667</c:v>
                </c:pt>
                <c:pt idx="658">
                  <c:v>1154.50431736111</c:v>
                </c:pt>
                <c:pt idx="659">
                  <c:v>1159.76051736111</c:v>
                </c:pt>
                <c:pt idx="660">
                  <c:v>1158.5479097222201</c:v>
                </c:pt>
                <c:pt idx="661">
                  <c:v>1159.4186263888901</c:v>
                </c:pt>
                <c:pt idx="662">
                  <c:v>1159.7225590277801</c:v>
                </c:pt>
                <c:pt idx="663">
                  <c:v>1159.8226774305599</c:v>
                </c:pt>
                <c:pt idx="664">
                  <c:v>1156.2828173611099</c:v>
                </c:pt>
                <c:pt idx="665">
                  <c:v>1155.0014579861099</c:v>
                </c:pt>
                <c:pt idx="666">
                  <c:v>1156.0239809027801</c:v>
                </c:pt>
                <c:pt idx="667">
                  <c:v>1150.6708427083299</c:v>
                </c:pt>
                <c:pt idx="668">
                  <c:v>1147.05067534722</c:v>
                </c:pt>
                <c:pt idx="669">
                  <c:v>1148.49966875</c:v>
                </c:pt>
                <c:pt idx="670">
                  <c:v>1162.5891149305601</c:v>
                </c:pt>
                <c:pt idx="671">
                  <c:v>1161.28793298611</c:v>
                </c:pt>
                <c:pt idx="672">
                  <c:v>1162.3651527777799</c:v>
                </c:pt>
                <c:pt idx="673">
                  <c:v>1162.8127843750001</c:v>
                </c:pt>
                <c:pt idx="674">
                  <c:v>1162.81845104167</c:v>
                </c:pt>
                <c:pt idx="675">
                  <c:v>1163.34526041667</c:v>
                </c:pt>
                <c:pt idx="676">
                  <c:v>1162.8848791666701</c:v>
                </c:pt>
                <c:pt idx="677">
                  <c:v>1162.6176013888901</c:v>
                </c:pt>
                <c:pt idx="678">
                  <c:v>1162.4699059027801</c:v>
                </c:pt>
                <c:pt idx="679">
                  <c:v>1161.77559930556</c:v>
                </c:pt>
                <c:pt idx="680">
                  <c:v>1161.48248923611</c:v>
                </c:pt>
                <c:pt idx="681">
                  <c:v>1161.95795034722</c:v>
                </c:pt>
                <c:pt idx="682">
                  <c:v>1162.09753263889</c:v>
                </c:pt>
                <c:pt idx="683">
                  <c:v>1161.49260694444</c:v>
                </c:pt>
                <c:pt idx="684">
                  <c:v>1159.8609319444499</c:v>
                </c:pt>
                <c:pt idx="685">
                  <c:v>1160.16608854167</c:v>
                </c:pt>
                <c:pt idx="686">
                  <c:v>1160.67571423611</c:v>
                </c:pt>
                <c:pt idx="687">
                  <c:v>1157.1923517361099</c:v>
                </c:pt>
                <c:pt idx="688">
                  <c:v>1161.3044642361101</c:v>
                </c:pt>
                <c:pt idx="689">
                  <c:v>1161.13500729167</c:v>
                </c:pt>
                <c:pt idx="690">
                  <c:v>1160.9309309027799</c:v>
                </c:pt>
                <c:pt idx="691">
                  <c:v>1160.0622413194401</c:v>
                </c:pt>
                <c:pt idx="692">
                  <c:v>1161.5423354166701</c:v>
                </c:pt>
                <c:pt idx="693">
                  <c:v>1161.7680510416701</c:v>
                </c:pt>
                <c:pt idx="694">
                  <c:v>1159.9650083333299</c:v>
                </c:pt>
                <c:pt idx="695">
                  <c:v>1160.2675034722199</c:v>
                </c:pt>
                <c:pt idx="696">
                  <c:v>1160.8458274305599</c:v>
                </c:pt>
                <c:pt idx="697">
                  <c:v>1159.71688263889</c:v>
                </c:pt>
                <c:pt idx="698">
                  <c:v>1162.67478333333</c:v>
                </c:pt>
                <c:pt idx="699">
                  <c:v>1162.87811944444</c:v>
                </c:pt>
                <c:pt idx="700">
                  <c:v>1161.4707225694401</c:v>
                </c:pt>
                <c:pt idx="701">
                  <c:v>1161.9448416666701</c:v>
                </c:pt>
                <c:pt idx="702">
                  <c:v>1161.9514059027799</c:v>
                </c:pt>
                <c:pt idx="703">
                  <c:v>1162.6448850694401</c:v>
                </c:pt>
                <c:pt idx="704">
                  <c:v>1162.53119340278</c:v>
                </c:pt>
                <c:pt idx="705">
                  <c:v>1162.35309722222</c:v>
                </c:pt>
                <c:pt idx="706">
                  <c:v>1158.0063215277801</c:v>
                </c:pt>
                <c:pt idx="707">
                  <c:v>1161.06567708333</c:v>
                </c:pt>
                <c:pt idx="708">
                  <c:v>1157.28247847222</c:v>
                </c:pt>
                <c:pt idx="709">
                  <c:v>1161.8678597222199</c:v>
                </c:pt>
                <c:pt idx="710">
                  <c:v>1160.4755309027801</c:v>
                </c:pt>
                <c:pt idx="711">
                  <c:v>1160.7093475694401</c:v>
                </c:pt>
                <c:pt idx="712">
                  <c:v>1154.6719017361099</c:v>
                </c:pt>
                <c:pt idx="713">
                  <c:v>1154.9541809027801</c:v>
                </c:pt>
                <c:pt idx="714">
                  <c:v>1153.96991597222</c:v>
                </c:pt>
                <c:pt idx="715">
                  <c:v>1145.5597229166699</c:v>
                </c:pt>
                <c:pt idx="716">
                  <c:v>1159.85431319444</c:v>
                </c:pt>
                <c:pt idx="717">
                  <c:v>1160.9928701388901</c:v>
                </c:pt>
                <c:pt idx="718">
                  <c:v>1155.0760746527801</c:v>
                </c:pt>
                <c:pt idx="719">
                  <c:v>1149.31728993056</c:v>
                </c:pt>
                <c:pt idx="720">
                  <c:v>1148.5277295138901</c:v>
                </c:pt>
                <c:pt idx="721">
                  <c:v>1149.5119711805601</c:v>
                </c:pt>
                <c:pt idx="722">
                  <c:v>1145.5586048611101</c:v>
                </c:pt>
                <c:pt idx="723">
                  <c:v>1116.1089729166699</c:v>
                </c:pt>
                <c:pt idx="724">
                  <c:v>1058.16446875</c:v>
                </c:pt>
                <c:pt idx="725">
                  <c:v>777.96182777777801</c:v>
                </c:pt>
                <c:pt idx="726">
                  <c:v>927.66385624999998</c:v>
                </c:pt>
                <c:pt idx="727">
                  <c:v>1162.4172545138899</c:v>
                </c:pt>
                <c:pt idx="728">
                  <c:v>1161.61667743056</c:v>
                </c:pt>
                <c:pt idx="729">
                  <c:v>1150.4759211805499</c:v>
                </c:pt>
                <c:pt idx="730">
                  <c:v>1159.13297847222</c:v>
                </c:pt>
                <c:pt idx="731" formatCode="General">
                  <c:v>1161.3082718749997</c:v>
                </c:pt>
                <c:pt idx="732" formatCode="General">
                  <c:v>1161.0127847222216</c:v>
                </c:pt>
                <c:pt idx="733" formatCode="General">
                  <c:v>1154.1446798611112</c:v>
                </c:pt>
                <c:pt idx="734" formatCode="General">
                  <c:v>1159.8173989583333</c:v>
                </c:pt>
                <c:pt idx="735" formatCode="General">
                  <c:v>1161.1488489583335</c:v>
                </c:pt>
                <c:pt idx="736" formatCode="General">
                  <c:v>1161.1853104166671</c:v>
                </c:pt>
                <c:pt idx="737" formatCode="General">
                  <c:v>1161.8539559027777</c:v>
                </c:pt>
                <c:pt idx="738" formatCode="General">
                  <c:v>1161.6211749999989</c:v>
                </c:pt>
                <c:pt idx="739" formatCode="General">
                  <c:v>1161.9876850694452</c:v>
                </c:pt>
                <c:pt idx="740" formatCode="General">
                  <c:v>1162.2465777777777</c:v>
                </c:pt>
                <c:pt idx="741" formatCode="General">
                  <c:v>1162.5171760416661</c:v>
                </c:pt>
                <c:pt idx="742" formatCode="General">
                  <c:v>1160.1010246527776</c:v>
                </c:pt>
                <c:pt idx="743" formatCode="General">
                  <c:v>1161.5640315972221</c:v>
                </c:pt>
                <c:pt idx="744" formatCode="General">
                  <c:v>1161.6164642361114</c:v>
                </c:pt>
                <c:pt idx="745" formatCode="General">
                  <c:v>1161.609290277778</c:v>
                </c:pt>
                <c:pt idx="746" formatCode="General">
                  <c:v>1161.0917496527773</c:v>
                </c:pt>
                <c:pt idx="747" formatCode="General">
                  <c:v>1160.9352527777776</c:v>
                </c:pt>
                <c:pt idx="748">
                  <c:v>1157.9593340277775</c:v>
                </c:pt>
                <c:pt idx="749" formatCode="General">
                  <c:v>1160.3907822916663</c:v>
                </c:pt>
                <c:pt idx="750" formatCode="General">
                  <c:v>1159.8273236111115</c:v>
                </c:pt>
                <c:pt idx="751">
                  <c:v>1160.278006944445</c:v>
                </c:pt>
                <c:pt idx="752">
                  <c:v>1160.6602319444448</c:v>
                </c:pt>
                <c:pt idx="753" formatCode="General">
                  <c:v>1159.7757260416661</c:v>
                </c:pt>
                <c:pt idx="754" formatCode="General">
                  <c:v>1158.2106163194437</c:v>
                </c:pt>
                <c:pt idx="755" formatCode="General">
                  <c:v>1159.9830954861109</c:v>
                </c:pt>
                <c:pt idx="756" formatCode="General">
                  <c:v>1155.2164711805556</c:v>
                </c:pt>
                <c:pt idx="757" formatCode="General">
                  <c:v>1158.4649579861109</c:v>
                </c:pt>
                <c:pt idx="758" formatCode="General">
                  <c:v>1156.9515388888888</c:v>
                </c:pt>
                <c:pt idx="759" formatCode="General">
                  <c:v>1160.0793208333334</c:v>
                </c:pt>
                <c:pt idx="760" formatCode="General">
                  <c:v>1161.9064951388889</c:v>
                </c:pt>
                <c:pt idx="761">
                  <c:v>1162.204059375001</c:v>
                </c:pt>
                <c:pt idx="762" formatCode="General">
                  <c:v>1161.5913204861113</c:v>
                </c:pt>
                <c:pt idx="763">
                  <c:v>1160.8526104166658</c:v>
                </c:pt>
                <c:pt idx="764">
                  <c:v>1161.909143750001</c:v>
                </c:pt>
                <c:pt idx="765">
                  <c:v>1159.9034920138899</c:v>
                </c:pt>
                <c:pt idx="766">
                  <c:v>1160.3647166666674</c:v>
                </c:pt>
                <c:pt idx="767">
                  <c:v>1160.1590152777778</c:v>
                </c:pt>
                <c:pt idx="768">
                  <c:v>1160.7877065972218</c:v>
                </c:pt>
                <c:pt idx="769">
                  <c:v>1160.9424927083328</c:v>
                </c:pt>
                <c:pt idx="770">
                  <c:v>1158.0240031249998</c:v>
                </c:pt>
                <c:pt idx="771" formatCode="General">
                  <c:v>1160.8201944444443</c:v>
                </c:pt>
                <c:pt idx="772">
                  <c:v>1160.6900913194447</c:v>
                </c:pt>
                <c:pt idx="773">
                  <c:v>1158.0488809027779</c:v>
                </c:pt>
                <c:pt idx="774">
                  <c:v>1155.1051677083342</c:v>
                </c:pt>
                <c:pt idx="775">
                  <c:v>1151.3941475694442</c:v>
                </c:pt>
                <c:pt idx="776">
                  <c:v>1161.0490374999999</c:v>
                </c:pt>
                <c:pt idx="777">
                  <c:v>1161.3282409722226</c:v>
                </c:pt>
                <c:pt idx="778">
                  <c:v>1161.8240531249994</c:v>
                </c:pt>
                <c:pt idx="779">
                  <c:v>1161.2896743055558</c:v>
                </c:pt>
                <c:pt idx="780">
                  <c:v>1158.3969420138885</c:v>
                </c:pt>
                <c:pt idx="781">
                  <c:v>1156.5406305555557</c:v>
                </c:pt>
                <c:pt idx="782">
                  <c:v>1155.8844569444454</c:v>
                </c:pt>
                <c:pt idx="783">
                  <c:v>1151.0074458333333</c:v>
                </c:pt>
                <c:pt idx="784">
                  <c:v>1107.9492843750006</c:v>
                </c:pt>
                <c:pt idx="785">
                  <c:v>1082.6349472222214</c:v>
                </c:pt>
                <c:pt idx="786">
                  <c:v>1122.8358142361105</c:v>
                </c:pt>
                <c:pt idx="787" formatCode="General">
                  <c:v>1145.5576718749996</c:v>
                </c:pt>
                <c:pt idx="788" formatCode="General">
                  <c:v>1106.279853819445</c:v>
                </c:pt>
                <c:pt idx="789">
                  <c:v>1008.9259829861105</c:v>
                </c:pt>
                <c:pt idx="790" formatCode="General">
                  <c:v>1150.5008586805566</c:v>
                </c:pt>
                <c:pt idx="791" formatCode="General">
                  <c:v>1155.4804374999992</c:v>
                </c:pt>
                <c:pt idx="792">
                  <c:v>1155.5929034722224</c:v>
                </c:pt>
                <c:pt idx="793">
                  <c:v>1152.7986656250002</c:v>
                </c:pt>
                <c:pt idx="794" formatCode="General">
                  <c:v>1151.5267673611118</c:v>
                </c:pt>
                <c:pt idx="795">
                  <c:v>1151.4004697916666</c:v>
                </c:pt>
                <c:pt idx="796">
                  <c:v>1148.9169017361112</c:v>
                </c:pt>
                <c:pt idx="797">
                  <c:v>1145.1921239583339</c:v>
                </c:pt>
                <c:pt idx="798">
                  <c:v>1144.9318645833328</c:v>
                </c:pt>
                <c:pt idx="799" formatCode="General">
                  <c:v>1145.0481524305562</c:v>
                </c:pt>
                <c:pt idx="800">
                  <c:v>1144.2756243055562</c:v>
                </c:pt>
                <c:pt idx="801">
                  <c:v>1144.6392385416668</c:v>
                </c:pt>
                <c:pt idx="802">
                  <c:v>1138.7118034722207</c:v>
                </c:pt>
                <c:pt idx="803">
                  <c:v>1138.5326760416669</c:v>
                </c:pt>
                <c:pt idx="804">
                  <c:v>1138.4689246527782</c:v>
                </c:pt>
                <c:pt idx="805">
                  <c:v>1137.7943076388892</c:v>
                </c:pt>
                <c:pt idx="806">
                  <c:v>1132.8160406250004</c:v>
                </c:pt>
                <c:pt idx="807">
                  <c:v>1121.3364888888902</c:v>
                </c:pt>
                <c:pt idx="808">
                  <c:v>1109.5594486111108</c:v>
                </c:pt>
                <c:pt idx="809">
                  <c:v>1099.3938972222213</c:v>
                </c:pt>
                <c:pt idx="810">
                  <c:v>1099.3038545138891</c:v>
                </c:pt>
                <c:pt idx="811">
                  <c:v>1123.4700156249999</c:v>
                </c:pt>
                <c:pt idx="812">
                  <c:v>1128.3747003472213</c:v>
                </c:pt>
                <c:pt idx="813">
                  <c:v>1128.2030677083326</c:v>
                </c:pt>
                <c:pt idx="814">
                  <c:v>1138.3728420138891</c:v>
                </c:pt>
                <c:pt idx="815">
                  <c:v>1145.3571899305555</c:v>
                </c:pt>
                <c:pt idx="816">
                  <c:v>1145.7667201388883</c:v>
                </c:pt>
                <c:pt idx="817">
                  <c:v>1146.1342479166674</c:v>
                </c:pt>
                <c:pt idx="818">
                  <c:v>1146.7938826388893</c:v>
                </c:pt>
                <c:pt idx="819">
                  <c:v>1144.7069534722218</c:v>
                </c:pt>
                <c:pt idx="820">
                  <c:v>1138.9339829861115</c:v>
                </c:pt>
                <c:pt idx="821">
                  <c:v>1137.6043399305559</c:v>
                </c:pt>
                <c:pt idx="822">
                  <c:v>1137.5841958333331</c:v>
                </c:pt>
                <c:pt idx="823">
                  <c:v>1137.059179861111</c:v>
                </c:pt>
                <c:pt idx="824">
                  <c:v>1137.3700350694446</c:v>
                </c:pt>
                <c:pt idx="825">
                  <c:v>1137.4731138888892</c:v>
                </c:pt>
                <c:pt idx="826">
                  <c:v>1137.4415642361121</c:v>
                </c:pt>
                <c:pt idx="827">
                  <c:v>1137.4273906250007</c:v>
                </c:pt>
                <c:pt idx="828">
                  <c:v>1137.5469444444452</c:v>
                </c:pt>
                <c:pt idx="829">
                  <c:v>1137.7933743055555</c:v>
                </c:pt>
                <c:pt idx="830">
                  <c:v>1141.0170152777775</c:v>
                </c:pt>
                <c:pt idx="831">
                  <c:v>1152.7220510416671</c:v>
                </c:pt>
                <c:pt idx="832">
                  <c:v>1155.1897281250003</c:v>
                </c:pt>
                <c:pt idx="833">
                  <c:v>1152.5045503472215</c:v>
                </c:pt>
                <c:pt idx="834">
                  <c:v>1156.2384020833344</c:v>
                </c:pt>
                <c:pt idx="835">
                  <c:v>1156.7919451388889</c:v>
                </c:pt>
                <c:pt idx="836">
                  <c:v>1155.8982493055555</c:v>
                </c:pt>
                <c:pt idx="837">
                  <c:v>1155.960393402778</c:v>
                </c:pt>
                <c:pt idx="838">
                  <c:v>1155.4489000000003</c:v>
                </c:pt>
                <c:pt idx="839">
                  <c:v>1154.4494277777781</c:v>
                </c:pt>
                <c:pt idx="840">
                  <c:v>1155.5901086805554</c:v>
                </c:pt>
                <c:pt idx="841">
                  <c:v>1155.2390100694433</c:v>
                </c:pt>
                <c:pt idx="842">
                  <c:v>1155.8177645833327</c:v>
                </c:pt>
                <c:pt idx="843">
                  <c:v>1156.2511263888898</c:v>
                </c:pt>
                <c:pt idx="844">
                  <c:v>1156.7547572916669</c:v>
                </c:pt>
                <c:pt idx="845">
                  <c:v>1156.1358354166669</c:v>
                </c:pt>
                <c:pt idx="846">
                  <c:v>1156.1089211805554</c:v>
                </c:pt>
                <c:pt idx="847">
                  <c:v>1157.492496527778</c:v>
                </c:pt>
                <c:pt idx="848">
                  <c:v>1156.1779909722227</c:v>
                </c:pt>
                <c:pt idx="849">
                  <c:v>1156.8510725694446</c:v>
                </c:pt>
                <c:pt idx="850">
                  <c:v>1156.4438086805555</c:v>
                </c:pt>
                <c:pt idx="851">
                  <c:v>1156.835321527778</c:v>
                </c:pt>
                <c:pt idx="852">
                  <c:v>1156.8079652777783</c:v>
                </c:pt>
                <c:pt idx="853">
                  <c:v>1157.3002656250007</c:v>
                </c:pt>
                <c:pt idx="854">
                  <c:v>1156.5629288194446</c:v>
                </c:pt>
                <c:pt idx="855">
                  <c:v>1156.7706635416678</c:v>
                </c:pt>
                <c:pt idx="856">
                  <c:v>1154.9563138888886</c:v>
                </c:pt>
                <c:pt idx="857">
                  <c:v>1152.7868965277769</c:v>
                </c:pt>
                <c:pt idx="858">
                  <c:v>1150.1674750000009</c:v>
                </c:pt>
                <c:pt idx="859">
                  <c:v>1147.9636454861111</c:v>
                </c:pt>
                <c:pt idx="860">
                  <c:v>1136.3183868055553</c:v>
                </c:pt>
                <c:pt idx="861">
                  <c:v>999.06750729166629</c:v>
                </c:pt>
                <c:pt idx="862">
                  <c:v>986.70861215277728</c:v>
                </c:pt>
                <c:pt idx="863">
                  <c:v>1147.6186826388882</c:v>
                </c:pt>
                <c:pt idx="864">
                  <c:v>1129.9460729166665</c:v>
                </c:pt>
                <c:pt idx="865">
                  <c:v>1139.4665357638889</c:v>
                </c:pt>
                <c:pt idx="866">
                  <c:v>1147.4554541666676</c:v>
                </c:pt>
                <c:pt idx="867">
                  <c:v>1147.4420493055557</c:v>
                </c:pt>
                <c:pt idx="868">
                  <c:v>1146.6330152777773</c:v>
                </c:pt>
                <c:pt idx="869">
                  <c:v>1144.9959288194445</c:v>
                </c:pt>
                <c:pt idx="870">
                  <c:v>1142.7720805555557</c:v>
                </c:pt>
                <c:pt idx="871">
                  <c:v>1140.4770725694452</c:v>
                </c:pt>
                <c:pt idx="872">
                  <c:v>1137.7411479166669</c:v>
                </c:pt>
                <c:pt idx="873">
                  <c:v>1137.4562756944447</c:v>
                </c:pt>
                <c:pt idx="874">
                  <c:v>1137.8590916666669</c:v>
                </c:pt>
                <c:pt idx="875">
                  <c:v>1136.5230475694445</c:v>
                </c:pt>
                <c:pt idx="876">
                  <c:v>1137.3789513888892</c:v>
                </c:pt>
                <c:pt idx="877">
                  <c:v>1137.8829010416664</c:v>
                </c:pt>
                <c:pt idx="878">
                  <c:v>1137.935503819444</c:v>
                </c:pt>
                <c:pt idx="879">
                  <c:v>1137.0312486111111</c:v>
                </c:pt>
                <c:pt idx="880">
                  <c:v>1137.6185586805559</c:v>
                </c:pt>
                <c:pt idx="881">
                  <c:v>1136.7141888888893</c:v>
                </c:pt>
                <c:pt idx="882">
                  <c:v>1136.6904881944447</c:v>
                </c:pt>
                <c:pt idx="883">
                  <c:v>1137.0718472222215</c:v>
                </c:pt>
                <c:pt idx="884">
                  <c:v>1137.590909722222</c:v>
                </c:pt>
                <c:pt idx="885">
                  <c:v>1137.5901010416671</c:v>
                </c:pt>
                <c:pt idx="886">
                  <c:v>1137.6130072916656</c:v>
                </c:pt>
                <c:pt idx="887">
                  <c:v>1137.4424694444449</c:v>
                </c:pt>
                <c:pt idx="888">
                  <c:v>1136.4377177083334</c:v>
                </c:pt>
                <c:pt idx="889">
                  <c:v>1137.5245579861119</c:v>
                </c:pt>
                <c:pt idx="890">
                  <c:v>1137.0664194444444</c:v>
                </c:pt>
                <c:pt idx="891">
                  <c:v>1137.1439305555552</c:v>
                </c:pt>
                <c:pt idx="892">
                  <c:v>1137.1590208333325</c:v>
                </c:pt>
                <c:pt idx="893">
                  <c:v>1137.2945954861118</c:v>
                </c:pt>
                <c:pt idx="894">
                  <c:v>1136.5835253472223</c:v>
                </c:pt>
                <c:pt idx="895">
                  <c:v>1137.4828232638883</c:v>
                </c:pt>
                <c:pt idx="896">
                  <c:v>1137.0580041666658</c:v>
                </c:pt>
                <c:pt idx="897">
                  <c:v>1137.7495684027776</c:v>
                </c:pt>
                <c:pt idx="898">
                  <c:v>1138.2221958333332</c:v>
                </c:pt>
                <c:pt idx="899">
                  <c:v>1137.6893784722226</c:v>
                </c:pt>
                <c:pt idx="900">
                  <c:v>1134.8391947916668</c:v>
                </c:pt>
                <c:pt idx="901">
                  <c:v>1136.9454677083331</c:v>
                </c:pt>
                <c:pt idx="902">
                  <c:v>1132.7485642361112</c:v>
                </c:pt>
                <c:pt idx="903">
                  <c:v>1136.0354548611101</c:v>
                </c:pt>
                <c:pt idx="904">
                  <c:v>1136.5189322916663</c:v>
                </c:pt>
                <c:pt idx="905">
                  <c:v>1135.3673666666664</c:v>
                </c:pt>
                <c:pt idx="906">
                  <c:v>1137.5873045138887</c:v>
                </c:pt>
                <c:pt idx="907">
                  <c:v>1137.8027142361109</c:v>
                </c:pt>
                <c:pt idx="908">
                  <c:v>1137.7334149305552</c:v>
                </c:pt>
                <c:pt idx="909">
                  <c:v>1141.4588809027778</c:v>
                </c:pt>
                <c:pt idx="910">
                  <c:v>1137.6574923611111</c:v>
                </c:pt>
                <c:pt idx="911">
                  <c:v>1137.4618840277776</c:v>
                </c:pt>
                <c:pt idx="912">
                  <c:v>1137.8274017361111</c:v>
                </c:pt>
                <c:pt idx="913">
                  <c:v>1137.5144593749999</c:v>
                </c:pt>
                <c:pt idx="914">
                  <c:v>1137.6716538194444</c:v>
                </c:pt>
                <c:pt idx="915">
                  <c:v>1137.7260312499998</c:v>
                </c:pt>
                <c:pt idx="916">
                  <c:v>1137.4995423611101</c:v>
                </c:pt>
                <c:pt idx="917">
                  <c:v>1138.068052430556</c:v>
                </c:pt>
                <c:pt idx="918">
                  <c:v>1138.2274010416668</c:v>
                </c:pt>
                <c:pt idx="919">
                  <c:v>1137.8764493055551</c:v>
                </c:pt>
                <c:pt idx="920">
                  <c:v>1138.0906291666672</c:v>
                </c:pt>
                <c:pt idx="921">
                  <c:v>1138.1329961805557</c:v>
                </c:pt>
                <c:pt idx="922">
                  <c:v>1137.8032427083342</c:v>
                </c:pt>
                <c:pt idx="923">
                  <c:v>1138.0457843749998</c:v>
                </c:pt>
                <c:pt idx="924">
                  <c:v>1137.9957753472224</c:v>
                </c:pt>
                <c:pt idx="925">
                  <c:v>1138.0534704861111</c:v>
                </c:pt>
                <c:pt idx="926">
                  <c:v>1137.9365374999991</c:v>
                </c:pt>
                <c:pt idx="927">
                  <c:v>1137.4393326388883</c:v>
                </c:pt>
                <c:pt idx="928">
                  <c:v>1137.662543055555</c:v>
                </c:pt>
                <c:pt idx="929">
                  <c:v>1137.8371673611114</c:v>
                </c:pt>
                <c:pt idx="930">
                  <c:v>1137.0494847222215</c:v>
                </c:pt>
                <c:pt idx="931">
                  <c:v>1138.0516597222231</c:v>
                </c:pt>
                <c:pt idx="932">
                  <c:v>1137.5560593749999</c:v>
                </c:pt>
                <c:pt idx="933">
                  <c:v>1137.917960069444</c:v>
                </c:pt>
                <c:pt idx="934">
                  <c:v>1137.7386697916672</c:v>
                </c:pt>
                <c:pt idx="935">
                  <c:v>1137.6048281250005</c:v>
                </c:pt>
                <c:pt idx="936">
                  <c:v>1137.351338194444</c:v>
                </c:pt>
                <c:pt idx="937">
                  <c:v>1137.8141149305554</c:v>
                </c:pt>
                <c:pt idx="938">
                  <c:v>1137.6499607638891</c:v>
                </c:pt>
                <c:pt idx="939">
                  <c:v>1136.9667847222227</c:v>
                </c:pt>
                <c:pt idx="940">
                  <c:v>1137.4609253472222</c:v>
                </c:pt>
                <c:pt idx="941">
                  <c:v>1137.6376708333335</c:v>
                </c:pt>
                <c:pt idx="942">
                  <c:v>1137.9094531249998</c:v>
                </c:pt>
                <c:pt idx="943">
                  <c:v>1137.5581638888882</c:v>
                </c:pt>
                <c:pt idx="944">
                  <c:v>1136.4683763888888</c:v>
                </c:pt>
                <c:pt idx="945">
                  <c:v>1133.5791819444455</c:v>
                </c:pt>
                <c:pt idx="946">
                  <c:v>1137.0676583333332</c:v>
                </c:pt>
                <c:pt idx="947">
                  <c:v>1137.7128597222222</c:v>
                </c:pt>
                <c:pt idx="948">
                  <c:v>1137.7373447916668</c:v>
                </c:pt>
                <c:pt idx="949">
                  <c:v>1137.9278725694455</c:v>
                </c:pt>
                <c:pt idx="950">
                  <c:v>1137.895358680556</c:v>
                </c:pt>
                <c:pt idx="951">
                  <c:v>1137.5346923611114</c:v>
                </c:pt>
                <c:pt idx="952">
                  <c:v>1137.3684201388896</c:v>
                </c:pt>
                <c:pt idx="953">
                  <c:v>1136.1067562499998</c:v>
                </c:pt>
                <c:pt idx="954">
                  <c:v>1134.3132048611105</c:v>
                </c:pt>
                <c:pt idx="955">
                  <c:v>1096.3167201388892</c:v>
                </c:pt>
                <c:pt idx="956">
                  <c:v>757.30783576388899</c:v>
                </c:pt>
                <c:pt idx="957">
                  <c:v>941.54724826388883</c:v>
                </c:pt>
                <c:pt idx="958">
                  <c:v>1137.093943402778</c:v>
                </c:pt>
                <c:pt idx="959">
                  <c:v>1135.6376357638885</c:v>
                </c:pt>
                <c:pt idx="960">
                  <c:v>1137.816047916667</c:v>
                </c:pt>
                <c:pt idx="961">
                  <c:v>1138.0097788194455</c:v>
                </c:pt>
                <c:pt idx="962">
                  <c:v>1137.9155409722207</c:v>
                </c:pt>
                <c:pt idx="963">
                  <c:v>1138.2223343749997</c:v>
                </c:pt>
                <c:pt idx="964">
                  <c:v>1138.1676406249999</c:v>
                </c:pt>
                <c:pt idx="965">
                  <c:v>1137.8031107638897</c:v>
                </c:pt>
                <c:pt idx="966">
                  <c:v>1137.7296649305545</c:v>
                </c:pt>
                <c:pt idx="967">
                  <c:v>1137.7176218749989</c:v>
                </c:pt>
                <c:pt idx="968">
                  <c:v>1137.7495614583333</c:v>
                </c:pt>
                <c:pt idx="969">
                  <c:v>1137.711665277779</c:v>
                </c:pt>
                <c:pt idx="970">
                  <c:v>1136.1524590277781</c:v>
                </c:pt>
                <c:pt idx="971">
                  <c:v>1137.8434534722207</c:v>
                </c:pt>
                <c:pt idx="972">
                  <c:v>1137.8882128472217</c:v>
                </c:pt>
                <c:pt idx="973">
                  <c:v>1137.4928177083336</c:v>
                </c:pt>
                <c:pt idx="974">
                  <c:v>1137.6404180555555</c:v>
                </c:pt>
                <c:pt idx="975">
                  <c:v>1137.1212017361115</c:v>
                </c:pt>
                <c:pt idx="976">
                  <c:v>1137.0751062500001</c:v>
                </c:pt>
                <c:pt idx="977">
                  <c:v>1136.701648263889</c:v>
                </c:pt>
                <c:pt idx="978">
                  <c:v>1137.951942013889</c:v>
                </c:pt>
                <c:pt idx="979">
                  <c:v>1137.8243003472228</c:v>
                </c:pt>
                <c:pt idx="980">
                  <c:v>1137.3926871527781</c:v>
                </c:pt>
                <c:pt idx="981">
                  <c:v>1137.3377111111115</c:v>
                </c:pt>
                <c:pt idx="982">
                  <c:v>1137.6427999999999</c:v>
                </c:pt>
                <c:pt idx="983">
                  <c:v>1137.7595017361105</c:v>
                </c:pt>
                <c:pt idx="984">
                  <c:v>1138.1974333333339</c:v>
                </c:pt>
                <c:pt idx="985">
                  <c:v>1137.6527246527771</c:v>
                </c:pt>
                <c:pt idx="986">
                  <c:v>1137.9107718749999</c:v>
                </c:pt>
                <c:pt idx="987">
                  <c:v>1137.2211829861114</c:v>
                </c:pt>
                <c:pt idx="988">
                  <c:v>1137.3142381944449</c:v>
                </c:pt>
                <c:pt idx="989">
                  <c:v>1136.8617024305559</c:v>
                </c:pt>
                <c:pt idx="990">
                  <c:v>1135.7702170138891</c:v>
                </c:pt>
                <c:pt idx="991">
                  <c:v>1137.0722361111111</c:v>
                </c:pt>
                <c:pt idx="992">
                  <c:v>1135.8992795138897</c:v>
                </c:pt>
                <c:pt idx="993">
                  <c:v>1137.3898145833336</c:v>
                </c:pt>
                <c:pt idx="994">
                  <c:v>1137.1255718749987</c:v>
                </c:pt>
                <c:pt idx="995">
                  <c:v>1137.7107934027777</c:v>
                </c:pt>
                <c:pt idx="996">
                  <c:v>1136.9387277777769</c:v>
                </c:pt>
                <c:pt idx="997">
                  <c:v>1125.8596322916667</c:v>
                </c:pt>
                <c:pt idx="998">
                  <c:v>1104.483564583333</c:v>
                </c:pt>
                <c:pt idx="999">
                  <c:v>1136.8162614583339</c:v>
                </c:pt>
                <c:pt idx="1000">
                  <c:v>1138.0274781249989</c:v>
                </c:pt>
                <c:pt idx="1001">
                  <c:v>1137.8335715277778</c:v>
                </c:pt>
                <c:pt idx="1002">
                  <c:v>1137.7535135416672</c:v>
                </c:pt>
                <c:pt idx="1003">
                  <c:v>1137.5056600694447</c:v>
                </c:pt>
                <c:pt idx="1004">
                  <c:v>1137.7877451388895</c:v>
                </c:pt>
                <c:pt idx="1005">
                  <c:v>1137.7701604166664</c:v>
                </c:pt>
                <c:pt idx="1006">
                  <c:v>1137.7662461805555</c:v>
                </c:pt>
                <c:pt idx="1007">
                  <c:v>1137.7920444444437</c:v>
                </c:pt>
                <c:pt idx="1008">
                  <c:v>1137.8066156249997</c:v>
                </c:pt>
                <c:pt idx="1009">
                  <c:v>1137.7736187500009</c:v>
                </c:pt>
                <c:pt idx="1010">
                  <c:v>1137.6521083333341</c:v>
                </c:pt>
                <c:pt idx="1011">
                  <c:v>1137.633663888889</c:v>
                </c:pt>
                <c:pt idx="1012">
                  <c:v>1137.8230298611113</c:v>
                </c:pt>
                <c:pt idx="1013">
                  <c:v>1137.9234583333332</c:v>
                </c:pt>
                <c:pt idx="1014">
                  <c:v>1137.5309114583331</c:v>
                </c:pt>
                <c:pt idx="1015">
                  <c:v>1134.4952725694445</c:v>
                </c:pt>
                <c:pt idx="1016">
                  <c:v>1137.7584718749997</c:v>
                </c:pt>
                <c:pt idx="1017">
                  <c:v>1137.6711166666664</c:v>
                </c:pt>
                <c:pt idx="1018">
                  <c:v>1137.4522475694453</c:v>
                </c:pt>
                <c:pt idx="1019">
                  <c:v>1137.7289531249992</c:v>
                </c:pt>
                <c:pt idx="1020">
                  <c:v>1137.7201447916668</c:v>
                </c:pt>
                <c:pt idx="1021">
                  <c:v>1137.5521482638883</c:v>
                </c:pt>
                <c:pt idx="1022">
                  <c:v>1137.557507986111</c:v>
                </c:pt>
                <c:pt idx="1023">
                  <c:v>1137.832540624999</c:v>
                </c:pt>
                <c:pt idx="1024">
                  <c:v>1137.8745781250002</c:v>
                </c:pt>
                <c:pt idx="1025">
                  <c:v>1137.8637152777778</c:v>
                </c:pt>
                <c:pt idx="1026">
                  <c:v>1137.8411045138894</c:v>
                </c:pt>
                <c:pt idx="1027">
                  <c:v>1135.8693583333329</c:v>
                </c:pt>
                <c:pt idx="1028">
                  <c:v>1136.4481986111107</c:v>
                </c:pt>
                <c:pt idx="1029">
                  <c:v>1121.9755604166671</c:v>
                </c:pt>
                <c:pt idx="1030">
                  <c:v>927.54036874999986</c:v>
                </c:pt>
                <c:pt idx="1031">
                  <c:v>948.9211368055561</c:v>
                </c:pt>
                <c:pt idx="1032">
                  <c:v>1137.4256208333338</c:v>
                </c:pt>
                <c:pt idx="1033">
                  <c:v>1137.6486100694444</c:v>
                </c:pt>
                <c:pt idx="1034">
                  <c:v>1137.0278781249999</c:v>
                </c:pt>
                <c:pt idx="1035">
                  <c:v>1135.644580208334</c:v>
                </c:pt>
                <c:pt idx="1036">
                  <c:v>1136.9002013888887</c:v>
                </c:pt>
                <c:pt idx="1037">
                  <c:v>1137.0669493055557</c:v>
                </c:pt>
                <c:pt idx="1038">
                  <c:v>1137.6177628472233</c:v>
                </c:pt>
                <c:pt idx="1039">
                  <c:v>1137.5695232638893</c:v>
                </c:pt>
                <c:pt idx="1040">
                  <c:v>1137.0784545138893</c:v>
                </c:pt>
                <c:pt idx="1041">
                  <c:v>1137.7485211805558</c:v>
                </c:pt>
                <c:pt idx="1042">
                  <c:v>1136.3333215277773</c:v>
                </c:pt>
                <c:pt idx="1043">
                  <c:v>1137.6191611111121</c:v>
                </c:pt>
                <c:pt idx="1044">
                  <c:v>1137.4729687499992</c:v>
                </c:pt>
                <c:pt idx="1045">
                  <c:v>1136.8999204861107</c:v>
                </c:pt>
                <c:pt idx="1046">
                  <c:v>1136.9176010416663</c:v>
                </c:pt>
                <c:pt idx="1047">
                  <c:v>1137.3341642361113</c:v>
                </c:pt>
                <c:pt idx="1048">
                  <c:v>1136.6539138888877</c:v>
                </c:pt>
                <c:pt idx="1049">
                  <c:v>1138.027315625</c:v>
                </c:pt>
                <c:pt idx="1050">
                  <c:v>1137.821881597222</c:v>
                </c:pt>
                <c:pt idx="1051">
                  <c:v>1137.6330614583335</c:v>
                </c:pt>
                <c:pt idx="1052">
                  <c:v>1137.4406750000003</c:v>
                </c:pt>
                <c:pt idx="1053">
                  <c:v>1138.905265277778</c:v>
                </c:pt>
                <c:pt idx="1054">
                  <c:v>1139.6617670138896</c:v>
                </c:pt>
                <c:pt idx="1055">
                  <c:v>1137.0067513888889</c:v>
                </c:pt>
                <c:pt idx="1056">
                  <c:v>1136.8274350694439</c:v>
                </c:pt>
                <c:pt idx="1057">
                  <c:v>1136.8268670138889</c:v>
                </c:pt>
                <c:pt idx="1058">
                  <c:v>1137.1272875000004</c:v>
                </c:pt>
                <c:pt idx="1059">
                  <c:v>1134.8622072916676</c:v>
                </c:pt>
                <c:pt idx="1060">
                  <c:v>1136.1925479166669</c:v>
                </c:pt>
                <c:pt idx="1061">
                  <c:v>1137.2819836805556</c:v>
                </c:pt>
                <c:pt idx="1062">
                  <c:v>1136.4699767361103</c:v>
                </c:pt>
                <c:pt idx="1063">
                  <c:v>1137.6609951388896</c:v>
                </c:pt>
                <c:pt idx="1064">
                  <c:v>1136.4110541666664</c:v>
                </c:pt>
                <c:pt idx="1065">
                  <c:v>1137.2303163194445</c:v>
                </c:pt>
                <c:pt idx="1066">
                  <c:v>1136.7085843749996</c:v>
                </c:pt>
                <c:pt idx="1067">
                  <c:v>1137.0403638888886</c:v>
                </c:pt>
                <c:pt idx="1068">
                  <c:v>1137.9474680555561</c:v>
                </c:pt>
                <c:pt idx="1069">
                  <c:v>1138.1402312500002</c:v>
                </c:pt>
                <c:pt idx="1070">
                  <c:v>1137.4259222222217</c:v>
                </c:pt>
                <c:pt idx="1071">
                  <c:v>1136.6731277777778</c:v>
                </c:pt>
                <c:pt idx="1072">
                  <c:v>1136.9300458333337</c:v>
                </c:pt>
                <c:pt idx="1073">
                  <c:v>1137.6149534722217</c:v>
                </c:pt>
                <c:pt idx="1074">
                  <c:v>1137.6093496527781</c:v>
                </c:pt>
                <c:pt idx="1075">
                  <c:v>1136.5702489583341</c:v>
                </c:pt>
                <c:pt idx="1076">
                  <c:v>1137.9027711805556</c:v>
                </c:pt>
                <c:pt idx="1077">
                  <c:v>1138.1397975694447</c:v>
                </c:pt>
                <c:pt idx="1078">
                  <c:v>1137.628700347223</c:v>
                </c:pt>
                <c:pt idx="1079">
                  <c:v>1137.184990972223</c:v>
                </c:pt>
                <c:pt idx="1080">
                  <c:v>1137.5968142361116</c:v>
                </c:pt>
                <c:pt idx="1081">
                  <c:v>1137.4836454861108</c:v>
                </c:pt>
                <c:pt idx="1082">
                  <c:v>1137.7242743055556</c:v>
                </c:pt>
                <c:pt idx="1083">
                  <c:v>1137.6699173611105</c:v>
                </c:pt>
                <c:pt idx="1084">
                  <c:v>1136.3258965277776</c:v>
                </c:pt>
                <c:pt idx="1085">
                  <c:v>1133.0774454861119</c:v>
                </c:pt>
                <c:pt idx="1086">
                  <c:v>1137.9960628472218</c:v>
                </c:pt>
                <c:pt idx="1087">
                  <c:v>1138.5100555555555</c:v>
                </c:pt>
                <c:pt idx="1088">
                  <c:v>1138.2028868055561</c:v>
                </c:pt>
                <c:pt idx="1089">
                  <c:v>1138.1428746527774</c:v>
                </c:pt>
                <c:pt idx="1090">
                  <c:v>1138.200117013889</c:v>
                </c:pt>
                <c:pt idx="1091">
                  <c:v>1138.0733923611112</c:v>
                </c:pt>
                <c:pt idx="1092">
                  <c:v>1138.2140114583333</c:v>
                </c:pt>
                <c:pt idx="1093">
                  <c:v>1138.2237118055552</c:v>
                </c:pt>
                <c:pt idx="1094">
                  <c:v>1137.3873458333328</c:v>
                </c:pt>
                <c:pt idx="1095">
                  <c:v>1132.0624843750011</c:v>
                </c:pt>
              </c:numCache>
            </c:numRef>
          </c:yVal>
          <c:smooth val="0"/>
          <c:extLst>
            <c:ext xmlns:c16="http://schemas.microsoft.com/office/drawing/2014/chart" uri="{C3380CC4-5D6E-409C-BE32-E72D297353CC}">
              <c16:uniqueId val="{00000000-0AFA-422F-B7AD-65203F6BA004}"/>
            </c:ext>
          </c:extLst>
        </c:ser>
        <c:dLbls>
          <c:showLegendKey val="0"/>
          <c:showVal val="0"/>
          <c:showCatName val="0"/>
          <c:showSerName val="0"/>
          <c:showPercent val="0"/>
          <c:showBubbleSize val="0"/>
        </c:dLbls>
        <c:axId val="205206815"/>
        <c:axId val="205218463"/>
      </c:scatterChart>
      <c:valAx>
        <c:axId val="205206815"/>
        <c:scaling>
          <c:orientation val="minMax"/>
          <c:max val="0.55000000000000004"/>
          <c:min val="0.5"/>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218463"/>
        <c:crosses val="autoZero"/>
        <c:crossBetween val="midCat"/>
      </c:valAx>
      <c:valAx>
        <c:axId val="205218463"/>
        <c:scaling>
          <c:orientation val="minMax"/>
          <c:max val="1170"/>
          <c:min val="111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206815"/>
        <c:crosses val="autoZero"/>
        <c:crossBetween val="midCat"/>
      </c:valAx>
      <c:spPr>
        <a:noFill/>
        <a:ln>
          <a:noFill/>
        </a:ln>
        <a:effectLst/>
      </c:spPr>
    </c:plotArea>
    <c:plotVisOnly val="1"/>
    <c:dispBlanksAs val="gap"/>
    <c:showDLblsOverMax val="0"/>
  </c:chart>
  <c:spPr>
    <a:noFill/>
    <a:ln w="9525">
      <a:solidFill>
        <a:schemeClr val="tx2"/>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Contri Graph'!$C$6</c:f>
              <c:strCache>
                <c:ptCount val="1"/>
                <c:pt idx="0">
                  <c:v>kg CO2/tcs</c:v>
                </c:pt>
              </c:strCache>
            </c:strRef>
          </c:tx>
          <c:spPr>
            <a:solidFill>
              <a:srgbClr val="C8C8C8"/>
            </a:solidFill>
            <a:ln>
              <a:noFill/>
            </a:ln>
            <a:effectLst/>
          </c:spPr>
          <c:invertIfNegative val="0"/>
          <c:dPt>
            <c:idx val="4"/>
            <c:invertIfNegative val="0"/>
            <c:bubble3D val="0"/>
            <c:spPr>
              <a:solidFill>
                <a:srgbClr val="4472C4"/>
              </a:solidFill>
              <a:ln>
                <a:noFill/>
              </a:ln>
              <a:effectLst/>
            </c:spPr>
            <c:extLst>
              <c:ext xmlns:c16="http://schemas.microsoft.com/office/drawing/2014/chart" uri="{C3380CC4-5D6E-409C-BE32-E72D297353CC}">
                <c16:uniqueId val="{00000001-2D1C-4693-8C5A-35BB567728F7}"/>
              </c:ext>
            </c:extLst>
          </c:dPt>
          <c:dPt>
            <c:idx val="8"/>
            <c:invertIfNegative val="0"/>
            <c:bubble3D val="0"/>
            <c:spPr>
              <a:solidFill>
                <a:srgbClr val="4472C4"/>
              </a:solidFill>
              <a:ln>
                <a:noFill/>
              </a:ln>
              <a:effectLst/>
            </c:spPr>
            <c:extLst>
              <c:ext xmlns:c16="http://schemas.microsoft.com/office/drawing/2014/chart" uri="{C3380CC4-5D6E-409C-BE32-E72D297353CC}">
                <c16:uniqueId val="{00000003-2D1C-4693-8C5A-35BB567728F7}"/>
              </c:ext>
            </c:extLst>
          </c:dPt>
          <c:dPt>
            <c:idx val="10"/>
            <c:invertIfNegative val="0"/>
            <c:bubble3D val="0"/>
            <c:spPr>
              <a:solidFill>
                <a:srgbClr val="4472C4"/>
              </a:solidFill>
              <a:ln>
                <a:noFill/>
              </a:ln>
              <a:effectLst/>
            </c:spPr>
            <c:extLst>
              <c:ext xmlns:c16="http://schemas.microsoft.com/office/drawing/2014/chart" uri="{C3380CC4-5D6E-409C-BE32-E72D297353CC}">
                <c16:uniqueId val="{00000005-2D1C-4693-8C5A-35BB567728F7}"/>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Trebuchet MS" panose="020B06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ntri Graph'!$B$7:$B$19</c:f>
              <c:strCache>
                <c:ptCount val="13"/>
                <c:pt idx="0">
                  <c:v>OBP</c:v>
                </c:pt>
                <c:pt idx="1">
                  <c:v>LP Mills</c:v>
                </c:pt>
                <c:pt idx="2">
                  <c:v>COP</c:v>
                </c:pt>
                <c:pt idx="3">
                  <c:v>CRM</c:v>
                </c:pt>
                <c:pt idx="4">
                  <c:v>DRI</c:v>
                </c:pt>
                <c:pt idx="5">
                  <c:v>Others</c:v>
                </c:pt>
                <c:pt idx="6">
                  <c:v>HSM</c:v>
                </c:pt>
                <c:pt idx="7">
                  <c:v>Pellet</c:v>
                </c:pt>
                <c:pt idx="8">
                  <c:v>LCP</c:v>
                </c:pt>
                <c:pt idx="9">
                  <c:v>Corex</c:v>
                </c:pt>
                <c:pt idx="10">
                  <c:v>SMS</c:v>
                </c:pt>
                <c:pt idx="11">
                  <c:v>Sinter</c:v>
                </c:pt>
                <c:pt idx="12">
                  <c:v>BF</c:v>
                </c:pt>
              </c:strCache>
            </c:strRef>
          </c:cat>
          <c:val>
            <c:numRef>
              <c:f>'Contri Graph'!$C$7:$C$19</c:f>
              <c:numCache>
                <c:formatCode>General</c:formatCode>
                <c:ptCount val="13"/>
                <c:pt idx="0">
                  <c:v>21</c:v>
                </c:pt>
                <c:pt idx="1">
                  <c:v>44</c:v>
                </c:pt>
                <c:pt idx="2">
                  <c:v>62</c:v>
                </c:pt>
                <c:pt idx="3">
                  <c:v>72</c:v>
                </c:pt>
                <c:pt idx="4">
                  <c:v>78</c:v>
                </c:pt>
                <c:pt idx="5">
                  <c:v>98</c:v>
                </c:pt>
                <c:pt idx="6">
                  <c:v>116</c:v>
                </c:pt>
                <c:pt idx="7">
                  <c:v>129</c:v>
                </c:pt>
                <c:pt idx="8">
                  <c:v>151</c:v>
                </c:pt>
                <c:pt idx="9">
                  <c:v>191</c:v>
                </c:pt>
                <c:pt idx="10">
                  <c:v>238</c:v>
                </c:pt>
                <c:pt idx="11">
                  <c:v>297</c:v>
                </c:pt>
                <c:pt idx="12">
                  <c:v>1134</c:v>
                </c:pt>
              </c:numCache>
            </c:numRef>
          </c:val>
          <c:extLst>
            <c:ext xmlns:c16="http://schemas.microsoft.com/office/drawing/2014/chart" uri="{C3380CC4-5D6E-409C-BE32-E72D297353CC}">
              <c16:uniqueId val="{00000006-2D1C-4693-8C5A-35BB567728F7}"/>
            </c:ext>
          </c:extLst>
        </c:ser>
        <c:dLbls>
          <c:dLblPos val="outEnd"/>
          <c:showLegendKey val="0"/>
          <c:showVal val="1"/>
          <c:showCatName val="0"/>
          <c:showSerName val="0"/>
          <c:showPercent val="0"/>
          <c:showBubbleSize val="0"/>
        </c:dLbls>
        <c:gapWidth val="50"/>
        <c:overlap val="50"/>
        <c:axId val="622098208"/>
        <c:axId val="622097728"/>
      </c:barChart>
      <c:catAx>
        <c:axId val="622098208"/>
        <c:scaling>
          <c:orientation val="minMax"/>
        </c:scaling>
        <c:delete val="0"/>
        <c:axPos val="l"/>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chemeClr val="tx1"/>
                </a:solidFill>
                <a:latin typeface="Trebuchet MS" panose="020B0603020202020204" pitchFamily="34" charset="0"/>
                <a:ea typeface="+mn-ea"/>
                <a:cs typeface="+mn-cs"/>
              </a:defRPr>
            </a:pPr>
            <a:endParaRPr lang="en-US"/>
          </a:p>
        </c:txPr>
        <c:crossAx val="622097728"/>
        <c:crosses val="autoZero"/>
        <c:auto val="1"/>
        <c:lblAlgn val="ctr"/>
        <c:lblOffset val="100"/>
        <c:noMultiLvlLbl val="0"/>
      </c:catAx>
      <c:valAx>
        <c:axId val="622097728"/>
        <c:scaling>
          <c:orientation val="minMax"/>
        </c:scaling>
        <c:delete val="1"/>
        <c:axPos val="b"/>
        <c:numFmt formatCode="General" sourceLinked="1"/>
        <c:majorTickMark val="none"/>
        <c:minorTickMark val="none"/>
        <c:tickLblPos val="nextTo"/>
        <c:crossAx val="622098208"/>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Volume</a:t>
            </a:r>
            <a:r>
              <a:rPr lang="en-US" baseline="0" dirty="0" smtClean="0"/>
              <a:t> Comparison Graph</a:t>
            </a:r>
            <a:endParaRPr lang="en-US" dirty="0"/>
          </a:p>
        </c:rich>
      </c:tx>
      <c:layout>
        <c:manualLayout>
          <c:xMode val="edge"/>
          <c:yMode val="edge"/>
          <c:x val="0.41716920931758528"/>
          <c:y val="3.634710194467728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Y$1:$Y$2</c:f>
              <c:strCache>
                <c:ptCount val="2"/>
                <c:pt idx="0">
                  <c:v>Total BF Gas Generated</c:v>
                </c:pt>
                <c:pt idx="1">
                  <c:v>Nm3/day</c:v>
                </c:pt>
              </c:strCache>
            </c:strRef>
          </c:tx>
          <c:spPr>
            <a:ln w="28575" cap="rnd">
              <a:solidFill>
                <a:schemeClr val="accent1"/>
              </a:solidFill>
              <a:round/>
            </a:ln>
            <a:effectLst/>
          </c:spPr>
          <c:marker>
            <c:symbol val="none"/>
          </c:marker>
          <c:val>
            <c:numRef>
              <c:f>Sheet1!$Y$3:$Y$1106</c:f>
              <c:numCache>
                <c:formatCode>0</c:formatCode>
                <c:ptCount val="1104"/>
                <c:pt idx="0">
                  <c:v>11312144.435033301</c:v>
                </c:pt>
                <c:pt idx="1">
                  <c:v>12381559.5236583</c:v>
                </c:pt>
                <c:pt idx="2">
                  <c:v>13755435.01045</c:v>
                </c:pt>
                <c:pt idx="3">
                  <c:v>13776863.76025</c:v>
                </c:pt>
                <c:pt idx="4">
                  <c:v>13628300.502775</c:v>
                </c:pt>
                <c:pt idx="5">
                  <c:v>13621903.710991699</c:v>
                </c:pt>
                <c:pt idx="6">
                  <c:v>13501882.1883917</c:v>
                </c:pt>
                <c:pt idx="7">
                  <c:v>11053593.580050001</c:v>
                </c:pt>
                <c:pt idx="8">
                  <c:v>12664313.330916701</c:v>
                </c:pt>
                <c:pt idx="9">
                  <c:v>13619743.0948833</c:v>
                </c:pt>
                <c:pt idx="10">
                  <c:v>13578172.862074999</c:v>
                </c:pt>
                <c:pt idx="11">
                  <c:v>13461520.2085917</c:v>
                </c:pt>
                <c:pt idx="12">
                  <c:v>13625775.561674999</c:v>
                </c:pt>
                <c:pt idx="13">
                  <c:v>13605608.375724999</c:v>
                </c:pt>
                <c:pt idx="14">
                  <c:v>13564735.271074999</c:v>
                </c:pt>
                <c:pt idx="15">
                  <c:v>13621903.967791701</c:v>
                </c:pt>
                <c:pt idx="16">
                  <c:v>13493614.894275</c:v>
                </c:pt>
                <c:pt idx="17">
                  <c:v>13635578.466266699</c:v>
                </c:pt>
                <c:pt idx="18">
                  <c:v>13636119.9037</c:v>
                </c:pt>
                <c:pt idx="19">
                  <c:v>13749132.234099999</c:v>
                </c:pt>
                <c:pt idx="20">
                  <c:v>13690819.590375001</c:v>
                </c:pt>
                <c:pt idx="21">
                  <c:v>13664307.327225</c:v>
                </c:pt>
                <c:pt idx="22">
                  <c:v>13630580.377350001</c:v>
                </c:pt>
                <c:pt idx="23">
                  <c:v>13578895.113141701</c:v>
                </c:pt>
                <c:pt idx="24">
                  <c:v>13603901.184991701</c:v>
                </c:pt>
                <c:pt idx="25">
                  <c:v>13657813.568608301</c:v>
                </c:pt>
                <c:pt idx="26">
                  <c:v>13692121.718599999</c:v>
                </c:pt>
                <c:pt idx="27">
                  <c:v>13648458.0998083</c:v>
                </c:pt>
                <c:pt idx="28">
                  <c:v>13618735.610941701</c:v>
                </c:pt>
                <c:pt idx="29">
                  <c:v>12290028.700649999</c:v>
                </c:pt>
                <c:pt idx="30">
                  <c:v>13744529.726199999</c:v>
                </c:pt>
                <c:pt idx="31">
                  <c:v>13567543.889450001</c:v>
                </c:pt>
                <c:pt idx="32">
                  <c:v>13595497.562866701</c:v>
                </c:pt>
                <c:pt idx="33">
                  <c:v>13560145.3735833</c:v>
                </c:pt>
                <c:pt idx="34">
                  <c:v>13602908.172775</c:v>
                </c:pt>
                <c:pt idx="35">
                  <c:v>13699905.520091699</c:v>
                </c:pt>
                <c:pt idx="36">
                  <c:v>13569464.69365</c:v>
                </c:pt>
                <c:pt idx="37">
                  <c:v>13576839.544166701</c:v>
                </c:pt>
                <c:pt idx="38">
                  <c:v>13492275.355441701</c:v>
                </c:pt>
                <c:pt idx="39">
                  <c:v>13577023.563133299</c:v>
                </c:pt>
                <c:pt idx="40">
                  <c:v>13662550.1219333</c:v>
                </c:pt>
                <c:pt idx="41">
                  <c:v>13696476.171566701</c:v>
                </c:pt>
                <c:pt idx="42">
                  <c:v>13704020.2713333</c:v>
                </c:pt>
                <c:pt idx="43">
                  <c:v>13653830.49925</c:v>
                </c:pt>
                <c:pt idx="44">
                  <c:v>13556541.9277167</c:v>
                </c:pt>
                <c:pt idx="45">
                  <c:v>13410362.602616699</c:v>
                </c:pt>
                <c:pt idx="46">
                  <c:v>13226394.516583299</c:v>
                </c:pt>
                <c:pt idx="47">
                  <c:v>13644326.245216699</c:v>
                </c:pt>
                <c:pt idx="48">
                  <c:v>13541026.819283299</c:v>
                </c:pt>
                <c:pt idx="49">
                  <c:v>13375305.5844</c:v>
                </c:pt>
                <c:pt idx="50">
                  <c:v>13356219.236408301</c:v>
                </c:pt>
                <c:pt idx="51">
                  <c:v>13585332.3780417</c:v>
                </c:pt>
                <c:pt idx="52">
                  <c:v>13462451.9218583</c:v>
                </c:pt>
                <c:pt idx="53">
                  <c:v>13393698.88855</c:v>
                </c:pt>
                <c:pt idx="54">
                  <c:v>13227450.0929083</c:v>
                </c:pt>
                <c:pt idx="55">
                  <c:v>13439284.5357667</c:v>
                </c:pt>
                <c:pt idx="56">
                  <c:v>13407112.292400001</c:v>
                </c:pt>
                <c:pt idx="57">
                  <c:v>13255890.445183299</c:v>
                </c:pt>
                <c:pt idx="58">
                  <c:v>13347438.1267667</c:v>
                </c:pt>
                <c:pt idx="59">
                  <c:v>13581796.2298583</c:v>
                </c:pt>
                <c:pt idx="60">
                  <c:v>13550608.1507833</c:v>
                </c:pt>
                <c:pt idx="61">
                  <c:v>13342133.0867</c:v>
                </c:pt>
                <c:pt idx="62">
                  <c:v>13188800.207583301</c:v>
                </c:pt>
                <c:pt idx="63">
                  <c:v>13127880.142349999</c:v>
                </c:pt>
                <c:pt idx="64">
                  <c:v>13620409.462966699</c:v>
                </c:pt>
                <c:pt idx="65">
                  <c:v>13227275.8938167</c:v>
                </c:pt>
                <c:pt idx="66">
                  <c:v>13446062.129258299</c:v>
                </c:pt>
                <c:pt idx="67">
                  <c:v>13500532.1159667</c:v>
                </c:pt>
                <c:pt idx="68">
                  <c:v>13565425.413241699</c:v>
                </c:pt>
                <c:pt idx="69">
                  <c:v>13629796.151058299</c:v>
                </c:pt>
                <c:pt idx="70">
                  <c:v>13306475.147825001</c:v>
                </c:pt>
                <c:pt idx="71">
                  <c:v>13259485.8712667</c:v>
                </c:pt>
                <c:pt idx="72">
                  <c:v>13550015.520950001</c:v>
                </c:pt>
                <c:pt idx="73">
                  <c:v>13558616.521833301</c:v>
                </c:pt>
                <c:pt idx="74">
                  <c:v>13626071.5255</c:v>
                </c:pt>
                <c:pt idx="75">
                  <c:v>13684065.4829167</c:v>
                </c:pt>
                <c:pt idx="76">
                  <c:v>13549973.9719583</c:v>
                </c:pt>
                <c:pt idx="77">
                  <c:v>13569105.4805167</c:v>
                </c:pt>
                <c:pt idx="78">
                  <c:v>13613942.308041699</c:v>
                </c:pt>
                <c:pt idx="79">
                  <c:v>13683589.0881333</c:v>
                </c:pt>
                <c:pt idx="80">
                  <c:v>13589930.876791701</c:v>
                </c:pt>
                <c:pt idx="81">
                  <c:v>13562463.7032333</c:v>
                </c:pt>
                <c:pt idx="82">
                  <c:v>13513076.0528</c:v>
                </c:pt>
                <c:pt idx="83">
                  <c:v>13502148.279300001</c:v>
                </c:pt>
                <c:pt idx="84">
                  <c:v>13393235.25715</c:v>
                </c:pt>
                <c:pt idx="85">
                  <c:v>13526785.7263583</c:v>
                </c:pt>
                <c:pt idx="86">
                  <c:v>13674198.6136667</c:v>
                </c:pt>
                <c:pt idx="87">
                  <c:v>13539484.1011083</c:v>
                </c:pt>
                <c:pt idx="88">
                  <c:v>13565284.10705</c:v>
                </c:pt>
                <c:pt idx="89">
                  <c:v>13430180.0305</c:v>
                </c:pt>
                <c:pt idx="90">
                  <c:v>13302974.1624333</c:v>
                </c:pt>
                <c:pt idx="91">
                  <c:v>13141916.9122917</c:v>
                </c:pt>
                <c:pt idx="92">
                  <c:v>13473219.958216701</c:v>
                </c:pt>
                <c:pt idx="93">
                  <c:v>13563765.2794083</c:v>
                </c:pt>
                <c:pt idx="94">
                  <c:v>13516266.437550001</c:v>
                </c:pt>
                <c:pt idx="95">
                  <c:v>13474058.6129</c:v>
                </c:pt>
                <c:pt idx="96">
                  <c:v>13503802.788175</c:v>
                </c:pt>
                <c:pt idx="97">
                  <c:v>12947228.653658301</c:v>
                </c:pt>
                <c:pt idx="98">
                  <c:v>12486760.826300001</c:v>
                </c:pt>
                <c:pt idx="99">
                  <c:v>13015967.543191699</c:v>
                </c:pt>
                <c:pt idx="100">
                  <c:v>12985084.629149999</c:v>
                </c:pt>
                <c:pt idx="101">
                  <c:v>10821196.321258301</c:v>
                </c:pt>
                <c:pt idx="102">
                  <c:v>13275908.047241701</c:v>
                </c:pt>
                <c:pt idx="103">
                  <c:v>13520582.3101083</c:v>
                </c:pt>
                <c:pt idx="104">
                  <c:v>13063789.413474999</c:v>
                </c:pt>
                <c:pt idx="105">
                  <c:v>12638985.175525</c:v>
                </c:pt>
                <c:pt idx="106">
                  <c:v>12684020.874575</c:v>
                </c:pt>
                <c:pt idx="107">
                  <c:v>12954216.3102</c:v>
                </c:pt>
                <c:pt idx="108">
                  <c:v>13081814.0401417</c:v>
                </c:pt>
                <c:pt idx="109">
                  <c:v>13096546.106808299</c:v>
                </c:pt>
                <c:pt idx="110">
                  <c:v>11979045.4939333</c:v>
                </c:pt>
                <c:pt idx="111">
                  <c:v>11385552.3714417</c:v>
                </c:pt>
                <c:pt idx="112">
                  <c:v>10201275.9695333</c:v>
                </c:pt>
                <c:pt idx="113">
                  <c:v>10889057.5702167</c:v>
                </c:pt>
                <c:pt idx="114">
                  <c:v>10242753.389808301</c:v>
                </c:pt>
                <c:pt idx="115">
                  <c:v>11306702.4226833</c:v>
                </c:pt>
                <c:pt idx="116">
                  <c:v>13206191.3857833</c:v>
                </c:pt>
                <c:pt idx="117">
                  <c:v>13255562.191616699</c:v>
                </c:pt>
                <c:pt idx="118">
                  <c:v>13353128.053541699</c:v>
                </c:pt>
                <c:pt idx="119">
                  <c:v>13403614.9511417</c:v>
                </c:pt>
                <c:pt idx="120">
                  <c:v>13440362.5605917</c:v>
                </c:pt>
                <c:pt idx="121">
                  <c:v>13655155.6277833</c:v>
                </c:pt>
                <c:pt idx="122">
                  <c:v>13442600.430175001</c:v>
                </c:pt>
                <c:pt idx="123">
                  <c:v>13400757.689541699</c:v>
                </c:pt>
                <c:pt idx="124">
                  <c:v>13576583.720158299</c:v>
                </c:pt>
                <c:pt idx="125">
                  <c:v>13588023.160141701</c:v>
                </c:pt>
                <c:pt idx="126">
                  <c:v>13505868.869258299</c:v>
                </c:pt>
                <c:pt idx="127">
                  <c:v>13433603.0770417</c:v>
                </c:pt>
                <c:pt idx="128">
                  <c:v>13493966.578858299</c:v>
                </c:pt>
                <c:pt idx="129">
                  <c:v>13495763.78115</c:v>
                </c:pt>
                <c:pt idx="130">
                  <c:v>13254084.931283301</c:v>
                </c:pt>
                <c:pt idx="131">
                  <c:v>13487321.5084417</c:v>
                </c:pt>
                <c:pt idx="132">
                  <c:v>13524776.7256</c:v>
                </c:pt>
                <c:pt idx="133">
                  <c:v>13304262.975175001</c:v>
                </c:pt>
                <c:pt idx="134">
                  <c:v>13304262.975175001</c:v>
                </c:pt>
                <c:pt idx="135">
                  <c:v>12962711.96885</c:v>
                </c:pt>
                <c:pt idx="136">
                  <c:v>13399162.473841701</c:v>
                </c:pt>
                <c:pt idx="137">
                  <c:v>13290986.700683299</c:v>
                </c:pt>
                <c:pt idx="138">
                  <c:v>13438922.8080667</c:v>
                </c:pt>
                <c:pt idx="139">
                  <c:v>13434632.816308299</c:v>
                </c:pt>
                <c:pt idx="140">
                  <c:v>13340109.953366701</c:v>
                </c:pt>
                <c:pt idx="141">
                  <c:v>11530728.911283299</c:v>
                </c:pt>
                <c:pt idx="142">
                  <c:v>13371053.4987083</c:v>
                </c:pt>
                <c:pt idx="143">
                  <c:v>13585794.348866699</c:v>
                </c:pt>
                <c:pt idx="144">
                  <c:v>13572167.201341599</c:v>
                </c:pt>
                <c:pt idx="145">
                  <c:v>13609591.152583299</c:v>
                </c:pt>
                <c:pt idx="146">
                  <c:v>13514735.717924999</c:v>
                </c:pt>
                <c:pt idx="147">
                  <c:v>13547145.5275</c:v>
                </c:pt>
                <c:pt idx="148">
                  <c:v>13575733.856875001</c:v>
                </c:pt>
                <c:pt idx="149">
                  <c:v>13667078.856775001</c:v>
                </c:pt>
                <c:pt idx="150">
                  <c:v>13664743.626158301</c:v>
                </c:pt>
                <c:pt idx="151">
                  <c:v>13607767.7240417</c:v>
                </c:pt>
                <c:pt idx="152">
                  <c:v>13515719.229933299</c:v>
                </c:pt>
                <c:pt idx="153">
                  <c:v>13353114.89085</c:v>
                </c:pt>
                <c:pt idx="154">
                  <c:v>13361382.2481417</c:v>
                </c:pt>
                <c:pt idx="155">
                  <c:v>13492933.8593833</c:v>
                </c:pt>
                <c:pt idx="156">
                  <c:v>13593449.671025001</c:v>
                </c:pt>
                <c:pt idx="157">
                  <c:v>13673262.7911667</c:v>
                </c:pt>
                <c:pt idx="158">
                  <c:v>13650598.725183301</c:v>
                </c:pt>
                <c:pt idx="159">
                  <c:v>13654235.1710333</c:v>
                </c:pt>
                <c:pt idx="160">
                  <c:v>13696293.103941699</c:v>
                </c:pt>
                <c:pt idx="161">
                  <c:v>13713953.998475</c:v>
                </c:pt>
                <c:pt idx="162">
                  <c:v>13652063.461625</c:v>
                </c:pt>
                <c:pt idx="163">
                  <c:v>13732313.002833299</c:v>
                </c:pt>
                <c:pt idx="164">
                  <c:v>13691335.862958301</c:v>
                </c:pt>
                <c:pt idx="165">
                  <c:v>13385394.193225</c:v>
                </c:pt>
                <c:pt idx="166">
                  <c:v>13564327.9995417</c:v>
                </c:pt>
                <c:pt idx="167">
                  <c:v>13592782.921141701</c:v>
                </c:pt>
                <c:pt idx="168">
                  <c:v>13635277.3097833</c:v>
                </c:pt>
                <c:pt idx="169">
                  <c:v>13748687.4818333</c:v>
                </c:pt>
                <c:pt idx="170">
                  <c:v>13807786.16705</c:v>
                </c:pt>
                <c:pt idx="171">
                  <c:v>13767313.5397333</c:v>
                </c:pt>
                <c:pt idx="172">
                  <c:v>13707257.3322</c:v>
                </c:pt>
                <c:pt idx="173">
                  <c:v>13511517.6116917</c:v>
                </c:pt>
                <c:pt idx="174">
                  <c:v>13545209.090916701</c:v>
                </c:pt>
                <c:pt idx="175">
                  <c:v>13618196.4865667</c:v>
                </c:pt>
                <c:pt idx="176">
                  <c:v>13581547.6138083</c:v>
                </c:pt>
                <c:pt idx="177">
                  <c:v>13672935.8540083</c:v>
                </c:pt>
                <c:pt idx="178">
                  <c:v>13565021.548916699</c:v>
                </c:pt>
                <c:pt idx="179">
                  <c:v>13664393.5107</c:v>
                </c:pt>
                <c:pt idx="180">
                  <c:v>13581655.18485</c:v>
                </c:pt>
                <c:pt idx="181">
                  <c:v>13329831.1035167</c:v>
                </c:pt>
                <c:pt idx="182">
                  <c:v>13442897.117116701</c:v>
                </c:pt>
                <c:pt idx="183">
                  <c:v>12920629.8467583</c:v>
                </c:pt>
                <c:pt idx="184">
                  <c:v>13258739.343466699</c:v>
                </c:pt>
                <c:pt idx="185">
                  <c:v>13383103.4402333</c:v>
                </c:pt>
                <c:pt idx="186">
                  <c:v>13266460.4585083</c:v>
                </c:pt>
                <c:pt idx="187">
                  <c:v>13305900.1231</c:v>
                </c:pt>
                <c:pt idx="188">
                  <c:v>13400199.259275001</c:v>
                </c:pt>
                <c:pt idx="189">
                  <c:v>13488413.3401083</c:v>
                </c:pt>
                <c:pt idx="190">
                  <c:v>13477405.067425</c:v>
                </c:pt>
                <c:pt idx="191">
                  <c:v>13371612.308724999</c:v>
                </c:pt>
                <c:pt idx="192">
                  <c:v>13434186.471133299</c:v>
                </c:pt>
                <c:pt idx="193">
                  <c:v>13499104.164658301</c:v>
                </c:pt>
                <c:pt idx="194">
                  <c:v>13385252.672483301</c:v>
                </c:pt>
                <c:pt idx="195">
                  <c:v>13439681.553516701</c:v>
                </c:pt>
                <c:pt idx="196">
                  <c:v>13439041.636825001</c:v>
                </c:pt>
                <c:pt idx="197">
                  <c:v>13513269.041208301</c:v>
                </c:pt>
                <c:pt idx="198">
                  <c:v>13262777.21765</c:v>
                </c:pt>
                <c:pt idx="199">
                  <c:v>13277094.775274999</c:v>
                </c:pt>
                <c:pt idx="200">
                  <c:v>13378535.660625</c:v>
                </c:pt>
                <c:pt idx="201">
                  <c:v>13470399.610424999</c:v>
                </c:pt>
                <c:pt idx="202">
                  <c:v>13509900.541025</c:v>
                </c:pt>
                <c:pt idx="203">
                  <c:v>13511984.60485</c:v>
                </c:pt>
                <c:pt idx="204">
                  <c:v>13498802.8847</c:v>
                </c:pt>
                <c:pt idx="205">
                  <c:v>13558641.3969667</c:v>
                </c:pt>
                <c:pt idx="206">
                  <c:v>13545938.1851083</c:v>
                </c:pt>
                <c:pt idx="207">
                  <c:v>13569768.3649083</c:v>
                </c:pt>
                <c:pt idx="208">
                  <c:v>13490733.2304917</c:v>
                </c:pt>
                <c:pt idx="209">
                  <c:v>13287336.180166701</c:v>
                </c:pt>
                <c:pt idx="210">
                  <c:v>12138925.774608299</c:v>
                </c:pt>
                <c:pt idx="211">
                  <c:v>11211253.3744667</c:v>
                </c:pt>
                <c:pt idx="212">
                  <c:v>11701136.5391833</c:v>
                </c:pt>
                <c:pt idx="213">
                  <c:v>12689758.275933299</c:v>
                </c:pt>
                <c:pt idx="214">
                  <c:v>13118212.221233301</c:v>
                </c:pt>
                <c:pt idx="215">
                  <c:v>13286914.8583</c:v>
                </c:pt>
                <c:pt idx="216">
                  <c:v>13288444.4550667</c:v>
                </c:pt>
                <c:pt idx="217">
                  <c:v>13286171.302191701</c:v>
                </c:pt>
                <c:pt idx="218">
                  <c:v>12974239.3135667</c:v>
                </c:pt>
                <c:pt idx="219">
                  <c:v>12981622.1411417</c:v>
                </c:pt>
                <c:pt idx="220">
                  <c:v>12909841.4609167</c:v>
                </c:pt>
                <c:pt idx="221">
                  <c:v>13048176.5534917</c:v>
                </c:pt>
                <c:pt idx="222">
                  <c:v>13323041.281208299</c:v>
                </c:pt>
                <c:pt idx="223">
                  <c:v>13232366.091775</c:v>
                </c:pt>
                <c:pt idx="224">
                  <c:v>13320470.428958301</c:v>
                </c:pt>
                <c:pt idx="225">
                  <c:v>13362526.162924999</c:v>
                </c:pt>
                <c:pt idx="226">
                  <c:v>13387981.948674999</c:v>
                </c:pt>
                <c:pt idx="227">
                  <c:v>13340277.4794167</c:v>
                </c:pt>
                <c:pt idx="228">
                  <c:v>13299204.861575</c:v>
                </c:pt>
                <c:pt idx="229">
                  <c:v>13268932.112749999</c:v>
                </c:pt>
                <c:pt idx="230">
                  <c:v>12957006.1771417</c:v>
                </c:pt>
                <c:pt idx="231">
                  <c:v>12947071.7332833</c:v>
                </c:pt>
                <c:pt idx="232">
                  <c:v>13111194.5849583</c:v>
                </c:pt>
                <c:pt idx="233">
                  <c:v>13450905.561966671</c:v>
                </c:pt>
                <c:pt idx="234">
                  <c:v>13536240.291833341</c:v>
                </c:pt>
                <c:pt idx="235">
                  <c:v>13413665.144441657</c:v>
                </c:pt>
                <c:pt idx="236">
                  <c:v>13186366.377049997</c:v>
                </c:pt>
                <c:pt idx="237">
                  <c:v>13046954.899</c:v>
                </c:pt>
                <c:pt idx="238">
                  <c:v>13436168.828900013</c:v>
                </c:pt>
                <c:pt idx="239">
                  <c:v>13556726.230316672</c:v>
                </c:pt>
                <c:pt idx="240">
                  <c:v>13348478.862458328</c:v>
                </c:pt>
                <c:pt idx="241">
                  <c:v>12883023.691883342</c:v>
                </c:pt>
                <c:pt idx="242">
                  <c:v>13278787.886208342</c:v>
                </c:pt>
                <c:pt idx="243">
                  <c:v>13303044.540075</c:v>
                </c:pt>
                <c:pt idx="244">
                  <c:v>13395133.522825001</c:v>
                </c:pt>
                <c:pt idx="245">
                  <c:v>13104928.037308328</c:v>
                </c:pt>
                <c:pt idx="246">
                  <c:v>13497962.116300011</c:v>
                </c:pt>
                <c:pt idx="247">
                  <c:v>13444347.09711666</c:v>
                </c:pt>
                <c:pt idx="248">
                  <c:v>13391169.224766668</c:v>
                </c:pt>
                <c:pt idx="249">
                  <c:v>13346059.067233335</c:v>
                </c:pt>
                <c:pt idx="250">
                  <c:v>13221110.932849998</c:v>
                </c:pt>
                <c:pt idx="251">
                  <c:v>13334111.036566656</c:v>
                </c:pt>
                <c:pt idx="252">
                  <c:v>13323566.267233331</c:v>
                </c:pt>
                <c:pt idx="253">
                  <c:v>13269034.582616672</c:v>
                </c:pt>
                <c:pt idx="254">
                  <c:v>12462303.54669999</c:v>
                </c:pt>
                <c:pt idx="255">
                  <c:v>13103478.094441663</c:v>
                </c:pt>
                <c:pt idx="256">
                  <c:v>13349796.129724994</c:v>
                </c:pt>
                <c:pt idx="257">
                  <c:v>13341716.880183343</c:v>
                </c:pt>
                <c:pt idx="258">
                  <c:v>13341254.363108333</c:v>
                </c:pt>
                <c:pt idx="259">
                  <c:v>13311957.272783332</c:v>
                </c:pt>
                <c:pt idx="260">
                  <c:v>13404661.005641662</c:v>
                </c:pt>
                <c:pt idx="261">
                  <c:v>13394694.51592499</c:v>
                </c:pt>
                <c:pt idx="262">
                  <c:v>13364560.188691664</c:v>
                </c:pt>
                <c:pt idx="263">
                  <c:v>13383298.094808333</c:v>
                </c:pt>
                <c:pt idx="264">
                  <c:v>13386589.535174999</c:v>
                </c:pt>
                <c:pt idx="265">
                  <c:v>13305959.662441667</c:v>
                </c:pt>
                <c:pt idx="266">
                  <c:v>13327858.648224998</c:v>
                </c:pt>
                <c:pt idx="267">
                  <c:v>13308229.775600009</c:v>
                </c:pt>
                <c:pt idx="268">
                  <c:v>13429038.447208324</c:v>
                </c:pt>
                <c:pt idx="269">
                  <c:v>13293657.963183336</c:v>
                </c:pt>
                <c:pt idx="270">
                  <c:v>13415406.011775009</c:v>
                </c:pt>
                <c:pt idx="271">
                  <c:v>13478055.175025007</c:v>
                </c:pt>
                <c:pt idx="272">
                  <c:v>13277110.033841657</c:v>
                </c:pt>
                <c:pt idx="273">
                  <c:v>13459441.25178333</c:v>
                </c:pt>
                <c:pt idx="274">
                  <c:v>13452793.882949989</c:v>
                </c:pt>
                <c:pt idx="275">
                  <c:v>13435976.285125002</c:v>
                </c:pt>
                <c:pt idx="276">
                  <c:v>13377490.975300003</c:v>
                </c:pt>
                <c:pt idx="277">
                  <c:v>13372210.838041678</c:v>
                </c:pt>
                <c:pt idx="278">
                  <c:v>13392514.235108329</c:v>
                </c:pt>
                <c:pt idx="279">
                  <c:v>13126914.163100012</c:v>
                </c:pt>
                <c:pt idx="280">
                  <c:v>13267099.520716663</c:v>
                </c:pt>
                <c:pt idx="281">
                  <c:v>13369597.435600001</c:v>
                </c:pt>
                <c:pt idx="282">
                  <c:v>13336844.283775002</c:v>
                </c:pt>
                <c:pt idx="283">
                  <c:v>13258222.771350004</c:v>
                </c:pt>
                <c:pt idx="284">
                  <c:v>13279536.775233334</c:v>
                </c:pt>
                <c:pt idx="285">
                  <c:v>12450325.797850011</c:v>
                </c:pt>
                <c:pt idx="286">
                  <c:v>13170464.528558319</c:v>
                </c:pt>
                <c:pt idx="287">
                  <c:v>13255477.130525015</c:v>
                </c:pt>
                <c:pt idx="288">
                  <c:v>13270227.951858329</c:v>
                </c:pt>
                <c:pt idx="289">
                  <c:v>13314668.737958333</c:v>
                </c:pt>
                <c:pt idx="290">
                  <c:v>13240365.875875002</c:v>
                </c:pt>
                <c:pt idx="291">
                  <c:v>13371279.703491675</c:v>
                </c:pt>
                <c:pt idx="292">
                  <c:v>13316289.799774989</c:v>
                </c:pt>
                <c:pt idx="293">
                  <c:v>13035483.47395833</c:v>
                </c:pt>
                <c:pt idx="294">
                  <c:v>13293792.858141664</c:v>
                </c:pt>
                <c:pt idx="295">
                  <c:v>13250127.411491666</c:v>
                </c:pt>
                <c:pt idx="296">
                  <c:v>13367978.269000005</c:v>
                </c:pt>
                <c:pt idx="297">
                  <c:v>13311575.39515833</c:v>
                </c:pt>
                <c:pt idx="298">
                  <c:v>13366784.699775007</c:v>
                </c:pt>
                <c:pt idx="299">
                  <c:v>13099318.848183341</c:v>
                </c:pt>
                <c:pt idx="300">
                  <c:v>13267929.024233337</c:v>
                </c:pt>
                <c:pt idx="301">
                  <c:v>13120721.630841661</c:v>
                </c:pt>
                <c:pt idx="302">
                  <c:v>13174266.450524997</c:v>
                </c:pt>
                <c:pt idx="303">
                  <c:v>12591391.904833332</c:v>
                </c:pt>
                <c:pt idx="304">
                  <c:v>13245723.148933325</c:v>
                </c:pt>
                <c:pt idx="305">
                  <c:v>12916575.516508333</c:v>
                </c:pt>
                <c:pt idx="306">
                  <c:v>12338253.812791675</c:v>
                </c:pt>
                <c:pt idx="307">
                  <c:v>11514976.954249987</c:v>
                </c:pt>
                <c:pt idx="308">
                  <c:v>12768200.245116666</c:v>
                </c:pt>
                <c:pt idx="309">
                  <c:v>12799620.081858326</c:v>
                </c:pt>
                <c:pt idx="310">
                  <c:v>13087173.263950001</c:v>
                </c:pt>
                <c:pt idx="311">
                  <c:v>13078976.733924992</c:v>
                </c:pt>
                <c:pt idx="312">
                  <c:v>13232160.897216668</c:v>
                </c:pt>
                <c:pt idx="313">
                  <c:v>13134105.039708331</c:v>
                </c:pt>
                <c:pt idx="314">
                  <c:v>12956472.417674996</c:v>
                </c:pt>
                <c:pt idx="315">
                  <c:v>13002571.892558329</c:v>
                </c:pt>
                <c:pt idx="316">
                  <c:v>12524362.821316663</c:v>
                </c:pt>
                <c:pt idx="317">
                  <c:v>13254298.264966669</c:v>
                </c:pt>
                <c:pt idx="318">
                  <c:v>13121442.314541671</c:v>
                </c:pt>
                <c:pt idx="319">
                  <c:v>13070049.207641669</c:v>
                </c:pt>
                <c:pt idx="320">
                  <c:v>13154387.030583337</c:v>
                </c:pt>
                <c:pt idx="321">
                  <c:v>13218157.199600004</c:v>
                </c:pt>
                <c:pt idx="322">
                  <c:v>13186072.964949995</c:v>
                </c:pt>
                <c:pt idx="323">
                  <c:v>13238408.676916666</c:v>
                </c:pt>
                <c:pt idx="324">
                  <c:v>13351825.945091665</c:v>
                </c:pt>
                <c:pt idx="325">
                  <c:v>13074036.696816668</c:v>
                </c:pt>
                <c:pt idx="326">
                  <c:v>13118366.874808325</c:v>
                </c:pt>
                <c:pt idx="327">
                  <c:v>13308248.749708336</c:v>
                </c:pt>
                <c:pt idx="328">
                  <c:v>13204999.655475013</c:v>
                </c:pt>
                <c:pt idx="329">
                  <c:v>13263179.057025</c:v>
                </c:pt>
                <c:pt idx="330">
                  <c:v>13011074.72634998</c:v>
                </c:pt>
                <c:pt idx="331">
                  <c:v>13295679.278650001</c:v>
                </c:pt>
                <c:pt idx="332">
                  <c:v>13187462.365550008</c:v>
                </c:pt>
                <c:pt idx="333">
                  <c:v>12880974.336650003</c:v>
                </c:pt>
                <c:pt idx="334">
                  <c:v>13153847.707550004</c:v>
                </c:pt>
                <c:pt idx="335">
                  <c:v>13215553.187983336</c:v>
                </c:pt>
                <c:pt idx="336" formatCode="General">
                  <c:v>13284833.158224996</c:v>
                </c:pt>
                <c:pt idx="337" formatCode="General">
                  <c:v>13307421.252266664</c:v>
                </c:pt>
                <c:pt idx="338" formatCode="General">
                  <c:v>13247093.859200014</c:v>
                </c:pt>
                <c:pt idx="339" formatCode="General">
                  <c:v>13337438.564508336</c:v>
                </c:pt>
                <c:pt idx="340" formatCode="General">
                  <c:v>13336027.987833343</c:v>
                </c:pt>
                <c:pt idx="341" formatCode="General">
                  <c:v>13171564.106608327</c:v>
                </c:pt>
                <c:pt idx="342" formatCode="General">
                  <c:v>13400523.548541658</c:v>
                </c:pt>
                <c:pt idx="343" formatCode="General">
                  <c:v>12979083.084041666</c:v>
                </c:pt>
                <c:pt idx="344" formatCode="General">
                  <c:v>13161585.035933331</c:v>
                </c:pt>
                <c:pt idx="345" formatCode="General">
                  <c:v>13107354.05989166</c:v>
                </c:pt>
                <c:pt idx="346" formatCode="General">
                  <c:v>13355031.357733335</c:v>
                </c:pt>
                <c:pt idx="347" formatCode="General">
                  <c:v>13440151.132916674</c:v>
                </c:pt>
                <c:pt idx="348" formatCode="General">
                  <c:v>13353382.869125007</c:v>
                </c:pt>
                <c:pt idx="349" formatCode="General">
                  <c:v>13441063.97741667</c:v>
                </c:pt>
                <c:pt idx="350" formatCode="General">
                  <c:v>13359242.218674999</c:v>
                </c:pt>
                <c:pt idx="351" formatCode="General">
                  <c:v>13338510.157533336</c:v>
                </c:pt>
                <c:pt idx="352">
                  <c:v>14470040.9186</c:v>
                </c:pt>
                <c:pt idx="353">
                  <c:v>14370129.8774583</c:v>
                </c:pt>
                <c:pt idx="354">
                  <c:v>14467015.332908301</c:v>
                </c:pt>
                <c:pt idx="355">
                  <c:v>14655353.288033299</c:v>
                </c:pt>
                <c:pt idx="356">
                  <c:v>13535406.705624999</c:v>
                </c:pt>
                <c:pt idx="357">
                  <c:v>13633405.5573417</c:v>
                </c:pt>
                <c:pt idx="358">
                  <c:v>13524120.2214</c:v>
                </c:pt>
                <c:pt idx="359">
                  <c:v>13659568.057525</c:v>
                </c:pt>
                <c:pt idx="360">
                  <c:v>13069482.337108299</c:v>
                </c:pt>
                <c:pt idx="361">
                  <c:v>13684393.6355583</c:v>
                </c:pt>
                <c:pt idx="362">
                  <c:v>13703404.798216701</c:v>
                </c:pt>
                <c:pt idx="363">
                  <c:v>13634245.730441701</c:v>
                </c:pt>
                <c:pt idx="364">
                  <c:v>13640768.1714333</c:v>
                </c:pt>
                <c:pt idx="365">
                  <c:v>13539749.915825</c:v>
                </c:pt>
                <c:pt idx="366">
                  <c:v>13246151.0701917</c:v>
                </c:pt>
                <c:pt idx="367">
                  <c:v>13378398.802975001</c:v>
                </c:pt>
                <c:pt idx="368">
                  <c:v>13184328.7022417</c:v>
                </c:pt>
                <c:pt idx="369">
                  <c:v>13384902.983341699</c:v>
                </c:pt>
                <c:pt idx="370">
                  <c:v>13447875.921383301</c:v>
                </c:pt>
                <c:pt idx="371">
                  <c:v>13154795.968325</c:v>
                </c:pt>
                <c:pt idx="372">
                  <c:v>13365105.6301833</c:v>
                </c:pt>
                <c:pt idx="373">
                  <c:v>13464292.990266699</c:v>
                </c:pt>
                <c:pt idx="374">
                  <c:v>13152182.8985583</c:v>
                </c:pt>
                <c:pt idx="375">
                  <c:v>13381348.549666701</c:v>
                </c:pt>
                <c:pt idx="376">
                  <c:v>13644474.0305083</c:v>
                </c:pt>
                <c:pt idx="377">
                  <c:v>13577860.552999999</c:v>
                </c:pt>
                <c:pt idx="378">
                  <c:v>13104209.5381667</c:v>
                </c:pt>
                <c:pt idx="379">
                  <c:v>12986112.1846583</c:v>
                </c:pt>
                <c:pt idx="380">
                  <c:v>13554109.9629083</c:v>
                </c:pt>
                <c:pt idx="381">
                  <c:v>13488272.94005</c:v>
                </c:pt>
                <c:pt idx="382">
                  <c:v>13681918.364250001</c:v>
                </c:pt>
                <c:pt idx="383">
                  <c:v>13506399.644125</c:v>
                </c:pt>
                <c:pt idx="384">
                  <c:v>13600853.272150001</c:v>
                </c:pt>
                <c:pt idx="385">
                  <c:v>13566226.7618</c:v>
                </c:pt>
                <c:pt idx="386">
                  <c:v>13414775.019649999</c:v>
                </c:pt>
                <c:pt idx="387">
                  <c:v>13517683.776275</c:v>
                </c:pt>
                <c:pt idx="388">
                  <c:v>13652980.5126833</c:v>
                </c:pt>
                <c:pt idx="389">
                  <c:v>13657599.32925</c:v>
                </c:pt>
                <c:pt idx="390">
                  <c:v>13593239.480900001</c:v>
                </c:pt>
                <c:pt idx="391">
                  <c:v>13492492.27895</c:v>
                </c:pt>
                <c:pt idx="392">
                  <c:v>13583504.7497833</c:v>
                </c:pt>
                <c:pt idx="393">
                  <c:v>13567008.217824999</c:v>
                </c:pt>
                <c:pt idx="394">
                  <c:v>13662469.8592583</c:v>
                </c:pt>
                <c:pt idx="395">
                  <c:v>13580620.731024999</c:v>
                </c:pt>
                <c:pt idx="396">
                  <c:v>13491790.4384833</c:v>
                </c:pt>
                <c:pt idx="397">
                  <c:v>13417796.9671917</c:v>
                </c:pt>
                <c:pt idx="398">
                  <c:v>13533244.9831417</c:v>
                </c:pt>
                <c:pt idx="399">
                  <c:v>13488234.5203667</c:v>
                </c:pt>
                <c:pt idx="400">
                  <c:v>13566441.79565</c:v>
                </c:pt>
                <c:pt idx="401">
                  <c:v>13617900.6020333</c:v>
                </c:pt>
                <c:pt idx="402">
                  <c:v>13705546.130541701</c:v>
                </c:pt>
                <c:pt idx="403">
                  <c:v>13654246.5043</c:v>
                </c:pt>
                <c:pt idx="404">
                  <c:v>13663215.449008301</c:v>
                </c:pt>
                <c:pt idx="405">
                  <c:v>13646107.3467583</c:v>
                </c:pt>
                <c:pt idx="406">
                  <c:v>13786242.6702333</c:v>
                </c:pt>
                <c:pt idx="407">
                  <c:v>13688925.4746</c:v>
                </c:pt>
                <c:pt idx="408">
                  <c:v>13614182.4218917</c:v>
                </c:pt>
                <c:pt idx="409">
                  <c:v>13672235.843525</c:v>
                </c:pt>
                <c:pt idx="410">
                  <c:v>13597981.9140833</c:v>
                </c:pt>
                <c:pt idx="411">
                  <c:v>13661515.415008301</c:v>
                </c:pt>
                <c:pt idx="412">
                  <c:v>13744884.089875</c:v>
                </c:pt>
                <c:pt idx="413">
                  <c:v>13565867.2385667</c:v>
                </c:pt>
                <c:pt idx="414">
                  <c:v>13501401.5661333</c:v>
                </c:pt>
                <c:pt idx="415">
                  <c:v>13597051.898383301</c:v>
                </c:pt>
                <c:pt idx="416">
                  <c:v>13414600.12215</c:v>
                </c:pt>
                <c:pt idx="417">
                  <c:v>13594675.140233301</c:v>
                </c:pt>
                <c:pt idx="418">
                  <c:v>13602302.810125001</c:v>
                </c:pt>
                <c:pt idx="419">
                  <c:v>13614127.715325</c:v>
                </c:pt>
                <c:pt idx="420">
                  <c:v>13679822.007725</c:v>
                </c:pt>
                <c:pt idx="421">
                  <c:v>13566781.214733301</c:v>
                </c:pt>
                <c:pt idx="422">
                  <c:v>13620541.868316701</c:v>
                </c:pt>
                <c:pt idx="423">
                  <c:v>13534641.337308301</c:v>
                </c:pt>
                <c:pt idx="424">
                  <c:v>13569236.424891699</c:v>
                </c:pt>
                <c:pt idx="425">
                  <c:v>9431210.3320083395</c:v>
                </c:pt>
                <c:pt idx="426">
                  <c:v>13438356.8108583</c:v>
                </c:pt>
                <c:pt idx="427">
                  <c:v>13533055.5298167</c:v>
                </c:pt>
                <c:pt idx="428">
                  <c:v>13609231.94025</c:v>
                </c:pt>
                <c:pt idx="429">
                  <c:v>13496501.848200001</c:v>
                </c:pt>
                <c:pt idx="430">
                  <c:v>13505226.407958301</c:v>
                </c:pt>
                <c:pt idx="431">
                  <c:v>13687076.116049999</c:v>
                </c:pt>
                <c:pt idx="432">
                  <c:v>13642067.875041701</c:v>
                </c:pt>
                <c:pt idx="433">
                  <c:v>13540266.683033301</c:v>
                </c:pt>
                <c:pt idx="434">
                  <c:v>13362507.940625001</c:v>
                </c:pt>
                <c:pt idx="435">
                  <c:v>13268592.9695583</c:v>
                </c:pt>
                <c:pt idx="436">
                  <c:v>13258470.1541583</c:v>
                </c:pt>
                <c:pt idx="437">
                  <c:v>12113043.694949999</c:v>
                </c:pt>
                <c:pt idx="438">
                  <c:v>12761278.494258299</c:v>
                </c:pt>
                <c:pt idx="439">
                  <c:v>13194805.515924999</c:v>
                </c:pt>
                <c:pt idx="440">
                  <c:v>13454638.897125</c:v>
                </c:pt>
                <c:pt idx="441">
                  <c:v>13587021.021675</c:v>
                </c:pt>
                <c:pt idx="442">
                  <c:v>13444620.9441333</c:v>
                </c:pt>
                <c:pt idx="443">
                  <c:v>13359023.995358299</c:v>
                </c:pt>
                <c:pt idx="444">
                  <c:v>13449635.410499999</c:v>
                </c:pt>
                <c:pt idx="445">
                  <c:v>13600105.8812833</c:v>
                </c:pt>
                <c:pt idx="446">
                  <c:v>13625503.3998583</c:v>
                </c:pt>
                <c:pt idx="447">
                  <c:v>13540630.0472333</c:v>
                </c:pt>
                <c:pt idx="448">
                  <c:v>13327210.925899999</c:v>
                </c:pt>
                <c:pt idx="449">
                  <c:v>12392993.343691699</c:v>
                </c:pt>
                <c:pt idx="450">
                  <c:v>12384158.6597667</c:v>
                </c:pt>
                <c:pt idx="451">
                  <c:v>12534765.00075</c:v>
                </c:pt>
                <c:pt idx="452">
                  <c:v>12819580.6383167</c:v>
                </c:pt>
                <c:pt idx="453">
                  <c:v>12886863.552883301</c:v>
                </c:pt>
                <c:pt idx="454">
                  <c:v>13119431.3086417</c:v>
                </c:pt>
                <c:pt idx="455">
                  <c:v>13111988.036350001</c:v>
                </c:pt>
                <c:pt idx="456">
                  <c:v>13221998.306875</c:v>
                </c:pt>
                <c:pt idx="457">
                  <c:v>13345705.936699999</c:v>
                </c:pt>
                <c:pt idx="458">
                  <c:v>13533100.3695</c:v>
                </c:pt>
                <c:pt idx="459">
                  <c:v>13325779.190575</c:v>
                </c:pt>
                <c:pt idx="460">
                  <c:v>13326778.852916701</c:v>
                </c:pt>
                <c:pt idx="461">
                  <c:v>13406921.18715</c:v>
                </c:pt>
                <c:pt idx="462">
                  <c:v>13524094.547483301</c:v>
                </c:pt>
                <c:pt idx="463">
                  <c:v>13474424.529516701</c:v>
                </c:pt>
                <c:pt idx="464">
                  <c:v>13580571.2975583</c:v>
                </c:pt>
                <c:pt idx="465">
                  <c:v>13136847.1912333</c:v>
                </c:pt>
                <c:pt idx="466">
                  <c:v>13583493.8792667</c:v>
                </c:pt>
                <c:pt idx="467">
                  <c:v>13414608.921575001</c:v>
                </c:pt>
                <c:pt idx="468">
                  <c:v>13636455.9497167</c:v>
                </c:pt>
                <c:pt idx="469">
                  <c:v>13492069.5379417</c:v>
                </c:pt>
                <c:pt idx="470">
                  <c:v>13154339.131825</c:v>
                </c:pt>
                <c:pt idx="471">
                  <c:v>13479340.0377333</c:v>
                </c:pt>
                <c:pt idx="472">
                  <c:v>13389085.731691699</c:v>
                </c:pt>
                <c:pt idx="473">
                  <c:v>12957795.502675001</c:v>
                </c:pt>
                <c:pt idx="474">
                  <c:v>12870635.155475</c:v>
                </c:pt>
                <c:pt idx="475">
                  <c:v>13292897.5437917</c:v>
                </c:pt>
                <c:pt idx="476">
                  <c:v>13116172.406025</c:v>
                </c:pt>
                <c:pt idx="477">
                  <c:v>13487563.643416701</c:v>
                </c:pt>
                <c:pt idx="478">
                  <c:v>13442933.4762167</c:v>
                </c:pt>
                <c:pt idx="479">
                  <c:v>13639852.520841699</c:v>
                </c:pt>
                <c:pt idx="480">
                  <c:v>13473348.668983299</c:v>
                </c:pt>
                <c:pt idx="481">
                  <c:v>13373726.700075001</c:v>
                </c:pt>
                <c:pt idx="482">
                  <c:v>13403625.305424999</c:v>
                </c:pt>
                <c:pt idx="483">
                  <c:v>13368189.5023</c:v>
                </c:pt>
                <c:pt idx="484">
                  <c:v>13256737.812449999</c:v>
                </c:pt>
                <c:pt idx="485">
                  <c:v>13383499.2097</c:v>
                </c:pt>
                <c:pt idx="486">
                  <c:v>13471042.381725</c:v>
                </c:pt>
                <c:pt idx="487">
                  <c:v>13480304.759641699</c:v>
                </c:pt>
                <c:pt idx="488">
                  <c:v>13527058.750375001</c:v>
                </c:pt>
                <c:pt idx="489">
                  <c:v>13518908.3188417</c:v>
                </c:pt>
                <c:pt idx="490">
                  <c:v>13285089.5706833</c:v>
                </c:pt>
                <c:pt idx="491">
                  <c:v>13001324.5393917</c:v>
                </c:pt>
                <c:pt idx="492">
                  <c:v>13219710.035266699</c:v>
                </c:pt>
                <c:pt idx="493">
                  <c:v>13327135.4623417</c:v>
                </c:pt>
                <c:pt idx="494">
                  <c:v>13449514.784</c:v>
                </c:pt>
                <c:pt idx="495">
                  <c:v>13480122.814300001</c:v>
                </c:pt>
                <c:pt idx="496">
                  <c:v>13082250.666533301</c:v>
                </c:pt>
                <c:pt idx="497">
                  <c:v>13115743.9531417</c:v>
                </c:pt>
                <c:pt idx="498">
                  <c:v>13321348.288825</c:v>
                </c:pt>
                <c:pt idx="499">
                  <c:v>13260657.400216701</c:v>
                </c:pt>
                <c:pt idx="500">
                  <c:v>13116508.381516701</c:v>
                </c:pt>
                <c:pt idx="501">
                  <c:v>13132634.005233301</c:v>
                </c:pt>
                <c:pt idx="502">
                  <c:v>13303637.286525</c:v>
                </c:pt>
                <c:pt idx="503">
                  <c:v>13123855.9034833</c:v>
                </c:pt>
                <c:pt idx="504">
                  <c:v>13057467.6753083</c:v>
                </c:pt>
                <c:pt idx="505">
                  <c:v>12406596.154966701</c:v>
                </c:pt>
                <c:pt idx="506">
                  <c:v>12681810.3124083</c:v>
                </c:pt>
                <c:pt idx="507">
                  <c:v>11253945.842716699</c:v>
                </c:pt>
                <c:pt idx="508">
                  <c:v>12887569.563883301</c:v>
                </c:pt>
                <c:pt idx="509">
                  <c:v>12877905.996475</c:v>
                </c:pt>
                <c:pt idx="510">
                  <c:v>13139036.0478417</c:v>
                </c:pt>
                <c:pt idx="511">
                  <c:v>13089755.380899999</c:v>
                </c:pt>
                <c:pt idx="512">
                  <c:v>13591745.673374999</c:v>
                </c:pt>
                <c:pt idx="513">
                  <c:v>13285158.199883301</c:v>
                </c:pt>
                <c:pt idx="514">
                  <c:v>13377684.263591699</c:v>
                </c:pt>
                <c:pt idx="515">
                  <c:v>13483912.744766699</c:v>
                </c:pt>
                <c:pt idx="516">
                  <c:v>13677479.122300001</c:v>
                </c:pt>
                <c:pt idx="517">
                  <c:v>13793444.5008417</c:v>
                </c:pt>
                <c:pt idx="518">
                  <c:v>13736733.991583301</c:v>
                </c:pt>
                <c:pt idx="519">
                  <c:v>13573127.6026583</c:v>
                </c:pt>
                <c:pt idx="520">
                  <c:v>13680959.841633299</c:v>
                </c:pt>
                <c:pt idx="521">
                  <c:v>13724154.9434333</c:v>
                </c:pt>
                <c:pt idx="522">
                  <c:v>13736345.6058667</c:v>
                </c:pt>
                <c:pt idx="523">
                  <c:v>13571743.758475</c:v>
                </c:pt>
                <c:pt idx="524">
                  <c:v>13816593.514824999</c:v>
                </c:pt>
                <c:pt idx="525">
                  <c:v>13753823.371533301</c:v>
                </c:pt>
                <c:pt idx="526">
                  <c:v>13579092.593125001</c:v>
                </c:pt>
                <c:pt idx="527">
                  <c:v>13731432.3862083</c:v>
                </c:pt>
                <c:pt idx="528">
                  <c:v>13642755.717816699</c:v>
                </c:pt>
                <c:pt idx="529">
                  <c:v>13700815.5140833</c:v>
                </c:pt>
                <c:pt idx="530">
                  <c:v>13411516.8084333</c:v>
                </c:pt>
                <c:pt idx="531">
                  <c:v>12956212.8272333</c:v>
                </c:pt>
                <c:pt idx="532">
                  <c:v>13030299.1067333</c:v>
                </c:pt>
                <c:pt idx="533">
                  <c:v>12951852.5990333</c:v>
                </c:pt>
                <c:pt idx="534">
                  <c:v>12857895.69035</c:v>
                </c:pt>
                <c:pt idx="535">
                  <c:v>13149647.6852667</c:v>
                </c:pt>
                <c:pt idx="536">
                  <c:v>13298704.592374999</c:v>
                </c:pt>
                <c:pt idx="537">
                  <c:v>13590633.665899999</c:v>
                </c:pt>
                <c:pt idx="538">
                  <c:v>13526923.4941833</c:v>
                </c:pt>
                <c:pt idx="539">
                  <c:v>13441043.1795917</c:v>
                </c:pt>
                <c:pt idx="540">
                  <c:v>13586975.467058299</c:v>
                </c:pt>
                <c:pt idx="541">
                  <c:v>13537530.62315</c:v>
                </c:pt>
                <c:pt idx="542">
                  <c:v>13498274.414825</c:v>
                </c:pt>
                <c:pt idx="543">
                  <c:v>13510616.473774999</c:v>
                </c:pt>
                <c:pt idx="544">
                  <c:v>13600792.2664416</c:v>
                </c:pt>
                <c:pt idx="545">
                  <c:v>13518398.913991701</c:v>
                </c:pt>
                <c:pt idx="546">
                  <c:v>13303123</c:v>
                </c:pt>
                <c:pt idx="547">
                  <c:v>13439055.253141699</c:v>
                </c:pt>
                <c:pt idx="548">
                  <c:v>13470703.9748917</c:v>
                </c:pt>
                <c:pt idx="549">
                  <c:v>13317642.689224999</c:v>
                </c:pt>
                <c:pt idx="550">
                  <c:v>13490822.018025</c:v>
                </c:pt>
                <c:pt idx="551">
                  <c:v>13367289.338491701</c:v>
                </c:pt>
                <c:pt idx="552">
                  <c:v>13286801.5545083</c:v>
                </c:pt>
                <c:pt idx="553">
                  <c:v>13543314.605799999</c:v>
                </c:pt>
                <c:pt idx="554">
                  <c:v>13609837.894866699</c:v>
                </c:pt>
                <c:pt idx="555">
                  <c:v>13474712.4869917</c:v>
                </c:pt>
                <c:pt idx="556">
                  <c:v>13561214.198483299</c:v>
                </c:pt>
                <c:pt idx="557">
                  <c:v>13507381.3594083</c:v>
                </c:pt>
                <c:pt idx="558">
                  <c:v>13522018.9377</c:v>
                </c:pt>
                <c:pt idx="559">
                  <c:v>13389270.7729917</c:v>
                </c:pt>
                <c:pt idx="560">
                  <c:v>13552065.69215</c:v>
                </c:pt>
                <c:pt idx="561">
                  <c:v>13423219.419225</c:v>
                </c:pt>
                <c:pt idx="562">
                  <c:v>13403097.6787667</c:v>
                </c:pt>
                <c:pt idx="563">
                  <c:v>13510929.9346167</c:v>
                </c:pt>
                <c:pt idx="564">
                  <c:v>13420183.630883301</c:v>
                </c:pt>
                <c:pt idx="565">
                  <c:v>13405333.553300001</c:v>
                </c:pt>
                <c:pt idx="566">
                  <c:v>13413110.379233301</c:v>
                </c:pt>
                <c:pt idx="567">
                  <c:v>13348273.1945583</c:v>
                </c:pt>
                <c:pt idx="568">
                  <c:v>13242631.118075</c:v>
                </c:pt>
                <c:pt idx="569">
                  <c:v>13354778.1256667</c:v>
                </c:pt>
                <c:pt idx="570">
                  <c:v>13486325.51</c:v>
                </c:pt>
                <c:pt idx="571">
                  <c:v>8955831.0962583404</c:v>
                </c:pt>
                <c:pt idx="572">
                  <c:v>13292054.406775</c:v>
                </c:pt>
                <c:pt idx="573">
                  <c:v>13600621.478125</c:v>
                </c:pt>
                <c:pt idx="574">
                  <c:v>13608182.4573</c:v>
                </c:pt>
                <c:pt idx="575">
                  <c:v>13470953.459333301</c:v>
                </c:pt>
                <c:pt idx="576">
                  <c:v>13476942.3089833</c:v>
                </c:pt>
                <c:pt idx="577">
                  <c:v>13360900.0959583</c:v>
                </c:pt>
                <c:pt idx="578">
                  <c:v>12952953.449525001</c:v>
                </c:pt>
                <c:pt idx="579">
                  <c:v>10456028.52995</c:v>
                </c:pt>
                <c:pt idx="580">
                  <c:v>11579528.942816701</c:v>
                </c:pt>
                <c:pt idx="581">
                  <c:v>13080602.93165</c:v>
                </c:pt>
                <c:pt idx="582">
                  <c:v>13156519.2787</c:v>
                </c:pt>
                <c:pt idx="583">
                  <c:v>13581665.352733299</c:v>
                </c:pt>
                <c:pt idx="584">
                  <c:v>13569640.549525</c:v>
                </c:pt>
                <c:pt idx="585">
                  <c:v>13480590.499933301</c:v>
                </c:pt>
                <c:pt idx="586">
                  <c:v>13475124.8945083</c:v>
                </c:pt>
                <c:pt idx="587">
                  <c:v>13476308.1844583</c:v>
                </c:pt>
                <c:pt idx="588">
                  <c:v>13540484.845808299</c:v>
                </c:pt>
                <c:pt idx="589">
                  <c:v>13464472.349841701</c:v>
                </c:pt>
                <c:pt idx="590">
                  <c:v>13535073.023366701</c:v>
                </c:pt>
                <c:pt idx="591">
                  <c:v>13520234.47555</c:v>
                </c:pt>
                <c:pt idx="592">
                  <c:v>13583965.070599999</c:v>
                </c:pt>
                <c:pt idx="593">
                  <c:v>13547621.903583299</c:v>
                </c:pt>
                <c:pt idx="594">
                  <c:v>13534495.8112083</c:v>
                </c:pt>
                <c:pt idx="595">
                  <c:v>13396848.736641699</c:v>
                </c:pt>
                <c:pt idx="596">
                  <c:v>13439278.56315</c:v>
                </c:pt>
                <c:pt idx="597">
                  <c:v>13537084.7927917</c:v>
                </c:pt>
                <c:pt idx="598">
                  <c:v>13551780.8495833</c:v>
                </c:pt>
                <c:pt idx="599">
                  <c:v>13451800.835349999</c:v>
                </c:pt>
                <c:pt idx="600">
                  <c:v>13483002.464974999</c:v>
                </c:pt>
                <c:pt idx="601">
                  <c:v>13560082.2176833</c:v>
                </c:pt>
                <c:pt idx="602">
                  <c:v>13525379.3883333</c:v>
                </c:pt>
                <c:pt idx="603">
                  <c:v>13607176.361841699</c:v>
                </c:pt>
                <c:pt idx="604">
                  <c:v>13554974.856458301</c:v>
                </c:pt>
                <c:pt idx="605">
                  <c:v>12536197.3587167</c:v>
                </c:pt>
                <c:pt idx="606">
                  <c:v>13445999.0264333</c:v>
                </c:pt>
                <c:pt idx="607">
                  <c:v>13468913.8650083</c:v>
                </c:pt>
                <c:pt idx="608">
                  <c:v>13495248.909691701</c:v>
                </c:pt>
                <c:pt idx="609">
                  <c:v>13436515.6330333</c:v>
                </c:pt>
                <c:pt idx="610">
                  <c:v>13482370.593241701</c:v>
                </c:pt>
                <c:pt idx="611">
                  <c:v>13455763.1863</c:v>
                </c:pt>
                <c:pt idx="612">
                  <c:v>13443402.3020417</c:v>
                </c:pt>
                <c:pt idx="613">
                  <c:v>13465611.203624999</c:v>
                </c:pt>
                <c:pt idx="614">
                  <c:v>13445158.479466701</c:v>
                </c:pt>
                <c:pt idx="615">
                  <c:v>13425225.1578917</c:v>
                </c:pt>
                <c:pt idx="616">
                  <c:v>13498453.4933</c:v>
                </c:pt>
                <c:pt idx="617">
                  <c:v>13493431.3740083</c:v>
                </c:pt>
                <c:pt idx="618">
                  <c:v>13520807.469699999</c:v>
                </c:pt>
                <c:pt idx="619">
                  <c:v>13558230.618100001</c:v>
                </c:pt>
                <c:pt idx="620">
                  <c:v>13541210.2357917</c:v>
                </c:pt>
                <c:pt idx="621">
                  <c:v>13450764.715291699</c:v>
                </c:pt>
                <c:pt idx="622">
                  <c:v>13437449.8973167</c:v>
                </c:pt>
                <c:pt idx="623">
                  <c:v>13518362.828600001</c:v>
                </c:pt>
                <c:pt idx="624">
                  <c:v>13398059.550091701</c:v>
                </c:pt>
                <c:pt idx="625">
                  <c:v>13303445.8986417</c:v>
                </c:pt>
                <c:pt idx="626">
                  <c:v>13434714.516875001</c:v>
                </c:pt>
                <c:pt idx="627">
                  <c:v>13337708.666649999</c:v>
                </c:pt>
                <c:pt idx="628">
                  <c:v>13469886.3942167</c:v>
                </c:pt>
                <c:pt idx="629">
                  <c:v>13416114.2310917</c:v>
                </c:pt>
                <c:pt idx="630">
                  <c:v>13370716.5473333</c:v>
                </c:pt>
                <c:pt idx="631">
                  <c:v>13445902.396041701</c:v>
                </c:pt>
                <c:pt idx="632">
                  <c:v>13427881.9733583</c:v>
                </c:pt>
                <c:pt idx="633">
                  <c:v>13396831.2664083</c:v>
                </c:pt>
                <c:pt idx="634">
                  <c:v>13592781.83145</c:v>
                </c:pt>
                <c:pt idx="635">
                  <c:v>13968179.970175</c:v>
                </c:pt>
                <c:pt idx="636">
                  <c:v>14590799.936016699</c:v>
                </c:pt>
                <c:pt idx="637">
                  <c:v>14613726.315075001</c:v>
                </c:pt>
                <c:pt idx="638">
                  <c:v>14697195.774408299</c:v>
                </c:pt>
                <c:pt idx="639">
                  <c:v>14518083.3706083</c:v>
                </c:pt>
                <c:pt idx="640">
                  <c:v>14636272.183174999</c:v>
                </c:pt>
                <c:pt idx="641">
                  <c:v>14664033.8785583</c:v>
                </c:pt>
                <c:pt idx="642">
                  <c:v>14659746.363125</c:v>
                </c:pt>
                <c:pt idx="643">
                  <c:v>14637844.512075</c:v>
                </c:pt>
                <c:pt idx="644">
                  <c:v>14654423.986983299</c:v>
                </c:pt>
                <c:pt idx="645">
                  <c:v>14691557.611091699</c:v>
                </c:pt>
                <c:pt idx="646">
                  <c:v>14723237.8175583</c:v>
                </c:pt>
                <c:pt idx="647">
                  <c:v>14738785.64085</c:v>
                </c:pt>
                <c:pt idx="648">
                  <c:v>14608216.8964583</c:v>
                </c:pt>
                <c:pt idx="649">
                  <c:v>14378114.018375</c:v>
                </c:pt>
                <c:pt idx="650">
                  <c:v>14500399.655391701</c:v>
                </c:pt>
                <c:pt idx="651">
                  <c:v>14240404.443491699</c:v>
                </c:pt>
                <c:pt idx="652">
                  <c:v>14222043.2863333</c:v>
                </c:pt>
                <c:pt idx="653">
                  <c:v>14025318.154541699</c:v>
                </c:pt>
                <c:pt idx="654">
                  <c:v>13715465.0481833</c:v>
                </c:pt>
                <c:pt idx="655">
                  <c:v>13700904.2845167</c:v>
                </c:pt>
                <c:pt idx="656">
                  <c:v>14043447.289258299</c:v>
                </c:pt>
                <c:pt idx="657">
                  <c:v>13610116.2068833</c:v>
                </c:pt>
                <c:pt idx="658">
                  <c:v>13474539.453941699</c:v>
                </c:pt>
                <c:pt idx="659">
                  <c:v>13568195.3742333</c:v>
                </c:pt>
                <c:pt idx="660">
                  <c:v>13613677.1035333</c:v>
                </c:pt>
                <c:pt idx="661">
                  <c:v>13403298.956116701</c:v>
                </c:pt>
                <c:pt idx="662">
                  <c:v>13573962.7138083</c:v>
                </c:pt>
                <c:pt idx="663">
                  <c:v>13447048.0727583</c:v>
                </c:pt>
                <c:pt idx="664">
                  <c:v>13441164.100925</c:v>
                </c:pt>
                <c:pt idx="665">
                  <c:v>13544752.135283301</c:v>
                </c:pt>
                <c:pt idx="666">
                  <c:v>13572603.587075001</c:v>
                </c:pt>
                <c:pt idx="667">
                  <c:v>13573874.025</c:v>
                </c:pt>
                <c:pt idx="668">
                  <c:v>13643976.903016699</c:v>
                </c:pt>
                <c:pt idx="669">
                  <c:v>13726201.1993917</c:v>
                </c:pt>
                <c:pt idx="670">
                  <c:v>13690715.512174999</c:v>
                </c:pt>
                <c:pt idx="671">
                  <c:v>13672134.973883299</c:v>
                </c:pt>
                <c:pt idx="672">
                  <c:v>13674935.789258299</c:v>
                </c:pt>
                <c:pt idx="673">
                  <c:v>13776078.0193833</c:v>
                </c:pt>
                <c:pt idx="674">
                  <c:v>13722277.1719833</c:v>
                </c:pt>
                <c:pt idx="675">
                  <c:v>13664588.881516701</c:v>
                </c:pt>
                <c:pt idx="676">
                  <c:v>13749920.853158301</c:v>
                </c:pt>
                <c:pt idx="677">
                  <c:v>13774625.5886</c:v>
                </c:pt>
                <c:pt idx="678">
                  <c:v>13621902.809383299</c:v>
                </c:pt>
                <c:pt idx="679">
                  <c:v>13563968.605608299</c:v>
                </c:pt>
                <c:pt idx="680">
                  <c:v>13488685.747733301</c:v>
                </c:pt>
                <c:pt idx="681">
                  <c:v>13321757.484991699</c:v>
                </c:pt>
                <c:pt idx="682">
                  <c:v>13482104.9661167</c:v>
                </c:pt>
                <c:pt idx="683">
                  <c:v>13213597.767999999</c:v>
                </c:pt>
                <c:pt idx="684">
                  <c:v>13572710.6882417</c:v>
                </c:pt>
                <c:pt idx="685">
                  <c:v>13577531.8863583</c:v>
                </c:pt>
                <c:pt idx="686">
                  <c:v>13626742.781866699</c:v>
                </c:pt>
                <c:pt idx="687">
                  <c:v>13660907.440375</c:v>
                </c:pt>
                <c:pt idx="688">
                  <c:v>13690778.9335417</c:v>
                </c:pt>
                <c:pt idx="689">
                  <c:v>13763622.840941699</c:v>
                </c:pt>
                <c:pt idx="690">
                  <c:v>13767857.280108299</c:v>
                </c:pt>
                <c:pt idx="691">
                  <c:v>13778451.526024999</c:v>
                </c:pt>
                <c:pt idx="692">
                  <c:v>13592951.7065167</c:v>
                </c:pt>
                <c:pt idx="693">
                  <c:v>13669695.5522417</c:v>
                </c:pt>
                <c:pt idx="694">
                  <c:v>13730912.490499999</c:v>
                </c:pt>
                <c:pt idx="695">
                  <c:v>13864855.303633301</c:v>
                </c:pt>
                <c:pt idx="696">
                  <c:v>14502583.1623917</c:v>
                </c:pt>
                <c:pt idx="697">
                  <c:v>13880872.932308299</c:v>
                </c:pt>
                <c:pt idx="698">
                  <c:v>13844894.1457667</c:v>
                </c:pt>
                <c:pt idx="699">
                  <c:v>13820447.7816833</c:v>
                </c:pt>
                <c:pt idx="700">
                  <c:v>13818570.196441701</c:v>
                </c:pt>
                <c:pt idx="701">
                  <c:v>13694463.054816701</c:v>
                </c:pt>
                <c:pt idx="702">
                  <c:v>13586557.237875</c:v>
                </c:pt>
                <c:pt idx="703" formatCode="General">
                  <c:v>13786988.6107</c:v>
                </c:pt>
                <c:pt idx="704" formatCode="General">
                  <c:v>13827253.0391583</c:v>
                </c:pt>
                <c:pt idx="705" formatCode="General">
                  <c:v>13805838.1700917</c:v>
                </c:pt>
                <c:pt idx="706">
                  <c:v>13687570.978241656</c:v>
                </c:pt>
                <c:pt idx="707">
                  <c:v>13478283.929091651</c:v>
                </c:pt>
                <c:pt idx="708">
                  <c:v>13285531.114816673</c:v>
                </c:pt>
                <c:pt idx="709">
                  <c:v>13317937.377141666</c:v>
                </c:pt>
                <c:pt idx="710">
                  <c:v>13319421.577375012</c:v>
                </c:pt>
                <c:pt idx="711">
                  <c:v>13266173.104800001</c:v>
                </c:pt>
                <c:pt idx="712">
                  <c:v>13138466.872666676</c:v>
                </c:pt>
                <c:pt idx="713">
                  <c:v>13045180.068891663</c:v>
                </c:pt>
                <c:pt idx="714">
                  <c:v>12803110.089549992</c:v>
                </c:pt>
                <c:pt idx="715">
                  <c:v>12449141.694441669</c:v>
                </c:pt>
                <c:pt idx="716">
                  <c:v>11460927.390591674</c:v>
                </c:pt>
                <c:pt idx="717">
                  <c:v>12166920.977658335</c:v>
                </c:pt>
                <c:pt idx="718">
                  <c:v>13063231.861850005</c:v>
                </c:pt>
                <c:pt idx="719">
                  <c:v>13250952.217774998</c:v>
                </c:pt>
                <c:pt idx="720">
                  <c:v>13203011.864133334</c:v>
                </c:pt>
                <c:pt idx="721">
                  <c:v>13318367.41380832</c:v>
                </c:pt>
                <c:pt idx="722">
                  <c:v>13520044.391208336</c:v>
                </c:pt>
                <c:pt idx="723">
                  <c:v>13049107.827333327</c:v>
                </c:pt>
                <c:pt idx="724">
                  <c:v>13220798.353499994</c:v>
                </c:pt>
                <c:pt idx="725">
                  <c:v>12767676.319900002</c:v>
                </c:pt>
                <c:pt idx="726">
                  <c:v>12698948.396049997</c:v>
                </c:pt>
                <c:pt idx="727">
                  <c:v>13266921.001333334</c:v>
                </c:pt>
                <c:pt idx="728">
                  <c:v>13205487.514541671</c:v>
                </c:pt>
                <c:pt idx="729">
                  <c:v>13158216.873158328</c:v>
                </c:pt>
                <c:pt idx="730">
                  <c:v>12893534.160708338</c:v>
                </c:pt>
                <c:pt idx="731">
                  <c:v>13459434.085774994</c:v>
                </c:pt>
                <c:pt idx="732">
                  <c:v>13223064.498266667</c:v>
                </c:pt>
                <c:pt idx="733">
                  <c:v>13378272.005316658</c:v>
                </c:pt>
                <c:pt idx="734">
                  <c:v>13219358.945633337</c:v>
                </c:pt>
                <c:pt idx="735">
                  <c:v>13097994.268425006</c:v>
                </c:pt>
                <c:pt idx="736">
                  <c:v>13233045.089033332</c:v>
                </c:pt>
                <c:pt idx="737">
                  <c:v>13418975.892325003</c:v>
                </c:pt>
                <c:pt idx="738">
                  <c:v>13473333.709666662</c:v>
                </c:pt>
                <c:pt idx="739">
                  <c:v>13535519.564224988</c:v>
                </c:pt>
                <c:pt idx="740">
                  <c:v>13483981.358825002</c:v>
                </c:pt>
                <c:pt idx="741">
                  <c:v>13316419.252124995</c:v>
                </c:pt>
                <c:pt idx="742">
                  <c:v>13598961.704966661</c:v>
                </c:pt>
                <c:pt idx="743">
                  <c:v>13582304.816016674</c:v>
                </c:pt>
                <c:pt idx="744">
                  <c:v>13464873.725608334</c:v>
                </c:pt>
                <c:pt idx="745">
                  <c:v>13512368.953716662</c:v>
                </c:pt>
                <c:pt idx="746">
                  <c:v>13549900.744791664</c:v>
                </c:pt>
                <c:pt idx="747">
                  <c:v>13589714.801933326</c:v>
                </c:pt>
                <c:pt idx="748">
                  <c:v>13536156.853758331</c:v>
                </c:pt>
                <c:pt idx="749">
                  <c:v>13435395.812750008</c:v>
                </c:pt>
                <c:pt idx="750">
                  <c:v>13573829.414924998</c:v>
                </c:pt>
                <c:pt idx="751">
                  <c:v>13464512.164708331</c:v>
                </c:pt>
                <c:pt idx="752">
                  <c:v>13551587.54658334</c:v>
                </c:pt>
                <c:pt idx="753">
                  <c:v>13426529.83072501</c:v>
                </c:pt>
                <c:pt idx="754">
                  <c:v>13475707.373025</c:v>
                </c:pt>
                <c:pt idx="755">
                  <c:v>13430197.473491669</c:v>
                </c:pt>
                <c:pt idx="756">
                  <c:v>13541683.323483333</c:v>
                </c:pt>
                <c:pt idx="757">
                  <c:v>13452130.02684167</c:v>
                </c:pt>
                <c:pt idx="758">
                  <c:v>12958337.837641669</c:v>
                </c:pt>
                <c:pt idx="759">
                  <c:v>13314759.431825006</c:v>
                </c:pt>
                <c:pt idx="760">
                  <c:v>12746087.581675008</c:v>
                </c:pt>
                <c:pt idx="761">
                  <c:v>13461299.83115834</c:v>
                </c:pt>
                <c:pt idx="762">
                  <c:v>13666700.098224994</c:v>
                </c:pt>
                <c:pt idx="763">
                  <c:v>13629049.863883324</c:v>
                </c:pt>
                <c:pt idx="764">
                  <c:v>13503387.350616671</c:v>
                </c:pt>
                <c:pt idx="765">
                  <c:v>13382388.83905834</c:v>
                </c:pt>
                <c:pt idx="766">
                  <c:v>13229828.367633333</c:v>
                </c:pt>
                <c:pt idx="767">
                  <c:v>13325134.825008351</c:v>
                </c:pt>
                <c:pt idx="768">
                  <c:v>13647199.280999992</c:v>
                </c:pt>
                <c:pt idx="769">
                  <c:v>13540952.966500007</c:v>
                </c:pt>
                <c:pt idx="770">
                  <c:v>13510421.096408335</c:v>
                </c:pt>
                <c:pt idx="771">
                  <c:v>13429803.527033336</c:v>
                </c:pt>
                <c:pt idx="772">
                  <c:v>12574195.077366672</c:v>
                </c:pt>
                <c:pt idx="773">
                  <c:v>13348656.371941667</c:v>
                </c:pt>
                <c:pt idx="774">
                  <c:v>13390492.358941667</c:v>
                </c:pt>
                <c:pt idx="775">
                  <c:v>13370104.32735</c:v>
                </c:pt>
                <c:pt idx="776">
                  <c:v>13615458.818499994</c:v>
                </c:pt>
                <c:pt idx="777">
                  <c:v>13690988.639008336</c:v>
                </c:pt>
                <c:pt idx="778">
                  <c:v>13898479.818316657</c:v>
                </c:pt>
                <c:pt idx="779">
                  <c:v>13685438.025658328</c:v>
                </c:pt>
                <c:pt idx="780">
                  <c:v>13622036.816066667</c:v>
                </c:pt>
                <c:pt idx="781">
                  <c:v>13410792.35383334</c:v>
                </c:pt>
                <c:pt idx="782">
                  <c:v>13338172.649016667</c:v>
                </c:pt>
                <c:pt idx="783">
                  <c:v>13344630.643291662</c:v>
                </c:pt>
                <c:pt idx="784">
                  <c:v>13243143.664274998</c:v>
                </c:pt>
                <c:pt idx="785">
                  <c:v>13403435.29494166</c:v>
                </c:pt>
                <c:pt idx="786">
                  <c:v>13495217.868550006</c:v>
                </c:pt>
                <c:pt idx="787">
                  <c:v>13537615.881866656</c:v>
                </c:pt>
                <c:pt idx="788">
                  <c:v>13623023.777808342</c:v>
                </c:pt>
                <c:pt idx="789">
                  <c:v>13807925.981091671</c:v>
                </c:pt>
                <c:pt idx="790">
                  <c:v>13569079.455599993</c:v>
                </c:pt>
                <c:pt idx="791">
                  <c:v>13549961.206575003</c:v>
                </c:pt>
                <c:pt idx="792">
                  <c:v>13712485.423475005</c:v>
                </c:pt>
                <c:pt idx="793">
                  <c:v>13718985.766983328</c:v>
                </c:pt>
                <c:pt idx="794">
                  <c:v>13772353.07029167</c:v>
                </c:pt>
                <c:pt idx="795">
                  <c:v>13811259.620724998</c:v>
                </c:pt>
                <c:pt idx="796">
                  <c:v>13676710.696541674</c:v>
                </c:pt>
                <c:pt idx="797">
                  <c:v>13720013.439491669</c:v>
                </c:pt>
                <c:pt idx="798">
                  <c:v>13557104.723775001</c:v>
                </c:pt>
                <c:pt idx="799">
                  <c:v>13328186.756741663</c:v>
                </c:pt>
                <c:pt idx="800">
                  <c:v>13052001.691250006</c:v>
                </c:pt>
                <c:pt idx="801">
                  <c:v>9314976.3274333309</c:v>
                </c:pt>
                <c:pt idx="802">
                  <c:v>13203201.434491668</c:v>
                </c:pt>
                <c:pt idx="803">
                  <c:v>13544570.225375004</c:v>
                </c:pt>
                <c:pt idx="804">
                  <c:v>13485510.516341668</c:v>
                </c:pt>
                <c:pt idx="805">
                  <c:v>13468969.812208328</c:v>
                </c:pt>
                <c:pt idx="806">
                  <c:v>13533082.827608339</c:v>
                </c:pt>
                <c:pt idx="807">
                  <c:v>13484559.20934999</c:v>
                </c:pt>
                <c:pt idx="808">
                  <c:v>13578217.573316667</c:v>
                </c:pt>
                <c:pt idx="809">
                  <c:v>13752791.23208335</c:v>
                </c:pt>
                <c:pt idx="810">
                  <c:v>13756552.585491663</c:v>
                </c:pt>
                <c:pt idx="811">
                  <c:v>13707114.33516667</c:v>
                </c:pt>
                <c:pt idx="812">
                  <c:v>13621330.827974994</c:v>
                </c:pt>
                <c:pt idx="813">
                  <c:v>13470339.724533327</c:v>
                </c:pt>
                <c:pt idx="814">
                  <c:v>13508299.937749995</c:v>
                </c:pt>
                <c:pt idx="815">
                  <c:v>13560703.855150007</c:v>
                </c:pt>
                <c:pt idx="816">
                  <c:v>13556535.968966663</c:v>
                </c:pt>
                <c:pt idx="817">
                  <c:v>13618918.657166671</c:v>
                </c:pt>
                <c:pt idx="818">
                  <c:v>13641825.895933326</c:v>
                </c:pt>
                <c:pt idx="819">
                  <c:v>13669463.104741659</c:v>
                </c:pt>
                <c:pt idx="820">
                  <c:v>13564536.876250003</c:v>
                </c:pt>
                <c:pt idx="821">
                  <c:v>13571058.251000006</c:v>
                </c:pt>
                <c:pt idx="822">
                  <c:v>13521710.520916659</c:v>
                </c:pt>
                <c:pt idx="823">
                  <c:v>13560963.454225</c:v>
                </c:pt>
                <c:pt idx="824">
                  <c:v>13555965.667950004</c:v>
                </c:pt>
                <c:pt idx="825">
                  <c:v>13617309.856550001</c:v>
                </c:pt>
                <c:pt idx="826">
                  <c:v>13582371.928925</c:v>
                </c:pt>
                <c:pt idx="827">
                  <c:v>13635877.58001666</c:v>
                </c:pt>
                <c:pt idx="828">
                  <c:v>13645214.230858337</c:v>
                </c:pt>
                <c:pt idx="829">
                  <c:v>13937039.306858333</c:v>
                </c:pt>
                <c:pt idx="830">
                  <c:v>13864007.777099997</c:v>
                </c:pt>
                <c:pt idx="831">
                  <c:v>13861503.984858323</c:v>
                </c:pt>
                <c:pt idx="832">
                  <c:v>13865693.499949999</c:v>
                </c:pt>
                <c:pt idx="833">
                  <c:v>13828469.369791662</c:v>
                </c:pt>
                <c:pt idx="834">
                  <c:v>13766838.706916654</c:v>
                </c:pt>
                <c:pt idx="835">
                  <c:v>13827471.801241666</c:v>
                </c:pt>
                <c:pt idx="836">
                  <c:v>13786252.297608327</c:v>
                </c:pt>
                <c:pt idx="837">
                  <c:v>13864069.18895833</c:v>
                </c:pt>
                <c:pt idx="838">
                  <c:v>13864070.972091654</c:v>
                </c:pt>
                <c:pt idx="839">
                  <c:v>13856855.999308322</c:v>
                </c:pt>
                <c:pt idx="840">
                  <c:v>13796840.985958338</c:v>
                </c:pt>
                <c:pt idx="841">
                  <c:v>13805368.089408334</c:v>
                </c:pt>
                <c:pt idx="842">
                  <c:v>12677357.598666657</c:v>
                </c:pt>
                <c:pt idx="843">
                  <c:v>13360763.453966673</c:v>
                </c:pt>
                <c:pt idx="844">
                  <c:v>13670779.371383322</c:v>
                </c:pt>
                <c:pt idx="845">
                  <c:v>13764834.844316656</c:v>
                </c:pt>
                <c:pt idx="846">
                  <c:v>13769270.167708334</c:v>
                </c:pt>
                <c:pt idx="847">
                  <c:v>13849235.129041664</c:v>
                </c:pt>
                <c:pt idx="848">
                  <c:v>13928166.770566661</c:v>
                </c:pt>
                <c:pt idx="849">
                  <c:v>13843135.608975001</c:v>
                </c:pt>
                <c:pt idx="850">
                  <c:v>13835579.685316678</c:v>
                </c:pt>
                <c:pt idx="851">
                  <c:v>13806128.162350003</c:v>
                </c:pt>
                <c:pt idx="852">
                  <c:v>13856934.740891665</c:v>
                </c:pt>
                <c:pt idx="853">
                  <c:v>13625715.820366662</c:v>
                </c:pt>
                <c:pt idx="854">
                  <c:v>13724212.152641673</c:v>
                </c:pt>
                <c:pt idx="855">
                  <c:v>13761304.520041663</c:v>
                </c:pt>
                <c:pt idx="856">
                  <c:v>13740804.603375006</c:v>
                </c:pt>
                <c:pt idx="857">
                  <c:v>13738681.116933329</c:v>
                </c:pt>
                <c:pt idx="858">
                  <c:v>13555967.962166663</c:v>
                </c:pt>
                <c:pt idx="859">
                  <c:v>13241267.84898334</c:v>
                </c:pt>
                <c:pt idx="860">
                  <c:v>13242545.705716671</c:v>
                </c:pt>
                <c:pt idx="861">
                  <c:v>13278283.758416662</c:v>
                </c:pt>
                <c:pt idx="862">
                  <c:v>13388415.259241655</c:v>
                </c:pt>
                <c:pt idx="863">
                  <c:v>13542461.411191653</c:v>
                </c:pt>
                <c:pt idx="864">
                  <c:v>13609084.356483327</c:v>
                </c:pt>
                <c:pt idx="865">
                  <c:v>13601911.827991666</c:v>
                </c:pt>
                <c:pt idx="866">
                  <c:v>13483548.534625003</c:v>
                </c:pt>
                <c:pt idx="867">
                  <c:v>13523709.520708328</c:v>
                </c:pt>
                <c:pt idx="868">
                  <c:v>13457206.64159999</c:v>
                </c:pt>
                <c:pt idx="869">
                  <c:v>13532487.139241667</c:v>
                </c:pt>
                <c:pt idx="870">
                  <c:v>13321324.583766658</c:v>
                </c:pt>
                <c:pt idx="871">
                  <c:v>13176836.845291665</c:v>
                </c:pt>
                <c:pt idx="872">
                  <c:v>12793706.838174999</c:v>
                </c:pt>
                <c:pt idx="873">
                  <c:v>13181995.549524995</c:v>
                </c:pt>
                <c:pt idx="874">
                  <c:v>13162732.212899998</c:v>
                </c:pt>
                <c:pt idx="875">
                  <c:v>13195297.997175012</c:v>
                </c:pt>
                <c:pt idx="876">
                  <c:v>13275481.460400004</c:v>
                </c:pt>
                <c:pt idx="877">
                  <c:v>13241152.535808325</c:v>
                </c:pt>
                <c:pt idx="878">
                  <c:v>13233640.90664167</c:v>
                </c:pt>
                <c:pt idx="879">
                  <c:v>13455158.386641668</c:v>
                </c:pt>
                <c:pt idx="880">
                  <c:v>13606337.712624993</c:v>
                </c:pt>
                <c:pt idx="881">
                  <c:v>13577064.067</c:v>
                </c:pt>
                <c:pt idx="882">
                  <c:v>13563028.225366663</c:v>
                </c:pt>
                <c:pt idx="883">
                  <c:v>13615680.181491666</c:v>
                </c:pt>
                <c:pt idx="884">
                  <c:v>13592116.447216675</c:v>
                </c:pt>
                <c:pt idx="885">
                  <c:v>13700324.342183329</c:v>
                </c:pt>
                <c:pt idx="886">
                  <c:v>13748179.100891672</c:v>
                </c:pt>
                <c:pt idx="887">
                  <c:v>13686849.312333332</c:v>
                </c:pt>
                <c:pt idx="888">
                  <c:v>12673941.819441658</c:v>
                </c:pt>
                <c:pt idx="889">
                  <c:v>13308149.645333339</c:v>
                </c:pt>
                <c:pt idx="890">
                  <c:v>13626425.780533329</c:v>
                </c:pt>
                <c:pt idx="891">
                  <c:v>13692514.56388334</c:v>
                </c:pt>
                <c:pt idx="892">
                  <c:v>14084373.980183339</c:v>
                </c:pt>
                <c:pt idx="893">
                  <c:v>13754542.006808337</c:v>
                </c:pt>
                <c:pt idx="894">
                  <c:v>13424192.23326667</c:v>
                </c:pt>
                <c:pt idx="895">
                  <c:v>13343924.209525</c:v>
                </c:pt>
                <c:pt idx="896">
                  <c:v>13543312.293216672</c:v>
                </c:pt>
                <c:pt idx="897">
                  <c:v>13546894.583824992</c:v>
                </c:pt>
                <c:pt idx="898">
                  <c:v>13879134.694724996</c:v>
                </c:pt>
                <c:pt idx="899">
                  <c:v>13948329.232158337</c:v>
                </c:pt>
                <c:pt idx="900">
                  <c:v>13850248.73851667</c:v>
                </c:pt>
                <c:pt idx="901">
                  <c:v>13796095.076549992</c:v>
                </c:pt>
                <c:pt idx="902">
                  <c:v>13758665.950091662</c:v>
                </c:pt>
                <c:pt idx="903">
                  <c:v>13834444.417424995</c:v>
                </c:pt>
                <c:pt idx="904">
                  <c:v>13741275.488291662</c:v>
                </c:pt>
                <c:pt idx="905">
                  <c:v>13898452.555825006</c:v>
                </c:pt>
                <c:pt idx="906">
                  <c:v>13683276.933883332</c:v>
                </c:pt>
                <c:pt idx="907">
                  <c:v>13713685.366225004</c:v>
                </c:pt>
                <c:pt idx="908">
                  <c:v>13689980.357249994</c:v>
                </c:pt>
                <c:pt idx="909">
                  <c:v>13751635.561850011</c:v>
                </c:pt>
                <c:pt idx="910">
                  <c:v>13524507.998691678</c:v>
                </c:pt>
                <c:pt idx="911">
                  <c:v>13479783.811725002</c:v>
                </c:pt>
                <c:pt idx="912">
                  <c:v>13616483.336724998</c:v>
                </c:pt>
                <c:pt idx="913">
                  <c:v>13766205.209025003</c:v>
                </c:pt>
                <c:pt idx="914">
                  <c:v>13747990.254316669</c:v>
                </c:pt>
                <c:pt idx="915">
                  <c:v>13823643.510358334</c:v>
                </c:pt>
                <c:pt idx="916">
                  <c:v>13591760.427633338</c:v>
                </c:pt>
                <c:pt idx="917">
                  <c:v>13628358.43251667</c:v>
                </c:pt>
                <c:pt idx="918">
                  <c:v>13480257.712691668</c:v>
                </c:pt>
                <c:pt idx="919">
                  <c:v>13692016.180983331</c:v>
                </c:pt>
                <c:pt idx="920">
                  <c:v>13819546.865141667</c:v>
                </c:pt>
                <c:pt idx="921">
                  <c:v>13832769.032100001</c:v>
                </c:pt>
                <c:pt idx="922">
                  <c:v>13841997.414224997</c:v>
                </c:pt>
                <c:pt idx="923">
                  <c:v>13784096.582825005</c:v>
                </c:pt>
                <c:pt idx="924">
                  <c:v>13822151.755583331</c:v>
                </c:pt>
                <c:pt idx="925">
                  <c:v>13828323.257150009</c:v>
                </c:pt>
                <c:pt idx="926">
                  <c:v>13875932.178908335</c:v>
                </c:pt>
                <c:pt idx="927">
                  <c:v>13850943.177199997</c:v>
                </c:pt>
                <c:pt idx="928">
                  <c:v>13549256.445774999</c:v>
                </c:pt>
                <c:pt idx="929">
                  <c:v>13542084.300700013</c:v>
                </c:pt>
                <c:pt idx="930">
                  <c:v>13670911.168549988</c:v>
                </c:pt>
                <c:pt idx="931">
                  <c:v>13468930.535600003</c:v>
                </c:pt>
                <c:pt idx="932">
                  <c:v>10171166.478258332</c:v>
                </c:pt>
                <c:pt idx="933">
                  <c:v>12402348.715749994</c:v>
                </c:pt>
                <c:pt idx="934">
                  <c:v>13703166.780133333</c:v>
                </c:pt>
                <c:pt idx="935">
                  <c:v>12013560.727224994</c:v>
                </c:pt>
                <c:pt idx="936">
                  <c:v>13218565.228683334</c:v>
                </c:pt>
                <c:pt idx="937">
                  <c:v>13285522.825174998</c:v>
                </c:pt>
                <c:pt idx="938">
                  <c:v>13386851.360233337</c:v>
                </c:pt>
                <c:pt idx="939">
                  <c:v>13248005.921974998</c:v>
                </c:pt>
                <c:pt idx="940">
                  <c:v>13456034.58278333</c:v>
                </c:pt>
                <c:pt idx="941">
                  <c:v>13514336.768941659</c:v>
                </c:pt>
                <c:pt idx="942">
                  <c:v>13499732.331700001</c:v>
                </c:pt>
                <c:pt idx="943">
                  <c:v>13463136.062291661</c:v>
                </c:pt>
                <c:pt idx="944">
                  <c:v>13618901.523716664</c:v>
                </c:pt>
                <c:pt idx="945">
                  <c:v>13459851.512908321</c:v>
                </c:pt>
                <c:pt idx="946">
                  <c:v>13631060.869658336</c:v>
                </c:pt>
                <c:pt idx="947">
                  <c:v>13658214.064358328</c:v>
                </c:pt>
                <c:pt idx="948">
                  <c:v>13699287.007033326</c:v>
                </c:pt>
                <c:pt idx="949">
                  <c:v>13675293.688400008</c:v>
                </c:pt>
                <c:pt idx="950">
                  <c:v>13623928.435033338</c:v>
                </c:pt>
                <c:pt idx="951">
                  <c:v>13782616.227566663</c:v>
                </c:pt>
                <c:pt idx="952">
                  <c:v>13741516.763533322</c:v>
                </c:pt>
                <c:pt idx="953">
                  <c:v>13727607.083275001</c:v>
                </c:pt>
                <c:pt idx="954">
                  <c:v>13644715.280200005</c:v>
                </c:pt>
                <c:pt idx="955">
                  <c:v>13804704.472574994</c:v>
                </c:pt>
                <c:pt idx="956">
                  <c:v>13672827.272558331</c:v>
                </c:pt>
                <c:pt idx="957">
                  <c:v>13632169.861149997</c:v>
                </c:pt>
                <c:pt idx="958">
                  <c:v>13599548.11791667</c:v>
                </c:pt>
                <c:pt idx="959">
                  <c:v>13549733.847825002</c:v>
                </c:pt>
                <c:pt idx="960">
                  <c:v>13457423.717341665</c:v>
                </c:pt>
                <c:pt idx="961">
                  <c:v>13442168.768033341</c:v>
                </c:pt>
                <c:pt idx="962">
                  <c:v>13005167.682358341</c:v>
                </c:pt>
                <c:pt idx="963">
                  <c:v>13503716.17008334</c:v>
                </c:pt>
                <c:pt idx="964">
                  <c:v>13052789.660133332</c:v>
                </c:pt>
                <c:pt idx="965">
                  <c:v>13042353.555849994</c:v>
                </c:pt>
                <c:pt idx="966">
                  <c:v>13296405.82999167</c:v>
                </c:pt>
                <c:pt idx="967">
                  <c:v>13384861.432341684</c:v>
                </c:pt>
                <c:pt idx="968">
                  <c:v>13411508.177449996</c:v>
                </c:pt>
                <c:pt idx="969">
                  <c:v>13352956.386683341</c:v>
                </c:pt>
                <c:pt idx="970">
                  <c:v>13520276.447166676</c:v>
                </c:pt>
                <c:pt idx="971">
                  <c:v>13411048.275250003</c:v>
                </c:pt>
                <c:pt idx="972">
                  <c:v>13680511.5814</c:v>
                </c:pt>
                <c:pt idx="973">
                  <c:v>13723179.040083339</c:v>
                </c:pt>
                <c:pt idx="974">
                  <c:v>13802784.878499996</c:v>
                </c:pt>
                <c:pt idx="975">
                  <c:v>13847024.661858328</c:v>
                </c:pt>
                <c:pt idx="976">
                  <c:v>13876816.678283352</c:v>
                </c:pt>
                <c:pt idx="977">
                  <c:v>13722261.586274996</c:v>
                </c:pt>
                <c:pt idx="978">
                  <c:v>13690650.537808333</c:v>
                </c:pt>
                <c:pt idx="979">
                  <c:v>13363421.740225</c:v>
                </c:pt>
                <c:pt idx="980">
                  <c:v>13168082.865966659</c:v>
                </c:pt>
                <c:pt idx="981">
                  <c:v>13207781.076291662</c:v>
                </c:pt>
                <c:pt idx="982">
                  <c:v>13203712.732674994</c:v>
                </c:pt>
                <c:pt idx="983">
                  <c:v>13551676.360691652</c:v>
                </c:pt>
                <c:pt idx="984">
                  <c:v>13312939.859974995</c:v>
                </c:pt>
                <c:pt idx="985">
                  <c:v>13504151.447216678</c:v>
                </c:pt>
                <c:pt idx="986">
                  <c:v>13776416.62675835</c:v>
                </c:pt>
                <c:pt idx="987">
                  <c:v>13701884.132641673</c:v>
                </c:pt>
                <c:pt idx="988">
                  <c:v>13650728.175225008</c:v>
                </c:pt>
                <c:pt idx="989">
                  <c:v>13713945.052125011</c:v>
                </c:pt>
                <c:pt idx="990">
                  <c:v>13837628.358641658</c:v>
                </c:pt>
                <c:pt idx="991">
                  <c:v>13775042.461016664</c:v>
                </c:pt>
                <c:pt idx="992">
                  <c:v>13773635.685324997</c:v>
                </c:pt>
                <c:pt idx="993">
                  <c:v>13578106.80768333</c:v>
                </c:pt>
                <c:pt idx="994">
                  <c:v>13749086.928366669</c:v>
                </c:pt>
                <c:pt idx="995">
                  <c:v>13653913.454208329</c:v>
                </c:pt>
                <c:pt idx="996" formatCode="General">
                  <c:v>13824711.905883342</c:v>
                </c:pt>
                <c:pt idx="997">
                  <c:v>13915911.54364999</c:v>
                </c:pt>
                <c:pt idx="998">
                  <c:v>13957786.160916673</c:v>
                </c:pt>
                <c:pt idx="999">
                  <c:v>13783122.568300009</c:v>
                </c:pt>
                <c:pt idx="1000">
                  <c:v>13769835.398058336</c:v>
                </c:pt>
                <c:pt idx="1001">
                  <c:v>13642591.962125003</c:v>
                </c:pt>
                <c:pt idx="1002" formatCode="General">
                  <c:v>13664621.639108326</c:v>
                </c:pt>
                <c:pt idx="1003" formatCode="General">
                  <c:v>13533602.68119166</c:v>
                </c:pt>
                <c:pt idx="1004" formatCode="General">
                  <c:v>13442045.484150002</c:v>
                </c:pt>
                <c:pt idx="1005" formatCode="General">
                  <c:v>13938432.889683332</c:v>
                </c:pt>
                <c:pt idx="1006" formatCode="General">
                  <c:v>13430703.852883339</c:v>
                </c:pt>
                <c:pt idx="1007" formatCode="General">
                  <c:v>13781445.663241686</c:v>
                </c:pt>
                <c:pt idx="1008">
                  <c:v>13688079.116225</c:v>
                </c:pt>
                <c:pt idx="1009">
                  <c:v>13648989.818825003</c:v>
                </c:pt>
                <c:pt idx="1010">
                  <c:v>13722780.020400003</c:v>
                </c:pt>
                <c:pt idx="1011">
                  <c:v>13863699.127141669</c:v>
                </c:pt>
                <c:pt idx="1012">
                  <c:v>13869779.919808332</c:v>
                </c:pt>
                <c:pt idx="1013">
                  <c:v>13762291.163349995</c:v>
                </c:pt>
                <c:pt idx="1014">
                  <c:v>13769342.341116671</c:v>
                </c:pt>
                <c:pt idx="1015">
                  <c:v>13694366.545366671</c:v>
                </c:pt>
                <c:pt idx="1016">
                  <c:v>13712957.789499996</c:v>
                </c:pt>
                <c:pt idx="1017">
                  <c:v>13795733.944733335</c:v>
                </c:pt>
                <c:pt idx="1018">
                  <c:v>13772317.152633335</c:v>
                </c:pt>
                <c:pt idx="1019">
                  <c:v>13984967.069099989</c:v>
                </c:pt>
                <c:pt idx="1020">
                  <c:v>13917361.617424998</c:v>
                </c:pt>
                <c:pt idx="1021">
                  <c:v>13960693.288074993</c:v>
                </c:pt>
                <c:pt idx="1022">
                  <c:v>13582808.364483336</c:v>
                </c:pt>
                <c:pt idx="1023" formatCode="General">
                  <c:v>13778474.801333331</c:v>
                </c:pt>
                <c:pt idx="1024">
                  <c:v>13611980.501758326</c:v>
                </c:pt>
                <c:pt idx="1025">
                  <c:v>13805347.61153334</c:v>
                </c:pt>
                <c:pt idx="1026">
                  <c:v>13967353.451158334</c:v>
                </c:pt>
                <c:pt idx="1027">
                  <c:v>13778512.930250004</c:v>
                </c:pt>
                <c:pt idx="1028">
                  <c:v>13680087.916583326</c:v>
                </c:pt>
                <c:pt idx="1029" formatCode="General">
                  <c:v>13691649.005216669</c:v>
                </c:pt>
                <c:pt idx="1030">
                  <c:v>13921196.649741668</c:v>
                </c:pt>
                <c:pt idx="1031">
                  <c:v>13865835.545899995</c:v>
                </c:pt>
                <c:pt idx="1032" formatCode="General">
                  <c:v>13840603.319208331</c:v>
                </c:pt>
                <c:pt idx="1033">
                  <c:v>13918103.208441667</c:v>
                </c:pt>
                <c:pt idx="1034" formatCode="General">
                  <c:v>13997933.628841668</c:v>
                </c:pt>
                <c:pt idx="1035" formatCode="General">
                  <c:v>14091066.161474999</c:v>
                </c:pt>
                <c:pt idx="1036" formatCode="General">
                  <c:v>13953075.628341665</c:v>
                </c:pt>
                <c:pt idx="1037" formatCode="General">
                  <c:v>13820482.189200018</c:v>
                </c:pt>
                <c:pt idx="1038" formatCode="General">
                  <c:v>14112128.313549999</c:v>
                </c:pt>
                <c:pt idx="1039" formatCode="General">
                  <c:v>13902585.612633342</c:v>
                </c:pt>
                <c:pt idx="1040" formatCode="General">
                  <c:v>13764224.510349998</c:v>
                </c:pt>
                <c:pt idx="1041" formatCode="General">
                  <c:v>13920673.483666671</c:v>
                </c:pt>
                <c:pt idx="1042">
                  <c:v>13620039.02667501</c:v>
                </c:pt>
                <c:pt idx="1043">
                  <c:v>13760805.575683329</c:v>
                </c:pt>
                <c:pt idx="1044" formatCode="General">
                  <c:v>14078245.568874998</c:v>
                </c:pt>
                <c:pt idx="1045" formatCode="General">
                  <c:v>14080350.915391663</c:v>
                </c:pt>
                <c:pt idx="1046">
                  <c:v>14074286.043783341</c:v>
                </c:pt>
                <c:pt idx="1047" formatCode="General">
                  <c:v>14213432.622391663</c:v>
                </c:pt>
                <c:pt idx="1048" formatCode="General">
                  <c:v>14279128.260083336</c:v>
                </c:pt>
                <c:pt idx="1049" formatCode="General">
                  <c:v>14284229.504399993</c:v>
                </c:pt>
                <c:pt idx="1050" formatCode="General">
                  <c:v>14257126.840791671</c:v>
                </c:pt>
                <c:pt idx="1051" formatCode="General">
                  <c:v>14078997.571558334</c:v>
                </c:pt>
                <c:pt idx="1052" formatCode="General">
                  <c:v>14210837.54768333</c:v>
                </c:pt>
                <c:pt idx="1053" formatCode="General">
                  <c:v>14076174.684716647</c:v>
                </c:pt>
                <c:pt idx="1054" formatCode="General">
                  <c:v>14142472.938616659</c:v>
                </c:pt>
                <c:pt idx="1055" formatCode="General">
                  <c:v>14182945.656049997</c:v>
                </c:pt>
                <c:pt idx="1056" formatCode="General">
                  <c:v>14297237.65510834</c:v>
                </c:pt>
                <c:pt idx="1057" formatCode="General">
                  <c:v>14190188.151208326</c:v>
                </c:pt>
                <c:pt idx="1058" formatCode="General">
                  <c:v>14225696.885000004</c:v>
                </c:pt>
                <c:pt idx="1059" formatCode="General">
                  <c:v>14406135.853208333</c:v>
                </c:pt>
                <c:pt idx="1060" formatCode="General">
                  <c:v>14315424.993708331</c:v>
                </c:pt>
                <c:pt idx="1061" formatCode="General">
                  <c:v>14303382.794466661</c:v>
                </c:pt>
                <c:pt idx="1062" formatCode="General">
                  <c:v>14339551.674999984</c:v>
                </c:pt>
                <c:pt idx="1063" formatCode="General">
                  <c:v>14341191.764424998</c:v>
                </c:pt>
              </c:numCache>
            </c:numRef>
          </c:val>
          <c:smooth val="0"/>
          <c:extLst>
            <c:ext xmlns:c16="http://schemas.microsoft.com/office/drawing/2014/chart" uri="{C3380CC4-5D6E-409C-BE32-E72D297353CC}">
              <c16:uniqueId val="{00000000-44F1-4A56-9D28-84A0E124F5A2}"/>
            </c:ext>
          </c:extLst>
        </c:ser>
        <c:ser>
          <c:idx val="1"/>
          <c:order val="1"/>
          <c:tx>
            <c:strRef>
              <c:f>Sheet1!$AN$1:$AN$2</c:f>
              <c:strCache>
                <c:ptCount val="2"/>
                <c:pt idx="0">
                  <c:v>Total BF Through N2 Conservation</c:v>
                </c:pt>
                <c:pt idx="1">
                  <c:v>Nm3/day</c:v>
                </c:pt>
              </c:strCache>
            </c:strRef>
          </c:tx>
          <c:spPr>
            <a:ln w="28575" cap="rnd">
              <a:solidFill>
                <a:schemeClr val="accent2"/>
              </a:solidFill>
              <a:round/>
            </a:ln>
            <a:effectLst/>
          </c:spPr>
          <c:marker>
            <c:symbol val="none"/>
          </c:marker>
          <c:val>
            <c:numRef>
              <c:f>Sheet1!$AN$3:$AN$1106</c:f>
              <c:numCache>
                <c:formatCode>General</c:formatCode>
                <c:ptCount val="1104"/>
                <c:pt idx="0">
                  <c:v>10547799.595075898</c:v>
                </c:pt>
                <c:pt idx="1">
                  <c:v>12596248.778736169</c:v>
                </c:pt>
                <c:pt idx="2">
                  <c:v>13783734.700675763</c:v>
                </c:pt>
                <c:pt idx="3">
                  <c:v>13780083.622340277</c:v>
                </c:pt>
                <c:pt idx="4">
                  <c:v>13560302.069938963</c:v>
                </c:pt>
                <c:pt idx="5">
                  <c:v>13608372.784273038</c:v>
                </c:pt>
                <c:pt idx="6">
                  <c:v>13649891.547176816</c:v>
                </c:pt>
                <c:pt idx="7">
                  <c:v>10721924.125476118</c:v>
                </c:pt>
                <c:pt idx="8">
                  <c:v>12446125.819236344</c:v>
                </c:pt>
                <c:pt idx="9">
                  <c:v>13532187.806803701</c:v>
                </c:pt>
                <c:pt idx="10">
                  <c:v>13454064.686878558</c:v>
                </c:pt>
                <c:pt idx="11">
                  <c:v>13293570.769681901</c:v>
                </c:pt>
                <c:pt idx="12">
                  <c:v>13419114.458516199</c:v>
                </c:pt>
                <c:pt idx="13">
                  <c:v>13546072.301870435</c:v>
                </c:pt>
                <c:pt idx="14">
                  <c:v>13335675.229359403</c:v>
                </c:pt>
                <c:pt idx="15">
                  <c:v>13276382.052124608</c:v>
                </c:pt>
                <c:pt idx="16">
                  <c:v>13158058.86294432</c:v>
                </c:pt>
                <c:pt idx="17">
                  <c:v>13303449.001565022</c:v>
                </c:pt>
                <c:pt idx="18">
                  <c:v>13438521.807897501</c:v>
                </c:pt>
                <c:pt idx="19">
                  <c:v>13702770.865219584</c:v>
                </c:pt>
                <c:pt idx="20">
                  <c:v>13622784.58274327</c:v>
                </c:pt>
                <c:pt idx="21">
                  <c:v>13496691.462404478</c:v>
                </c:pt>
                <c:pt idx="22">
                  <c:v>13580765.751777021</c:v>
                </c:pt>
                <c:pt idx="23">
                  <c:v>13460968.193958959</c:v>
                </c:pt>
                <c:pt idx="24">
                  <c:v>13650725.277293809</c:v>
                </c:pt>
                <c:pt idx="25">
                  <c:v>13644485.459785093</c:v>
                </c:pt>
                <c:pt idx="26">
                  <c:v>13685788.964341603</c:v>
                </c:pt>
                <c:pt idx="27">
                  <c:v>13853480.217364181</c:v>
                </c:pt>
                <c:pt idx="28">
                  <c:v>14189260.555602867</c:v>
                </c:pt>
                <c:pt idx="29">
                  <c:v>12950609.855298841</c:v>
                </c:pt>
                <c:pt idx="30">
                  <c:v>14845262.984367006</c:v>
                </c:pt>
                <c:pt idx="31">
                  <c:v>14776103.343379527</c:v>
                </c:pt>
                <c:pt idx="32">
                  <c:v>14975291.324092852</c:v>
                </c:pt>
                <c:pt idx="33">
                  <c:v>14745542.502628034</c:v>
                </c:pt>
                <c:pt idx="34">
                  <c:v>14679456.989910722</c:v>
                </c:pt>
                <c:pt idx="35">
                  <c:v>14943410.109251702</c:v>
                </c:pt>
                <c:pt idx="36">
                  <c:v>14788654.834215986</c:v>
                </c:pt>
                <c:pt idx="37">
                  <c:v>14641399.711624363</c:v>
                </c:pt>
                <c:pt idx="38">
                  <c:v>14250139.567226687</c:v>
                </c:pt>
                <c:pt idx="39">
                  <c:v>14338070.220521042</c:v>
                </c:pt>
                <c:pt idx="40">
                  <c:v>14433574.018627234</c:v>
                </c:pt>
                <c:pt idx="41">
                  <c:v>14218336.747566285</c:v>
                </c:pt>
                <c:pt idx="42">
                  <c:v>14437606.787755227</c:v>
                </c:pt>
                <c:pt idx="43">
                  <c:v>14275199.110640286</c:v>
                </c:pt>
                <c:pt idx="44">
                  <c:v>13984818.390246786</c:v>
                </c:pt>
                <c:pt idx="45">
                  <c:v>13576086.945425257</c:v>
                </c:pt>
                <c:pt idx="46">
                  <c:v>13292482.077391762</c:v>
                </c:pt>
                <c:pt idx="47">
                  <c:v>13620300.853001446</c:v>
                </c:pt>
                <c:pt idx="48">
                  <c:v>13663057.45203514</c:v>
                </c:pt>
                <c:pt idx="49">
                  <c:v>13807765.521870315</c:v>
                </c:pt>
                <c:pt idx="50">
                  <c:v>13773928.402099594</c:v>
                </c:pt>
                <c:pt idx="51">
                  <c:v>14042937.246295583</c:v>
                </c:pt>
                <c:pt idx="52">
                  <c:v>14029115.731476029</c:v>
                </c:pt>
                <c:pt idx="53">
                  <c:v>13984329.270470805</c:v>
                </c:pt>
                <c:pt idx="54">
                  <c:v>13738595.24729999</c:v>
                </c:pt>
                <c:pt idx="55">
                  <c:v>13756395.267991832</c:v>
                </c:pt>
                <c:pt idx="56">
                  <c:v>13867304.628341557</c:v>
                </c:pt>
                <c:pt idx="57">
                  <c:v>13693265.93558792</c:v>
                </c:pt>
                <c:pt idx="58">
                  <c:v>13799471.615012325</c:v>
                </c:pt>
                <c:pt idx="59">
                  <c:v>14080587.871281452</c:v>
                </c:pt>
                <c:pt idx="60">
                  <c:v>14149745.425566399</c:v>
                </c:pt>
                <c:pt idx="61">
                  <c:v>13949061.83289524</c:v>
                </c:pt>
                <c:pt idx="62">
                  <c:v>13934250.681436216</c:v>
                </c:pt>
                <c:pt idx="63">
                  <c:v>13802702.481455723</c:v>
                </c:pt>
                <c:pt idx="64">
                  <c:v>14282877.852664178</c:v>
                </c:pt>
                <c:pt idx="65">
                  <c:v>13895118.773338545</c:v>
                </c:pt>
                <c:pt idx="66">
                  <c:v>14240140.672042729</c:v>
                </c:pt>
                <c:pt idx="67">
                  <c:v>14345850.386307202</c:v>
                </c:pt>
                <c:pt idx="68">
                  <c:v>14504164.038459616</c:v>
                </c:pt>
                <c:pt idx="69">
                  <c:v>14531293.510320146</c:v>
                </c:pt>
                <c:pt idx="70">
                  <c:v>14151881.309550744</c:v>
                </c:pt>
                <c:pt idx="71">
                  <c:v>14063985.074717045</c:v>
                </c:pt>
                <c:pt idx="72">
                  <c:v>14388744.538595647</c:v>
                </c:pt>
                <c:pt idx="73">
                  <c:v>14373952.823293692</c:v>
                </c:pt>
                <c:pt idx="74">
                  <c:v>14480154.453970689</c:v>
                </c:pt>
                <c:pt idx="75">
                  <c:v>14439951.031021066</c:v>
                </c:pt>
                <c:pt idx="76">
                  <c:v>14368405.838169992</c:v>
                </c:pt>
                <c:pt idx="77">
                  <c:v>14957103.821053501</c:v>
                </c:pt>
                <c:pt idx="78">
                  <c:v>14806645.448317636</c:v>
                </c:pt>
                <c:pt idx="79">
                  <c:v>14924980.209175367</c:v>
                </c:pt>
                <c:pt idx="80">
                  <c:v>14676057.258864522</c:v>
                </c:pt>
                <c:pt idx="81">
                  <c:v>14840115.972268404</c:v>
                </c:pt>
                <c:pt idx="82">
                  <c:v>15186319.907478796</c:v>
                </c:pt>
                <c:pt idx="83">
                  <c:v>15514245.876071446</c:v>
                </c:pt>
                <c:pt idx="84">
                  <c:v>13857130.914858174</c:v>
                </c:pt>
                <c:pt idx="85">
                  <c:v>12716405.009282477</c:v>
                </c:pt>
                <c:pt idx="86">
                  <c:v>12797656.758741811</c:v>
                </c:pt>
                <c:pt idx="87">
                  <c:v>13767724.150877196</c:v>
                </c:pt>
                <c:pt idx="88">
                  <c:v>13745851.365450282</c:v>
                </c:pt>
                <c:pt idx="89">
                  <c:v>13598633.793938667</c:v>
                </c:pt>
                <c:pt idx="90">
                  <c:v>13456580.786372872</c:v>
                </c:pt>
                <c:pt idx="91">
                  <c:v>13331184.052688399</c:v>
                </c:pt>
                <c:pt idx="92">
                  <c:v>13810783.587665733</c:v>
                </c:pt>
                <c:pt idx="93">
                  <c:v>14064545.931448007</c:v>
                </c:pt>
                <c:pt idx="94">
                  <c:v>14346985.245466931</c:v>
                </c:pt>
                <c:pt idx="95">
                  <c:v>14120368.221583698</c:v>
                </c:pt>
                <c:pt idx="96">
                  <c:v>14262291.871437639</c:v>
                </c:pt>
                <c:pt idx="97">
                  <c:v>14335028.960223749</c:v>
                </c:pt>
                <c:pt idx="98">
                  <c:v>14445566.382097768</c:v>
                </c:pt>
                <c:pt idx="99">
                  <c:v>13563865.902774155</c:v>
                </c:pt>
                <c:pt idx="100">
                  <c:v>13339649.494181626</c:v>
                </c:pt>
                <c:pt idx="101">
                  <c:v>10263799.558259634</c:v>
                </c:pt>
                <c:pt idx="102">
                  <c:v>13591346.849177748</c:v>
                </c:pt>
                <c:pt idx="103">
                  <c:v>13890182.993768757</c:v>
                </c:pt>
                <c:pt idx="104">
                  <c:v>13451553.516580295</c:v>
                </c:pt>
                <c:pt idx="105">
                  <c:v>12944914.134292733</c:v>
                </c:pt>
                <c:pt idx="106">
                  <c:v>12952283.855911316</c:v>
                </c:pt>
                <c:pt idx="107">
                  <c:v>13299608.651444662</c:v>
                </c:pt>
                <c:pt idx="108">
                  <c:v>13332607.558772523</c:v>
                </c:pt>
                <c:pt idx="109">
                  <c:v>13350729.118300276</c:v>
                </c:pt>
                <c:pt idx="110">
                  <c:v>12343486.73337375</c:v>
                </c:pt>
                <c:pt idx="111">
                  <c:v>11037448.593093572</c:v>
                </c:pt>
                <c:pt idx="112">
                  <c:v>10103999.61193338</c:v>
                </c:pt>
                <c:pt idx="113">
                  <c:v>10580500.999710366</c:v>
                </c:pt>
                <c:pt idx="114">
                  <c:v>9843063.8108092714</c:v>
                </c:pt>
                <c:pt idx="115">
                  <c:v>10780368.418907637</c:v>
                </c:pt>
                <c:pt idx="116">
                  <c:v>12365752.992622947</c:v>
                </c:pt>
                <c:pt idx="117">
                  <c:v>12517815.7969213</c:v>
                </c:pt>
                <c:pt idx="118">
                  <c:v>12607196.230550241</c:v>
                </c:pt>
                <c:pt idx="119">
                  <c:v>12647008.993235955</c:v>
                </c:pt>
                <c:pt idx="120">
                  <c:v>12635109.680628108</c:v>
                </c:pt>
                <c:pt idx="121">
                  <c:v>12704283.444605602</c:v>
                </c:pt>
                <c:pt idx="122">
                  <c:v>13630524.200823154</c:v>
                </c:pt>
                <c:pt idx="123">
                  <c:v>13962110.573133009</c:v>
                </c:pt>
                <c:pt idx="124">
                  <c:v>14211623.972186636</c:v>
                </c:pt>
                <c:pt idx="125">
                  <c:v>14325259.060492186</c:v>
                </c:pt>
                <c:pt idx="126">
                  <c:v>14350699.504107868</c:v>
                </c:pt>
                <c:pt idx="127">
                  <c:v>14230821.403089482</c:v>
                </c:pt>
                <c:pt idx="128">
                  <c:v>13084719.285438864</c:v>
                </c:pt>
                <c:pt idx="129">
                  <c:v>12869481.741740432</c:v>
                </c:pt>
                <c:pt idx="130">
                  <c:v>12523714.267993558</c:v>
                </c:pt>
                <c:pt idx="131">
                  <c:v>12633910.93337499</c:v>
                </c:pt>
                <c:pt idx="132">
                  <c:v>12682001.314246612</c:v>
                </c:pt>
                <c:pt idx="133">
                  <c:v>12552753.601767108</c:v>
                </c:pt>
                <c:pt idx="134">
                  <c:v>12336732.18461287</c:v>
                </c:pt>
                <c:pt idx="135">
                  <c:v>12955608.694520924</c:v>
                </c:pt>
                <c:pt idx="136">
                  <c:v>13784445.663233375</c:v>
                </c:pt>
                <c:pt idx="137">
                  <c:v>13557594.238887563</c:v>
                </c:pt>
                <c:pt idx="138">
                  <c:v>13654704.927099863</c:v>
                </c:pt>
                <c:pt idx="139">
                  <c:v>13769725.36459011</c:v>
                </c:pt>
                <c:pt idx="140">
                  <c:v>13669646.971926987</c:v>
                </c:pt>
                <c:pt idx="141">
                  <c:v>11034811.89132674</c:v>
                </c:pt>
                <c:pt idx="142">
                  <c:v>13812781.053399676</c:v>
                </c:pt>
                <c:pt idx="143">
                  <c:v>14202205.849423198</c:v>
                </c:pt>
                <c:pt idx="144">
                  <c:v>13891161.576421164</c:v>
                </c:pt>
                <c:pt idx="145">
                  <c:v>13867712.549177496</c:v>
                </c:pt>
                <c:pt idx="146">
                  <c:v>13931818.502998196</c:v>
                </c:pt>
                <c:pt idx="147">
                  <c:v>14081499.249996301</c:v>
                </c:pt>
                <c:pt idx="148">
                  <c:v>14067652.633438533</c:v>
                </c:pt>
                <c:pt idx="149">
                  <c:v>14205904.927536111</c:v>
                </c:pt>
                <c:pt idx="150">
                  <c:v>14237665.49230024</c:v>
                </c:pt>
                <c:pt idx="151">
                  <c:v>14677857.118757445</c:v>
                </c:pt>
                <c:pt idx="152">
                  <c:v>14828443.026755083</c:v>
                </c:pt>
                <c:pt idx="153">
                  <c:v>14675175.231265333</c:v>
                </c:pt>
                <c:pt idx="154">
                  <c:v>14662068.443792706</c:v>
                </c:pt>
                <c:pt idx="155">
                  <c:v>14787206.027852438</c:v>
                </c:pt>
                <c:pt idx="156">
                  <c:v>14775726.101468148</c:v>
                </c:pt>
                <c:pt idx="157">
                  <c:v>14802541.491168275</c:v>
                </c:pt>
                <c:pt idx="158">
                  <c:v>14576667.53427783</c:v>
                </c:pt>
                <c:pt idx="159">
                  <c:v>14590624.65483959</c:v>
                </c:pt>
                <c:pt idx="160">
                  <c:v>14546904.624306312</c:v>
                </c:pt>
                <c:pt idx="161">
                  <c:v>14526204.230096389</c:v>
                </c:pt>
                <c:pt idx="162">
                  <c:v>14368634.798913993</c:v>
                </c:pt>
                <c:pt idx="163">
                  <c:v>14100480.377997428</c:v>
                </c:pt>
                <c:pt idx="164">
                  <c:v>13095575.935189467</c:v>
                </c:pt>
                <c:pt idx="165">
                  <c:v>12932577.368650449</c:v>
                </c:pt>
                <c:pt idx="166">
                  <c:v>13024537.188388338</c:v>
                </c:pt>
                <c:pt idx="167">
                  <c:v>13046736.057723707</c:v>
                </c:pt>
                <c:pt idx="168">
                  <c:v>13427054.774620254</c:v>
                </c:pt>
                <c:pt idx="169">
                  <c:v>13529388.672667256</c:v>
                </c:pt>
                <c:pt idx="170">
                  <c:v>13567860.125288704</c:v>
                </c:pt>
                <c:pt idx="171">
                  <c:v>13701303.5224146</c:v>
                </c:pt>
                <c:pt idx="172">
                  <c:v>13861854.176059283</c:v>
                </c:pt>
                <c:pt idx="173">
                  <c:v>13731220.25791046</c:v>
                </c:pt>
                <c:pt idx="174">
                  <c:v>13700138.082020858</c:v>
                </c:pt>
                <c:pt idx="175">
                  <c:v>13800245.499005716</c:v>
                </c:pt>
                <c:pt idx="176">
                  <c:v>13662769.505418843</c:v>
                </c:pt>
                <c:pt idx="177">
                  <c:v>13949732.24563772</c:v>
                </c:pt>
                <c:pt idx="178">
                  <c:v>13793631.319631113</c:v>
                </c:pt>
                <c:pt idx="179">
                  <c:v>13752782.537136335</c:v>
                </c:pt>
                <c:pt idx="180">
                  <c:v>13745770.587689884</c:v>
                </c:pt>
                <c:pt idx="181">
                  <c:v>13512887.927574592</c:v>
                </c:pt>
                <c:pt idx="182">
                  <c:v>13546941.707409753</c:v>
                </c:pt>
                <c:pt idx="183">
                  <c:v>12945025.028639741</c:v>
                </c:pt>
                <c:pt idx="184">
                  <c:v>13226607.318913754</c:v>
                </c:pt>
                <c:pt idx="185">
                  <c:v>13254169.14732155</c:v>
                </c:pt>
                <c:pt idx="186">
                  <c:v>13254608.801993463</c:v>
                </c:pt>
                <c:pt idx="187">
                  <c:v>13224835.05321472</c:v>
                </c:pt>
                <c:pt idx="188">
                  <c:v>13212444.435993386</c:v>
                </c:pt>
                <c:pt idx="189">
                  <c:v>13289274.501247844</c:v>
                </c:pt>
                <c:pt idx="190">
                  <c:v>13375300.184911702</c:v>
                </c:pt>
                <c:pt idx="191">
                  <c:v>13414749.936770208</c:v>
                </c:pt>
                <c:pt idx="192">
                  <c:v>13502199.303486541</c:v>
                </c:pt>
                <c:pt idx="193">
                  <c:v>13646088.139306258</c:v>
                </c:pt>
                <c:pt idx="194">
                  <c:v>13387406.927168433</c:v>
                </c:pt>
                <c:pt idx="195">
                  <c:v>13429632.01068473</c:v>
                </c:pt>
                <c:pt idx="196">
                  <c:v>13351340.181304026</c:v>
                </c:pt>
                <c:pt idx="197">
                  <c:v>13162975.182570482</c:v>
                </c:pt>
                <c:pt idx="198">
                  <c:v>13371323.405276105</c:v>
                </c:pt>
                <c:pt idx="199">
                  <c:v>14237185.924850114</c:v>
                </c:pt>
                <c:pt idx="200">
                  <c:v>13757302.414814398</c:v>
                </c:pt>
                <c:pt idx="201">
                  <c:v>13938469.956259638</c:v>
                </c:pt>
                <c:pt idx="202">
                  <c:v>14085910.731965361</c:v>
                </c:pt>
                <c:pt idx="203">
                  <c:v>14808823.579597587</c:v>
                </c:pt>
                <c:pt idx="204">
                  <c:v>14939900.901211869</c:v>
                </c:pt>
                <c:pt idx="205">
                  <c:v>14332885.072522886</c:v>
                </c:pt>
                <c:pt idx="206">
                  <c:v>14676556.21439545</c:v>
                </c:pt>
                <c:pt idx="207">
                  <c:v>14799180.745219273</c:v>
                </c:pt>
                <c:pt idx="208">
                  <c:v>15007541.007304439</c:v>
                </c:pt>
                <c:pt idx="209">
                  <c:v>14843150.310952771</c:v>
                </c:pt>
                <c:pt idx="210">
                  <c:v>12937118.685171528</c:v>
                </c:pt>
                <c:pt idx="211">
                  <c:v>11938413.043718701</c:v>
                </c:pt>
                <c:pt idx="212">
                  <c:v>12813379.790502423</c:v>
                </c:pt>
                <c:pt idx="213">
                  <c:v>13774500.796170253</c:v>
                </c:pt>
                <c:pt idx="214">
                  <c:v>14272009.419633768</c:v>
                </c:pt>
                <c:pt idx="215">
                  <c:v>14568574.259374617</c:v>
                </c:pt>
                <c:pt idx="216">
                  <c:v>14623874.466219591</c:v>
                </c:pt>
                <c:pt idx="217">
                  <c:v>14492957.524685133</c:v>
                </c:pt>
                <c:pt idx="218">
                  <c:v>14484366.665935107</c:v>
                </c:pt>
                <c:pt idx="219">
                  <c:v>14313153.288123343</c:v>
                </c:pt>
                <c:pt idx="220">
                  <c:v>14092065.160513209</c:v>
                </c:pt>
                <c:pt idx="221">
                  <c:v>14505284.533307567</c:v>
                </c:pt>
                <c:pt idx="222">
                  <c:v>14746884.419453587</c:v>
                </c:pt>
                <c:pt idx="223">
                  <c:v>14989157.858831394</c:v>
                </c:pt>
                <c:pt idx="224">
                  <c:v>15012975.81089155</c:v>
                </c:pt>
                <c:pt idx="225">
                  <c:v>14011438.861851105</c:v>
                </c:pt>
                <c:pt idx="226">
                  <c:v>15257662.353859033</c:v>
                </c:pt>
                <c:pt idx="227">
                  <c:v>15160419.227871781</c:v>
                </c:pt>
                <c:pt idx="228">
                  <c:v>14635655.067373108</c:v>
                </c:pt>
                <c:pt idx="229">
                  <c:v>14943092.518675493</c:v>
                </c:pt>
                <c:pt idx="230">
                  <c:v>14700872.143315829</c:v>
                </c:pt>
                <c:pt idx="231">
                  <c:v>14410923.533889422</c:v>
                </c:pt>
                <c:pt idx="232">
                  <c:v>14452212.176671168</c:v>
                </c:pt>
                <c:pt idx="233">
                  <c:v>14712583.959849915</c:v>
                </c:pt>
                <c:pt idx="234">
                  <c:v>14311697.425163275</c:v>
                </c:pt>
                <c:pt idx="235">
                  <c:v>14384087.589618614</c:v>
                </c:pt>
                <c:pt idx="236">
                  <c:v>13880676.628116855</c:v>
                </c:pt>
                <c:pt idx="237">
                  <c:v>13794691.835995713</c:v>
                </c:pt>
                <c:pt idx="238">
                  <c:v>14194643.73329496</c:v>
                </c:pt>
                <c:pt idx="239">
                  <c:v>14428454.111910865</c:v>
                </c:pt>
                <c:pt idx="240">
                  <c:v>14244370.961491214</c:v>
                </c:pt>
                <c:pt idx="241">
                  <c:v>13751488.204087524</c:v>
                </c:pt>
                <c:pt idx="242">
                  <c:v>14078954.66170029</c:v>
                </c:pt>
                <c:pt idx="243">
                  <c:v>14235465.13142593</c:v>
                </c:pt>
                <c:pt idx="244">
                  <c:v>14462240.86567384</c:v>
                </c:pt>
                <c:pt idx="245">
                  <c:v>14046115.831919186</c:v>
                </c:pt>
                <c:pt idx="246">
                  <c:v>14441942.872911362</c:v>
                </c:pt>
                <c:pt idx="247">
                  <c:v>14613744.631931502</c:v>
                </c:pt>
                <c:pt idx="248">
                  <c:v>14685944.540438248</c:v>
                </c:pt>
                <c:pt idx="249">
                  <c:v>14681823.004836101</c:v>
                </c:pt>
                <c:pt idx="250">
                  <c:v>14639931.114993015</c:v>
                </c:pt>
                <c:pt idx="251">
                  <c:v>14846626.350808114</c:v>
                </c:pt>
                <c:pt idx="252">
                  <c:v>14307129.079576273</c:v>
                </c:pt>
                <c:pt idx="253">
                  <c:v>14314294.685266022</c:v>
                </c:pt>
                <c:pt idx="254">
                  <c:v>13348602.464216264</c:v>
                </c:pt>
                <c:pt idx="255">
                  <c:v>13947486.801199518</c:v>
                </c:pt>
                <c:pt idx="256">
                  <c:v>14371234.958713559</c:v>
                </c:pt>
                <c:pt idx="257">
                  <c:v>14505614.926092518</c:v>
                </c:pt>
                <c:pt idx="258">
                  <c:v>14302041.398069831</c:v>
                </c:pt>
                <c:pt idx="259">
                  <c:v>14267912.365045343</c:v>
                </c:pt>
                <c:pt idx="260">
                  <c:v>14520548.983932463</c:v>
                </c:pt>
                <c:pt idx="261">
                  <c:v>14443328.370614571</c:v>
                </c:pt>
                <c:pt idx="262">
                  <c:v>14421014.993740158</c:v>
                </c:pt>
                <c:pt idx="263">
                  <c:v>14617254.985660719</c:v>
                </c:pt>
                <c:pt idx="264">
                  <c:v>15518232.65591808</c:v>
                </c:pt>
                <c:pt idx="265">
                  <c:v>15577193.018254234</c:v>
                </c:pt>
                <c:pt idx="266">
                  <c:v>15391840.837551417</c:v>
                </c:pt>
                <c:pt idx="267">
                  <c:v>14250135.719689552</c:v>
                </c:pt>
                <c:pt idx="268">
                  <c:v>14498791.435875367</c:v>
                </c:pt>
                <c:pt idx="269">
                  <c:v>14072977.917978063</c:v>
                </c:pt>
                <c:pt idx="270">
                  <c:v>14238388.725736395</c:v>
                </c:pt>
                <c:pt idx="271">
                  <c:v>14142259.903794326</c:v>
                </c:pt>
                <c:pt idx="272">
                  <c:v>13902550.970803011</c:v>
                </c:pt>
                <c:pt idx="273">
                  <c:v>14133360.740060624</c:v>
                </c:pt>
                <c:pt idx="274">
                  <c:v>14169120.837054744</c:v>
                </c:pt>
                <c:pt idx="275">
                  <c:v>13979629.882189166</c:v>
                </c:pt>
                <c:pt idx="276">
                  <c:v>13883212.651670186</c:v>
                </c:pt>
                <c:pt idx="277">
                  <c:v>13943668.40099043</c:v>
                </c:pt>
                <c:pt idx="278">
                  <c:v>14434797.976147778</c:v>
                </c:pt>
                <c:pt idx="279">
                  <c:v>13579963.827748088</c:v>
                </c:pt>
                <c:pt idx="280">
                  <c:v>13735235.601189489</c:v>
                </c:pt>
                <c:pt idx="281">
                  <c:v>13874303.127568105</c:v>
                </c:pt>
                <c:pt idx="282">
                  <c:v>13927459.961437227</c:v>
                </c:pt>
                <c:pt idx="283">
                  <c:v>13918872.593097739</c:v>
                </c:pt>
                <c:pt idx="284">
                  <c:v>13812616.378793996</c:v>
                </c:pt>
                <c:pt idx="285">
                  <c:v>12851468.985177297</c:v>
                </c:pt>
                <c:pt idx="286">
                  <c:v>13755181.649905475</c:v>
                </c:pt>
                <c:pt idx="287">
                  <c:v>13780548.300482282</c:v>
                </c:pt>
                <c:pt idx="288">
                  <c:v>13728708.581669148</c:v>
                </c:pt>
                <c:pt idx="289">
                  <c:v>13694037.354084119</c:v>
                </c:pt>
                <c:pt idx="290">
                  <c:v>13805095.814257678</c:v>
                </c:pt>
                <c:pt idx="291">
                  <c:v>13954459.377718592</c:v>
                </c:pt>
                <c:pt idx="292">
                  <c:v>13808645.766956508</c:v>
                </c:pt>
                <c:pt idx="293">
                  <c:v>13437734.925558072</c:v>
                </c:pt>
                <c:pt idx="294">
                  <c:v>13756920.974068545</c:v>
                </c:pt>
                <c:pt idx="295">
                  <c:v>13759727.160397355</c:v>
                </c:pt>
                <c:pt idx="296">
                  <c:v>13772512.414342552</c:v>
                </c:pt>
                <c:pt idx="297">
                  <c:v>13645430.408083497</c:v>
                </c:pt>
                <c:pt idx="298">
                  <c:v>13517852.325923532</c:v>
                </c:pt>
                <c:pt idx="299">
                  <c:v>13243089.791130496</c:v>
                </c:pt>
                <c:pt idx="300">
                  <c:v>13323744.595498748</c:v>
                </c:pt>
                <c:pt idx="301">
                  <c:v>13240766.155719042</c:v>
                </c:pt>
                <c:pt idx="302">
                  <c:v>13143365.592771539</c:v>
                </c:pt>
                <c:pt idx="303">
                  <c:v>12752349.413762584</c:v>
                </c:pt>
                <c:pt idx="304">
                  <c:v>13312712.972344464</c:v>
                </c:pt>
                <c:pt idx="305">
                  <c:v>13117377.126703221</c:v>
                </c:pt>
                <c:pt idx="306">
                  <c:v>12606969.909873428</c:v>
                </c:pt>
                <c:pt idx="307">
                  <c:v>11396425.080339463</c:v>
                </c:pt>
                <c:pt idx="308">
                  <c:v>13066289.767830281</c:v>
                </c:pt>
                <c:pt idx="309">
                  <c:v>13006449.188276552</c:v>
                </c:pt>
                <c:pt idx="310">
                  <c:v>13230455.005523391</c:v>
                </c:pt>
                <c:pt idx="311">
                  <c:v>13451112.764671559</c:v>
                </c:pt>
                <c:pt idx="312">
                  <c:v>13520231.29397122</c:v>
                </c:pt>
                <c:pt idx="313">
                  <c:v>13405300.508734414</c:v>
                </c:pt>
                <c:pt idx="314">
                  <c:v>13452858.365462385</c:v>
                </c:pt>
                <c:pt idx="315">
                  <c:v>13268164.362645444</c:v>
                </c:pt>
                <c:pt idx="316">
                  <c:v>12830615.200391054</c:v>
                </c:pt>
                <c:pt idx="317">
                  <c:v>13625321.23131782</c:v>
                </c:pt>
                <c:pt idx="318">
                  <c:v>13492450.058471845</c:v>
                </c:pt>
                <c:pt idx="319">
                  <c:v>13469444.392079225</c:v>
                </c:pt>
                <c:pt idx="320">
                  <c:v>13422419.350720579</c:v>
                </c:pt>
                <c:pt idx="321">
                  <c:v>13674029.041974111</c:v>
                </c:pt>
                <c:pt idx="322">
                  <c:v>13505570.652909417</c:v>
                </c:pt>
                <c:pt idx="323">
                  <c:v>13352106.10302572</c:v>
                </c:pt>
                <c:pt idx="324">
                  <c:v>13547625.165297493</c:v>
                </c:pt>
                <c:pt idx="325">
                  <c:v>13163516.717401702</c:v>
                </c:pt>
                <c:pt idx="326">
                  <c:v>13328339.371894807</c:v>
                </c:pt>
                <c:pt idx="327">
                  <c:v>13222408.53153312</c:v>
                </c:pt>
                <c:pt idx="328">
                  <c:v>13119713.453608802</c:v>
                </c:pt>
                <c:pt idx="329">
                  <c:v>13249987.258162763</c:v>
                </c:pt>
                <c:pt idx="330">
                  <c:v>12979022.242223578</c:v>
                </c:pt>
                <c:pt idx="331">
                  <c:v>13349240.192754738</c:v>
                </c:pt>
                <c:pt idx="332">
                  <c:v>13187364.819338627</c:v>
                </c:pt>
                <c:pt idx="333">
                  <c:v>12701367.213723907</c:v>
                </c:pt>
                <c:pt idx="334">
                  <c:v>12982967.995579146</c:v>
                </c:pt>
                <c:pt idx="335">
                  <c:v>13029187.072479207</c:v>
                </c:pt>
                <c:pt idx="336">
                  <c:v>13067271.124288425</c:v>
                </c:pt>
                <c:pt idx="337">
                  <c:v>13070665.25252128</c:v>
                </c:pt>
                <c:pt idx="338">
                  <c:v>13100547.576539405</c:v>
                </c:pt>
                <c:pt idx="339">
                  <c:v>13096440.50418202</c:v>
                </c:pt>
                <c:pt idx="340">
                  <c:v>13193515.504638204</c:v>
                </c:pt>
                <c:pt idx="341">
                  <c:v>13127107.119098954</c:v>
                </c:pt>
                <c:pt idx="342">
                  <c:v>13353758.622490052</c:v>
                </c:pt>
                <c:pt idx="343">
                  <c:v>12899318.640655968</c:v>
                </c:pt>
                <c:pt idx="344">
                  <c:v>13213540.215954196</c:v>
                </c:pt>
                <c:pt idx="345">
                  <c:v>14233352.884922476</c:v>
                </c:pt>
                <c:pt idx="346">
                  <c:v>14291723.981291393</c:v>
                </c:pt>
                <c:pt idx="347">
                  <c:v>13085675.108080227</c:v>
                </c:pt>
                <c:pt idx="348">
                  <c:v>12940247.197200937</c:v>
                </c:pt>
                <c:pt idx="349">
                  <c:v>12743144.263941033</c:v>
                </c:pt>
                <c:pt idx="350">
                  <c:v>12764335.616540274</c:v>
                </c:pt>
                <c:pt idx="351">
                  <c:v>12792414.855699446</c:v>
                </c:pt>
                <c:pt idx="352">
                  <c:v>14277183.219340088</c:v>
                </c:pt>
                <c:pt idx="353">
                  <c:v>14246002.436690219</c:v>
                </c:pt>
                <c:pt idx="354">
                  <c:v>14279528.146740448</c:v>
                </c:pt>
                <c:pt idx="355">
                  <c:v>14240266.89639283</c:v>
                </c:pt>
                <c:pt idx="356">
                  <c:v>11903917.098156027</c:v>
                </c:pt>
                <c:pt idx="357">
                  <c:v>14458068.81153097</c:v>
                </c:pt>
                <c:pt idx="358">
                  <c:v>14299939.775763143</c:v>
                </c:pt>
                <c:pt idx="359">
                  <c:v>14669098.576765571</c:v>
                </c:pt>
                <c:pt idx="360">
                  <c:v>13717386.282498756</c:v>
                </c:pt>
                <c:pt idx="361">
                  <c:v>14507268.738811906</c:v>
                </c:pt>
                <c:pt idx="362">
                  <c:v>14567301.113450849</c:v>
                </c:pt>
                <c:pt idx="363">
                  <c:v>14452485.170889501</c:v>
                </c:pt>
                <c:pt idx="364">
                  <c:v>14474024.270243689</c:v>
                </c:pt>
                <c:pt idx="365">
                  <c:v>14490992.320983898</c:v>
                </c:pt>
                <c:pt idx="366">
                  <c:v>14132473.623364868</c:v>
                </c:pt>
                <c:pt idx="367">
                  <c:v>14235532.343181062</c:v>
                </c:pt>
                <c:pt idx="368">
                  <c:v>14110206.822129805</c:v>
                </c:pt>
                <c:pt idx="369">
                  <c:v>14519105.763894264</c:v>
                </c:pt>
                <c:pt idx="370">
                  <c:v>14382001.39370494</c:v>
                </c:pt>
                <c:pt idx="371">
                  <c:v>13848915.911367344</c:v>
                </c:pt>
                <c:pt idx="372">
                  <c:v>14066576.486601459</c:v>
                </c:pt>
                <c:pt idx="373">
                  <c:v>14019307.185389375</c:v>
                </c:pt>
                <c:pt idx="374">
                  <c:v>13552108.100901628</c:v>
                </c:pt>
                <c:pt idx="375">
                  <c:v>14128045.117248425</c:v>
                </c:pt>
                <c:pt idx="376">
                  <c:v>14312949.316422088</c:v>
                </c:pt>
                <c:pt idx="377">
                  <c:v>14136811.086437158</c:v>
                </c:pt>
                <c:pt idx="378">
                  <c:v>13502651.179953482</c:v>
                </c:pt>
                <c:pt idx="379">
                  <c:v>13423862.157102095</c:v>
                </c:pt>
                <c:pt idx="380">
                  <c:v>14187532.052925466</c:v>
                </c:pt>
                <c:pt idx="381">
                  <c:v>14119399.482506843</c:v>
                </c:pt>
                <c:pt idx="382">
                  <c:v>14304399.783472365</c:v>
                </c:pt>
                <c:pt idx="383">
                  <c:v>14343531.153772503</c:v>
                </c:pt>
                <c:pt idx="384">
                  <c:v>14172102.741339305</c:v>
                </c:pt>
                <c:pt idx="385">
                  <c:v>14188945.434927242</c:v>
                </c:pt>
                <c:pt idx="386">
                  <c:v>13870573.449953556</c:v>
                </c:pt>
                <c:pt idx="387">
                  <c:v>14093618.17699049</c:v>
                </c:pt>
                <c:pt idx="388">
                  <c:v>14244240.347947352</c:v>
                </c:pt>
                <c:pt idx="389">
                  <c:v>14335066.231375789</c:v>
                </c:pt>
                <c:pt idx="390">
                  <c:v>13293068.280002501</c:v>
                </c:pt>
                <c:pt idx="391">
                  <c:v>14602279.646853089</c:v>
                </c:pt>
                <c:pt idx="392">
                  <c:v>14609087.639548998</c:v>
                </c:pt>
                <c:pt idx="393">
                  <c:v>14421353.329899741</c:v>
                </c:pt>
                <c:pt idx="394">
                  <c:v>14414577.236383213</c:v>
                </c:pt>
                <c:pt idx="395">
                  <c:v>14538558.439769974</c:v>
                </c:pt>
                <c:pt idx="396">
                  <c:v>15171535.160080681</c:v>
                </c:pt>
                <c:pt idx="397">
                  <c:v>15321037.215273067</c:v>
                </c:pt>
                <c:pt idx="398">
                  <c:v>15603356.341388496</c:v>
                </c:pt>
                <c:pt idx="399">
                  <c:v>15864314.39314723</c:v>
                </c:pt>
                <c:pt idx="400">
                  <c:v>16041844.570381071</c:v>
                </c:pt>
                <c:pt idx="401">
                  <c:v>15821304.1538189</c:v>
                </c:pt>
                <c:pt idx="402">
                  <c:v>15505522.304353831</c:v>
                </c:pt>
                <c:pt idx="403">
                  <c:v>15045721.695712544</c:v>
                </c:pt>
                <c:pt idx="404">
                  <c:v>15006892.168171704</c:v>
                </c:pt>
                <c:pt idx="405">
                  <c:v>14877966.345163152</c:v>
                </c:pt>
                <c:pt idx="406">
                  <c:v>15211474.851705264</c:v>
                </c:pt>
                <c:pt idx="407">
                  <c:v>15696996.173663618</c:v>
                </c:pt>
                <c:pt idx="408">
                  <c:v>14813883.054105554</c:v>
                </c:pt>
                <c:pt idx="409">
                  <c:v>14918363.586211411</c:v>
                </c:pt>
                <c:pt idx="410">
                  <c:v>14679158.25351814</c:v>
                </c:pt>
                <c:pt idx="411">
                  <c:v>14650865.398426469</c:v>
                </c:pt>
                <c:pt idx="412">
                  <c:v>14849535.603059886</c:v>
                </c:pt>
                <c:pt idx="413">
                  <c:v>14914395.761146339</c:v>
                </c:pt>
                <c:pt idx="414">
                  <c:v>14537439.11986528</c:v>
                </c:pt>
                <c:pt idx="415">
                  <c:v>14588198.785811491</c:v>
                </c:pt>
                <c:pt idx="416">
                  <c:v>14595483.727527922</c:v>
                </c:pt>
                <c:pt idx="417">
                  <c:v>14829570.872839916</c:v>
                </c:pt>
                <c:pt idx="418">
                  <c:v>15071811.986370808</c:v>
                </c:pt>
                <c:pt idx="419">
                  <c:v>14821891.692766009</c:v>
                </c:pt>
                <c:pt idx="420">
                  <c:v>14719101.992757225</c:v>
                </c:pt>
                <c:pt idx="421">
                  <c:v>14639319.630180148</c:v>
                </c:pt>
                <c:pt idx="422">
                  <c:v>14754224.044650316</c:v>
                </c:pt>
                <c:pt idx="423">
                  <c:v>14571121.148492992</c:v>
                </c:pt>
                <c:pt idx="424">
                  <c:v>14558945.027414922</c:v>
                </c:pt>
                <c:pt idx="425">
                  <c:v>9455491.6042011101</c:v>
                </c:pt>
                <c:pt idx="426">
                  <c:v>14626076.126253098</c:v>
                </c:pt>
                <c:pt idx="427">
                  <c:v>15068264.278317641</c:v>
                </c:pt>
                <c:pt idx="428">
                  <c:v>15078203.8254035</c:v>
                </c:pt>
                <c:pt idx="429">
                  <c:v>14938431.825866323</c:v>
                </c:pt>
                <c:pt idx="430">
                  <c:v>14872905.58971085</c:v>
                </c:pt>
                <c:pt idx="431">
                  <c:v>15391035.647616664</c:v>
                </c:pt>
                <c:pt idx="432">
                  <c:v>15135991.221750196</c:v>
                </c:pt>
                <c:pt idx="433">
                  <c:v>15311187.085755719</c:v>
                </c:pt>
                <c:pt idx="434">
                  <c:v>15191030.629826387</c:v>
                </c:pt>
                <c:pt idx="435">
                  <c:v>14845053.593982054</c:v>
                </c:pt>
                <c:pt idx="436">
                  <c:v>14566179.869622342</c:v>
                </c:pt>
                <c:pt idx="437">
                  <c:v>13565608.171613865</c:v>
                </c:pt>
                <c:pt idx="438">
                  <c:v>14555223.312165879</c:v>
                </c:pt>
                <c:pt idx="439">
                  <c:v>15135529.570846772</c:v>
                </c:pt>
                <c:pt idx="440">
                  <c:v>15470797.851649677</c:v>
                </c:pt>
                <c:pt idx="441">
                  <c:v>15624442.0661291</c:v>
                </c:pt>
                <c:pt idx="442">
                  <c:v>15470227.97611141</c:v>
                </c:pt>
                <c:pt idx="443">
                  <c:v>15631548.6569409</c:v>
                </c:pt>
                <c:pt idx="444">
                  <c:v>15576371.767751718</c:v>
                </c:pt>
                <c:pt idx="445">
                  <c:v>15719824.967487264</c:v>
                </c:pt>
                <c:pt idx="446">
                  <c:v>15825715.183831809</c:v>
                </c:pt>
                <c:pt idx="447">
                  <c:v>15597680.851017073</c:v>
                </c:pt>
                <c:pt idx="448">
                  <c:v>15325099.565906156</c:v>
                </c:pt>
                <c:pt idx="449">
                  <c:v>14037031.750422029</c:v>
                </c:pt>
                <c:pt idx="450">
                  <c:v>13885591.239357356</c:v>
                </c:pt>
                <c:pt idx="451">
                  <c:v>13970710.931750955</c:v>
                </c:pt>
                <c:pt idx="452">
                  <c:v>14088351.496154027</c:v>
                </c:pt>
                <c:pt idx="453">
                  <c:v>14428508.094207305</c:v>
                </c:pt>
                <c:pt idx="454">
                  <c:v>14804873.884168888</c:v>
                </c:pt>
                <c:pt idx="455">
                  <c:v>14720915.809026331</c:v>
                </c:pt>
                <c:pt idx="456">
                  <c:v>14063110.649855066</c:v>
                </c:pt>
                <c:pt idx="457">
                  <c:v>14123152.403833007</c:v>
                </c:pt>
                <c:pt idx="458">
                  <c:v>14270077.022831209</c:v>
                </c:pt>
                <c:pt idx="459">
                  <c:v>14076391.190486046</c:v>
                </c:pt>
                <c:pt idx="460">
                  <c:v>14086700.909716632</c:v>
                </c:pt>
                <c:pt idx="461">
                  <c:v>14113005.814770743</c:v>
                </c:pt>
                <c:pt idx="462">
                  <c:v>14235081.089434942</c:v>
                </c:pt>
                <c:pt idx="463">
                  <c:v>14198538.173844077</c:v>
                </c:pt>
                <c:pt idx="464">
                  <c:v>14283211.479190307</c:v>
                </c:pt>
                <c:pt idx="465">
                  <c:v>13207586.157751959</c:v>
                </c:pt>
                <c:pt idx="466">
                  <c:v>14602759.947122229</c:v>
                </c:pt>
                <c:pt idx="467">
                  <c:v>14401614.923110303</c:v>
                </c:pt>
                <c:pt idx="468">
                  <c:v>14577041.92009474</c:v>
                </c:pt>
                <c:pt idx="469">
                  <c:v>14707652.151409671</c:v>
                </c:pt>
                <c:pt idx="470">
                  <c:v>14522360.784173446</c:v>
                </c:pt>
                <c:pt idx="471">
                  <c:v>15231866.854442718</c:v>
                </c:pt>
                <c:pt idx="472">
                  <c:v>14978681.207302058</c:v>
                </c:pt>
                <c:pt idx="473">
                  <c:v>14428861.80280607</c:v>
                </c:pt>
                <c:pt idx="474">
                  <c:v>14172901.388749024</c:v>
                </c:pt>
                <c:pt idx="475">
                  <c:v>15092252.18913159</c:v>
                </c:pt>
                <c:pt idx="476">
                  <c:v>15325596.088341495</c:v>
                </c:pt>
                <c:pt idx="477">
                  <c:v>15620680.72004535</c:v>
                </c:pt>
                <c:pt idx="478">
                  <c:v>14610840.050831096</c:v>
                </c:pt>
                <c:pt idx="479">
                  <c:v>15279809.539999463</c:v>
                </c:pt>
                <c:pt idx="480">
                  <c:v>15431973.54595683</c:v>
                </c:pt>
                <c:pt idx="481">
                  <c:v>14623172.042947184</c:v>
                </c:pt>
                <c:pt idx="482">
                  <c:v>14490492.396289654</c:v>
                </c:pt>
                <c:pt idx="483">
                  <c:v>14371378.513335448</c:v>
                </c:pt>
                <c:pt idx="484">
                  <c:v>14290690.754636811</c:v>
                </c:pt>
                <c:pt idx="485">
                  <c:v>14220036.571445234</c:v>
                </c:pt>
                <c:pt idx="486">
                  <c:v>14420704.339994589</c:v>
                </c:pt>
                <c:pt idx="487">
                  <c:v>14571349.787545932</c:v>
                </c:pt>
                <c:pt idx="488">
                  <c:v>13325516.070473323</c:v>
                </c:pt>
                <c:pt idx="489">
                  <c:v>13472871.292465037</c:v>
                </c:pt>
                <c:pt idx="490">
                  <c:v>13340233.485008124</c:v>
                </c:pt>
                <c:pt idx="491">
                  <c:v>13055153.564793827</c:v>
                </c:pt>
                <c:pt idx="492">
                  <c:v>13218232.292646019</c:v>
                </c:pt>
                <c:pt idx="493">
                  <c:v>13338531.104686914</c:v>
                </c:pt>
                <c:pt idx="494">
                  <c:v>13445336.985076541</c:v>
                </c:pt>
                <c:pt idx="495">
                  <c:v>13618732.595714198</c:v>
                </c:pt>
                <c:pt idx="496">
                  <c:v>13332413.88171266</c:v>
                </c:pt>
                <c:pt idx="497">
                  <c:v>13471094.478011157</c:v>
                </c:pt>
                <c:pt idx="498">
                  <c:v>13643610.750889266</c:v>
                </c:pt>
                <c:pt idx="499">
                  <c:v>13494790.110810596</c:v>
                </c:pt>
                <c:pt idx="500">
                  <c:v>13287171.25962968</c:v>
                </c:pt>
                <c:pt idx="501">
                  <c:v>13570419.339564931</c:v>
                </c:pt>
                <c:pt idx="502">
                  <c:v>13795892.002006004</c:v>
                </c:pt>
                <c:pt idx="503">
                  <c:v>13706714.543915575</c:v>
                </c:pt>
                <c:pt idx="504">
                  <c:v>13548282.908977652</c:v>
                </c:pt>
                <c:pt idx="505">
                  <c:v>12809828.046648733</c:v>
                </c:pt>
                <c:pt idx="506">
                  <c:v>12995064.294698169</c:v>
                </c:pt>
                <c:pt idx="507">
                  <c:v>11419704.966574065</c:v>
                </c:pt>
                <c:pt idx="508">
                  <c:v>13067394.690515565</c:v>
                </c:pt>
                <c:pt idx="509">
                  <c:v>13325534.891362246</c:v>
                </c:pt>
                <c:pt idx="510">
                  <c:v>13383895.092332384</c:v>
                </c:pt>
                <c:pt idx="511">
                  <c:v>13225695.038575824</c:v>
                </c:pt>
                <c:pt idx="512">
                  <c:v>13679157.470938228</c:v>
                </c:pt>
                <c:pt idx="513">
                  <c:v>13346287.80311555</c:v>
                </c:pt>
                <c:pt idx="514">
                  <c:v>13359028.582092907</c:v>
                </c:pt>
                <c:pt idx="515">
                  <c:v>13515519.358793523</c:v>
                </c:pt>
                <c:pt idx="516">
                  <c:v>13722169.041271444</c:v>
                </c:pt>
                <c:pt idx="517">
                  <c:v>13832600.13808175</c:v>
                </c:pt>
                <c:pt idx="518">
                  <c:v>13691768.824420985</c:v>
                </c:pt>
                <c:pt idx="519">
                  <c:v>13455602.823612167</c:v>
                </c:pt>
                <c:pt idx="520">
                  <c:v>13459319.801846752</c:v>
                </c:pt>
                <c:pt idx="521">
                  <c:v>13565896.797122108</c:v>
                </c:pt>
                <c:pt idx="522">
                  <c:v>13523060.871691318</c:v>
                </c:pt>
                <c:pt idx="523">
                  <c:v>13481282.673626656</c:v>
                </c:pt>
                <c:pt idx="524">
                  <c:v>14024179.826869588</c:v>
                </c:pt>
                <c:pt idx="525">
                  <c:v>13530100.779762009</c:v>
                </c:pt>
                <c:pt idx="526">
                  <c:v>13358372.859873798</c:v>
                </c:pt>
                <c:pt idx="527">
                  <c:v>13436248.176775262</c:v>
                </c:pt>
                <c:pt idx="528">
                  <c:v>13431208.315631799</c:v>
                </c:pt>
                <c:pt idx="529">
                  <c:v>13559909.605251176</c:v>
                </c:pt>
                <c:pt idx="530">
                  <c:v>13755892.79233934</c:v>
                </c:pt>
                <c:pt idx="531">
                  <c:v>13295851.778918965</c:v>
                </c:pt>
                <c:pt idx="532">
                  <c:v>13277043.106166117</c:v>
                </c:pt>
                <c:pt idx="533">
                  <c:v>13122814.374528516</c:v>
                </c:pt>
                <c:pt idx="534">
                  <c:v>13060465.853671467</c:v>
                </c:pt>
                <c:pt idx="535">
                  <c:v>13342620.91561201</c:v>
                </c:pt>
                <c:pt idx="536">
                  <c:v>13469494.731595937</c:v>
                </c:pt>
                <c:pt idx="537">
                  <c:v>13996459.461102603</c:v>
                </c:pt>
                <c:pt idx="538">
                  <c:v>13771826.93838755</c:v>
                </c:pt>
                <c:pt idx="539">
                  <c:v>13685726.283378236</c:v>
                </c:pt>
                <c:pt idx="540">
                  <c:v>13935065.61960686</c:v>
                </c:pt>
                <c:pt idx="541">
                  <c:v>13699372.247298565</c:v>
                </c:pt>
                <c:pt idx="542">
                  <c:v>13756865.82068757</c:v>
                </c:pt>
                <c:pt idx="543">
                  <c:v>13703226.928679103</c:v>
                </c:pt>
                <c:pt idx="544">
                  <c:v>13791642.362949794</c:v>
                </c:pt>
                <c:pt idx="545">
                  <c:v>13707256.064820388</c:v>
                </c:pt>
                <c:pt idx="546">
                  <c:v>13464074.338002101</c:v>
                </c:pt>
                <c:pt idx="547">
                  <c:v>13726667.16025804</c:v>
                </c:pt>
                <c:pt idx="548">
                  <c:v>14051307.246242899</c:v>
                </c:pt>
                <c:pt idx="549">
                  <c:v>13655756.565054517</c:v>
                </c:pt>
                <c:pt idx="550">
                  <c:v>13674809.710207345</c:v>
                </c:pt>
                <c:pt idx="551">
                  <c:v>13683763.637572065</c:v>
                </c:pt>
                <c:pt idx="552">
                  <c:v>13542096.789467914</c:v>
                </c:pt>
                <c:pt idx="553">
                  <c:v>12860097.659854528</c:v>
                </c:pt>
                <c:pt idx="554">
                  <c:v>13156092.286017893</c:v>
                </c:pt>
                <c:pt idx="555">
                  <c:v>13622586.45589946</c:v>
                </c:pt>
                <c:pt idx="556">
                  <c:v>14001792.931116655</c:v>
                </c:pt>
                <c:pt idx="557">
                  <c:v>13697590.651844066</c:v>
                </c:pt>
                <c:pt idx="558">
                  <c:v>14492708.478608483</c:v>
                </c:pt>
                <c:pt idx="559">
                  <c:v>14589215.240348337</c:v>
                </c:pt>
                <c:pt idx="560">
                  <c:v>14735332.449753912</c:v>
                </c:pt>
                <c:pt idx="561">
                  <c:v>14497368.125360543</c:v>
                </c:pt>
                <c:pt idx="562">
                  <c:v>14462588.755620038</c:v>
                </c:pt>
                <c:pt idx="563">
                  <c:v>14699283.291489528</c:v>
                </c:pt>
                <c:pt idx="564">
                  <c:v>13976879.998636136</c:v>
                </c:pt>
                <c:pt idx="565">
                  <c:v>14170075.804509977</c:v>
                </c:pt>
                <c:pt idx="566">
                  <c:v>13987036.542849025</c:v>
                </c:pt>
                <c:pt idx="567">
                  <c:v>13753681.101635601</c:v>
                </c:pt>
                <c:pt idx="568">
                  <c:v>13571146.730679797</c:v>
                </c:pt>
                <c:pt idx="569">
                  <c:v>13892982.277266372</c:v>
                </c:pt>
                <c:pt idx="570">
                  <c:v>14268218.572705256</c:v>
                </c:pt>
                <c:pt idx="571">
                  <c:v>9716370.2758672126</c:v>
                </c:pt>
                <c:pt idx="572">
                  <c:v>15243676.887966037</c:v>
                </c:pt>
                <c:pt idx="573">
                  <c:v>13539932.67105752</c:v>
                </c:pt>
                <c:pt idx="574">
                  <c:v>13038159.993556935</c:v>
                </c:pt>
                <c:pt idx="575">
                  <c:v>13647210.755713213</c:v>
                </c:pt>
                <c:pt idx="576">
                  <c:v>13667666.769420892</c:v>
                </c:pt>
                <c:pt idx="577">
                  <c:v>13489428.061556453</c:v>
                </c:pt>
                <c:pt idx="578">
                  <c:v>13133386.754301842</c:v>
                </c:pt>
                <c:pt idx="579">
                  <c:v>8946257.0161276646</c:v>
                </c:pt>
                <c:pt idx="580">
                  <c:v>10526831.589208713</c:v>
                </c:pt>
                <c:pt idx="581">
                  <c:v>12094709.79497133</c:v>
                </c:pt>
                <c:pt idx="582">
                  <c:v>12045933.46783077</c:v>
                </c:pt>
                <c:pt idx="583">
                  <c:v>12497628.381599525</c:v>
                </c:pt>
                <c:pt idx="584">
                  <c:v>12464972.070619211</c:v>
                </c:pt>
                <c:pt idx="585">
                  <c:v>12539555.103784373</c:v>
                </c:pt>
                <c:pt idx="586">
                  <c:v>12619171.368486878</c:v>
                </c:pt>
                <c:pt idx="587">
                  <c:v>12767037.686977424</c:v>
                </c:pt>
                <c:pt idx="588">
                  <c:v>12949217.912004851</c:v>
                </c:pt>
                <c:pt idx="589">
                  <c:v>12576116.842151649</c:v>
                </c:pt>
                <c:pt idx="590">
                  <c:v>11936342.449653974</c:v>
                </c:pt>
                <c:pt idx="591">
                  <c:v>13309489.129332645</c:v>
                </c:pt>
                <c:pt idx="592">
                  <c:v>12808376.77116276</c:v>
                </c:pt>
                <c:pt idx="593">
                  <c:v>14229214.338109219</c:v>
                </c:pt>
                <c:pt idx="594">
                  <c:v>14373547.755108172</c:v>
                </c:pt>
                <c:pt idx="595">
                  <c:v>14191451.905958956</c:v>
                </c:pt>
                <c:pt idx="596">
                  <c:v>14351794.811703824</c:v>
                </c:pt>
                <c:pt idx="597">
                  <c:v>14417898.480054049</c:v>
                </c:pt>
                <c:pt idx="598">
                  <c:v>13820322.83572402</c:v>
                </c:pt>
                <c:pt idx="599">
                  <c:v>13011290.599943828</c:v>
                </c:pt>
                <c:pt idx="600">
                  <c:v>12977071.526873723</c:v>
                </c:pt>
                <c:pt idx="601">
                  <c:v>13031936.985198075</c:v>
                </c:pt>
                <c:pt idx="602">
                  <c:v>12946181.723591724</c:v>
                </c:pt>
                <c:pt idx="603">
                  <c:v>13071421.291783089</c:v>
                </c:pt>
                <c:pt idx="604">
                  <c:v>13026793.531807346</c:v>
                </c:pt>
                <c:pt idx="605">
                  <c:v>10842716.406243071</c:v>
                </c:pt>
                <c:pt idx="606">
                  <c:v>11867806.536043737</c:v>
                </c:pt>
                <c:pt idx="607">
                  <c:v>12121180.796411997</c:v>
                </c:pt>
                <c:pt idx="608">
                  <c:v>12575464.993407341</c:v>
                </c:pt>
                <c:pt idx="609">
                  <c:v>12073462.909708813</c:v>
                </c:pt>
                <c:pt idx="610">
                  <c:v>12186072.17282889</c:v>
                </c:pt>
                <c:pt idx="611">
                  <c:v>12209105.031120237</c:v>
                </c:pt>
                <c:pt idx="612">
                  <c:v>11986201.998148032</c:v>
                </c:pt>
                <c:pt idx="613">
                  <c:v>12474426.758038465</c:v>
                </c:pt>
                <c:pt idx="614">
                  <c:v>14885676.75576905</c:v>
                </c:pt>
                <c:pt idx="615">
                  <c:v>14921276.746640634</c:v>
                </c:pt>
                <c:pt idx="616">
                  <c:v>15006338.848357808</c:v>
                </c:pt>
                <c:pt idx="617">
                  <c:v>15028863.169597488</c:v>
                </c:pt>
                <c:pt idx="618">
                  <c:v>14253563.726163562</c:v>
                </c:pt>
                <c:pt idx="619">
                  <c:v>13563532.543882672</c:v>
                </c:pt>
                <c:pt idx="620">
                  <c:v>13493403.698628128</c:v>
                </c:pt>
                <c:pt idx="621">
                  <c:v>13442286.919806918</c:v>
                </c:pt>
                <c:pt idx="622">
                  <c:v>13220680.542692631</c:v>
                </c:pt>
                <c:pt idx="623">
                  <c:v>13895298.962307587</c:v>
                </c:pt>
                <c:pt idx="624">
                  <c:v>13284097.604397818</c:v>
                </c:pt>
                <c:pt idx="625">
                  <c:v>13049588.978107244</c:v>
                </c:pt>
                <c:pt idx="626">
                  <c:v>13238039.827899253</c:v>
                </c:pt>
                <c:pt idx="627">
                  <c:v>13219207.781783206</c:v>
                </c:pt>
                <c:pt idx="628">
                  <c:v>13263601.772658125</c:v>
                </c:pt>
                <c:pt idx="629">
                  <c:v>13167996.214981925</c:v>
                </c:pt>
                <c:pt idx="630">
                  <c:v>13141766.39111818</c:v>
                </c:pt>
                <c:pt idx="631">
                  <c:v>13180697.017515171</c:v>
                </c:pt>
                <c:pt idx="632">
                  <c:v>13228725.924110873</c:v>
                </c:pt>
                <c:pt idx="633">
                  <c:v>13239081.913227759</c:v>
                </c:pt>
                <c:pt idx="634">
                  <c:v>13505146.453122791</c:v>
                </c:pt>
                <c:pt idx="635">
                  <c:v>13225474.806712132</c:v>
                </c:pt>
                <c:pt idx="636">
                  <c:v>13034720.077260148</c:v>
                </c:pt>
                <c:pt idx="637">
                  <c:v>13102262.844744332</c:v>
                </c:pt>
                <c:pt idx="638">
                  <c:v>12747846.929461505</c:v>
                </c:pt>
                <c:pt idx="639">
                  <c:v>12623052.067243537</c:v>
                </c:pt>
                <c:pt idx="640">
                  <c:v>13671744.814082192</c:v>
                </c:pt>
                <c:pt idx="641">
                  <c:v>13686949.555080142</c:v>
                </c:pt>
                <c:pt idx="642">
                  <c:v>12525303.147623334</c:v>
                </c:pt>
                <c:pt idx="643">
                  <c:v>12470117.33948959</c:v>
                </c:pt>
                <c:pt idx="644">
                  <c:v>12568287.360574547</c:v>
                </c:pt>
                <c:pt idx="645">
                  <c:v>12631827.521067357</c:v>
                </c:pt>
                <c:pt idx="646">
                  <c:v>12641530.641703099</c:v>
                </c:pt>
                <c:pt idx="647">
                  <c:v>12375029.361057056</c:v>
                </c:pt>
                <c:pt idx="648">
                  <c:v>12310249.330985246</c:v>
                </c:pt>
                <c:pt idx="649">
                  <c:v>12133733.228122625</c:v>
                </c:pt>
                <c:pt idx="650">
                  <c:v>12301504.274880864</c:v>
                </c:pt>
                <c:pt idx="651">
                  <c:v>12460089.36867276</c:v>
                </c:pt>
                <c:pt idx="652">
                  <c:v>12598288.310247265</c:v>
                </c:pt>
                <c:pt idx="653">
                  <c:v>12488893.613772592</c:v>
                </c:pt>
                <c:pt idx="654">
                  <c:v>12315128.374739274</c:v>
                </c:pt>
                <c:pt idx="655">
                  <c:v>12279231.789374528</c:v>
                </c:pt>
                <c:pt idx="656">
                  <c:v>13994873.042297332</c:v>
                </c:pt>
                <c:pt idx="657">
                  <c:v>14253032.147588633</c:v>
                </c:pt>
                <c:pt idx="658">
                  <c:v>14243156.282168709</c:v>
                </c:pt>
                <c:pt idx="659">
                  <c:v>14334019.201472759</c:v>
                </c:pt>
                <c:pt idx="660">
                  <c:v>14392064.184757052</c:v>
                </c:pt>
                <c:pt idx="661">
                  <c:v>14148101.355276521</c:v>
                </c:pt>
                <c:pt idx="662">
                  <c:v>14316259.148405828</c:v>
                </c:pt>
                <c:pt idx="663">
                  <c:v>12606899.428811263</c:v>
                </c:pt>
                <c:pt idx="664">
                  <c:v>12312526.863104515</c:v>
                </c:pt>
                <c:pt idx="665">
                  <c:v>12340509.953548284</c:v>
                </c:pt>
                <c:pt idx="666">
                  <c:v>12433796.725862533</c:v>
                </c:pt>
                <c:pt idx="667">
                  <c:v>12523661.000987757</c:v>
                </c:pt>
                <c:pt idx="668">
                  <c:v>12418909.702647766</c:v>
                </c:pt>
                <c:pt idx="669">
                  <c:v>12459231.308228159</c:v>
                </c:pt>
                <c:pt idx="670">
                  <c:v>12485029.325399581</c:v>
                </c:pt>
                <c:pt idx="671">
                  <c:v>12425442.726626132</c:v>
                </c:pt>
                <c:pt idx="672">
                  <c:v>12361249.937111089</c:v>
                </c:pt>
                <c:pt idx="673">
                  <c:v>12947730.599653726</c:v>
                </c:pt>
                <c:pt idx="674">
                  <c:v>13238557.818395644</c:v>
                </c:pt>
                <c:pt idx="675">
                  <c:v>13249197.768228538</c:v>
                </c:pt>
                <c:pt idx="676">
                  <c:v>13347892.014450554</c:v>
                </c:pt>
                <c:pt idx="677">
                  <c:v>13355777.987185443</c:v>
                </c:pt>
                <c:pt idx="678">
                  <c:v>13159669.892322484</c:v>
                </c:pt>
                <c:pt idx="679">
                  <c:v>13156100.331403755</c:v>
                </c:pt>
                <c:pt idx="680">
                  <c:v>12927208.043307599</c:v>
                </c:pt>
                <c:pt idx="681">
                  <c:v>12841539.94789166</c:v>
                </c:pt>
                <c:pt idx="682">
                  <c:v>12889488.932433082</c:v>
                </c:pt>
                <c:pt idx="683">
                  <c:v>12652545.760635851</c:v>
                </c:pt>
                <c:pt idx="684">
                  <c:v>13082218.106667984</c:v>
                </c:pt>
                <c:pt idx="685">
                  <c:v>13308716.676375194</c:v>
                </c:pt>
                <c:pt idx="686">
                  <c:v>13290502.75219298</c:v>
                </c:pt>
                <c:pt idx="687">
                  <c:v>13003907.896229548</c:v>
                </c:pt>
                <c:pt idx="688">
                  <c:v>13055140.339915251</c:v>
                </c:pt>
                <c:pt idx="689">
                  <c:v>13259832.196757806</c:v>
                </c:pt>
                <c:pt idx="690">
                  <c:v>12961739.323910207</c:v>
                </c:pt>
                <c:pt idx="691">
                  <c:v>13013891.520692686</c:v>
                </c:pt>
                <c:pt idx="692">
                  <c:v>12998076.42803074</c:v>
                </c:pt>
                <c:pt idx="693">
                  <c:v>13165897.845459666</c:v>
                </c:pt>
                <c:pt idx="694">
                  <c:v>13585103.936562341</c:v>
                </c:pt>
                <c:pt idx="695">
                  <c:v>13900640.778764918</c:v>
                </c:pt>
                <c:pt idx="696">
                  <c:v>13158776.304125212</c:v>
                </c:pt>
                <c:pt idx="697">
                  <c:v>13215592.491873384</c:v>
                </c:pt>
                <c:pt idx="698">
                  <c:v>13336789.962741531</c:v>
                </c:pt>
                <c:pt idx="699">
                  <c:v>13855970.709698021</c:v>
                </c:pt>
                <c:pt idx="700">
                  <c:v>13785129.428701149</c:v>
                </c:pt>
                <c:pt idx="701">
                  <c:v>13693494.283154897</c:v>
                </c:pt>
                <c:pt idx="702">
                  <c:v>13492931.435463121</c:v>
                </c:pt>
                <c:pt idx="703">
                  <c:v>13590129.245251898</c:v>
                </c:pt>
                <c:pt idx="704">
                  <c:v>13254313.088262888</c:v>
                </c:pt>
                <c:pt idx="705">
                  <c:v>13359520.220640318</c:v>
                </c:pt>
                <c:pt idx="706">
                  <c:v>13760712.674872309</c:v>
                </c:pt>
                <c:pt idx="707">
                  <c:v>14800866.300357681</c:v>
                </c:pt>
                <c:pt idx="708">
                  <c:v>14160266.02667214</c:v>
                </c:pt>
                <c:pt idx="709">
                  <c:v>13725652.051183835</c:v>
                </c:pt>
                <c:pt idx="710">
                  <c:v>13197512.626897037</c:v>
                </c:pt>
                <c:pt idx="711">
                  <c:v>13304953.936491793</c:v>
                </c:pt>
                <c:pt idx="712">
                  <c:v>13107219.273718566</c:v>
                </c:pt>
                <c:pt idx="713">
                  <c:v>13065297.705658915</c:v>
                </c:pt>
                <c:pt idx="714">
                  <c:v>12819083.390475167</c:v>
                </c:pt>
                <c:pt idx="715">
                  <c:v>12690759.934788475</c:v>
                </c:pt>
                <c:pt idx="716">
                  <c:v>11672366.699070308</c:v>
                </c:pt>
                <c:pt idx="717">
                  <c:v>12154911.043213388</c:v>
                </c:pt>
                <c:pt idx="718">
                  <c:v>13083993.704274435</c:v>
                </c:pt>
                <c:pt idx="719">
                  <c:v>13372702.121879444</c:v>
                </c:pt>
                <c:pt idx="720">
                  <c:v>13584840.967972882</c:v>
                </c:pt>
                <c:pt idx="721">
                  <c:v>13776843.193600129</c:v>
                </c:pt>
                <c:pt idx="722">
                  <c:v>13402323.518500881</c:v>
                </c:pt>
                <c:pt idx="723">
                  <c:v>13309440.898583995</c:v>
                </c:pt>
                <c:pt idx="724">
                  <c:v>13414158.109073678</c:v>
                </c:pt>
                <c:pt idx="725">
                  <c:v>12902316.325726876</c:v>
                </c:pt>
                <c:pt idx="726">
                  <c:v>12857367.054997642</c:v>
                </c:pt>
                <c:pt idx="727">
                  <c:v>13373563.40391768</c:v>
                </c:pt>
                <c:pt idx="728">
                  <c:v>13399512.234885028</c:v>
                </c:pt>
                <c:pt idx="729">
                  <c:v>13314142.586213626</c:v>
                </c:pt>
                <c:pt idx="730">
                  <c:v>12942677.240476651</c:v>
                </c:pt>
                <c:pt idx="731">
                  <c:v>13323606.775564406</c:v>
                </c:pt>
                <c:pt idx="732">
                  <c:v>13021796.552180182</c:v>
                </c:pt>
                <c:pt idx="733">
                  <c:v>13086513.720132951</c:v>
                </c:pt>
                <c:pt idx="734">
                  <c:v>12982713.328400871</c:v>
                </c:pt>
                <c:pt idx="735">
                  <c:v>13092772.142312519</c:v>
                </c:pt>
                <c:pt idx="736">
                  <c:v>13185251.0964812</c:v>
                </c:pt>
                <c:pt idx="737">
                  <c:v>14020080.004725384</c:v>
                </c:pt>
                <c:pt idx="738">
                  <c:v>13855454.018718909</c:v>
                </c:pt>
                <c:pt idx="739">
                  <c:v>13408210.71993082</c:v>
                </c:pt>
                <c:pt idx="740">
                  <c:v>13430362.543588432</c:v>
                </c:pt>
                <c:pt idx="741">
                  <c:v>13191945.038335994</c:v>
                </c:pt>
                <c:pt idx="742">
                  <c:v>13510485.450469308</c:v>
                </c:pt>
                <c:pt idx="743">
                  <c:v>13580631.279412201</c:v>
                </c:pt>
                <c:pt idx="744">
                  <c:v>13428188.714701641</c:v>
                </c:pt>
                <c:pt idx="745">
                  <c:v>13527589.412355294</c:v>
                </c:pt>
                <c:pt idx="746">
                  <c:v>13421374.884054376</c:v>
                </c:pt>
                <c:pt idx="747">
                  <c:v>13467468.959611639</c:v>
                </c:pt>
                <c:pt idx="748">
                  <c:v>13372946.489122905</c:v>
                </c:pt>
                <c:pt idx="749">
                  <c:v>13249423.296948273</c:v>
                </c:pt>
                <c:pt idx="750">
                  <c:v>13447787.337981341</c:v>
                </c:pt>
                <c:pt idx="751">
                  <c:v>13310896.860566005</c:v>
                </c:pt>
                <c:pt idx="752">
                  <c:v>13408885.288634358</c:v>
                </c:pt>
                <c:pt idx="753">
                  <c:v>13302732.771563483</c:v>
                </c:pt>
                <c:pt idx="754">
                  <c:v>13419042.480433112</c:v>
                </c:pt>
                <c:pt idx="755">
                  <c:v>13429904.241840765</c:v>
                </c:pt>
                <c:pt idx="756">
                  <c:v>13423101.402177263</c:v>
                </c:pt>
                <c:pt idx="757">
                  <c:v>13621370.322188342</c:v>
                </c:pt>
                <c:pt idx="758">
                  <c:v>13274635.128417946</c:v>
                </c:pt>
                <c:pt idx="759">
                  <c:v>13621969.766176553</c:v>
                </c:pt>
                <c:pt idx="760">
                  <c:v>12984058.306387722</c:v>
                </c:pt>
                <c:pt idx="761">
                  <c:v>13840335.901397409</c:v>
                </c:pt>
                <c:pt idx="762">
                  <c:v>13961937.214114791</c:v>
                </c:pt>
                <c:pt idx="763">
                  <c:v>13936103.351329325</c:v>
                </c:pt>
                <c:pt idx="764">
                  <c:v>13955760.057469463</c:v>
                </c:pt>
                <c:pt idx="765">
                  <c:v>13579283.768779939</c:v>
                </c:pt>
                <c:pt idx="766">
                  <c:v>13371426.122132828</c:v>
                </c:pt>
                <c:pt idx="767">
                  <c:v>13496109.537697589</c:v>
                </c:pt>
                <c:pt idx="768">
                  <c:v>13848761.029112706</c:v>
                </c:pt>
                <c:pt idx="769">
                  <c:v>13806976.584779255</c:v>
                </c:pt>
                <c:pt idx="770">
                  <c:v>14171338.41406928</c:v>
                </c:pt>
                <c:pt idx="771">
                  <c:v>14128124.145630717</c:v>
                </c:pt>
                <c:pt idx="772">
                  <c:v>12413894.169487823</c:v>
                </c:pt>
                <c:pt idx="773">
                  <c:v>14172223.771837562</c:v>
                </c:pt>
                <c:pt idx="774">
                  <c:v>14134387.743643641</c:v>
                </c:pt>
                <c:pt idx="775">
                  <c:v>14089874.450360375</c:v>
                </c:pt>
                <c:pt idx="776">
                  <c:v>14329610.396892169</c:v>
                </c:pt>
                <c:pt idx="777">
                  <c:v>14415329.649945099</c:v>
                </c:pt>
                <c:pt idx="778">
                  <c:v>14623589.055455927</c:v>
                </c:pt>
                <c:pt idx="779">
                  <c:v>14374878.940500256</c:v>
                </c:pt>
                <c:pt idx="780">
                  <c:v>14284248.35965471</c:v>
                </c:pt>
                <c:pt idx="781">
                  <c:v>14110213.980450578</c:v>
                </c:pt>
                <c:pt idx="782">
                  <c:v>14040196.592902921</c:v>
                </c:pt>
                <c:pt idx="783">
                  <c:v>14023284.41533877</c:v>
                </c:pt>
                <c:pt idx="784">
                  <c:v>13837833.889124645</c:v>
                </c:pt>
                <c:pt idx="785">
                  <c:v>14056837.671196576</c:v>
                </c:pt>
                <c:pt idx="786">
                  <c:v>14065830.594000014</c:v>
                </c:pt>
                <c:pt idx="787">
                  <c:v>14203092.83199513</c:v>
                </c:pt>
                <c:pt idx="788">
                  <c:v>14227783.765618706</c:v>
                </c:pt>
                <c:pt idx="789">
                  <c:v>14272582.270950215</c:v>
                </c:pt>
                <c:pt idx="790">
                  <c:v>14182309.080107387</c:v>
                </c:pt>
                <c:pt idx="791">
                  <c:v>14125865.993410407</c:v>
                </c:pt>
                <c:pt idx="792">
                  <c:v>14275069.076235954</c:v>
                </c:pt>
                <c:pt idx="793">
                  <c:v>13954349.263880355</c:v>
                </c:pt>
                <c:pt idx="794">
                  <c:v>14181644.785162425</c:v>
                </c:pt>
                <c:pt idx="795">
                  <c:v>13996315.992034096</c:v>
                </c:pt>
                <c:pt idx="796">
                  <c:v>13814801.703023022</c:v>
                </c:pt>
                <c:pt idx="797">
                  <c:v>13876045.914689405</c:v>
                </c:pt>
                <c:pt idx="798">
                  <c:v>13766253.183724344</c:v>
                </c:pt>
                <c:pt idx="799">
                  <c:v>13517431.078955054</c:v>
                </c:pt>
                <c:pt idx="800">
                  <c:v>13056690.494784888</c:v>
                </c:pt>
                <c:pt idx="801">
                  <c:v>8632923.3896680903</c:v>
                </c:pt>
                <c:pt idx="802">
                  <c:v>12205150.161723105</c:v>
                </c:pt>
                <c:pt idx="803">
                  <c:v>14187564.753698453</c:v>
                </c:pt>
                <c:pt idx="804">
                  <c:v>13469211.416207762</c:v>
                </c:pt>
                <c:pt idx="805">
                  <c:v>13396405.542584715</c:v>
                </c:pt>
                <c:pt idx="806">
                  <c:v>13828612.87060396</c:v>
                </c:pt>
                <c:pt idx="807">
                  <c:v>13922430.979913054</c:v>
                </c:pt>
                <c:pt idx="808">
                  <c:v>13725515.766988546</c:v>
                </c:pt>
                <c:pt idx="809">
                  <c:v>14002087.075683361</c:v>
                </c:pt>
                <c:pt idx="810">
                  <c:v>15164591.055168092</c:v>
                </c:pt>
                <c:pt idx="811">
                  <c:v>14287219.764499575</c:v>
                </c:pt>
                <c:pt idx="812">
                  <c:v>13468563.814484814</c:v>
                </c:pt>
                <c:pt idx="813">
                  <c:v>13252710.697303573</c:v>
                </c:pt>
                <c:pt idx="814">
                  <c:v>13444037.426083893</c:v>
                </c:pt>
                <c:pt idx="815">
                  <c:v>13813230.489495685</c:v>
                </c:pt>
                <c:pt idx="816">
                  <c:v>13740111.632919693</c:v>
                </c:pt>
                <c:pt idx="817">
                  <c:v>13706823.683366444</c:v>
                </c:pt>
                <c:pt idx="818">
                  <c:v>13615549.404841285</c:v>
                </c:pt>
                <c:pt idx="819">
                  <c:v>13448927.817726135</c:v>
                </c:pt>
                <c:pt idx="820">
                  <c:v>13863585.683581099</c:v>
                </c:pt>
                <c:pt idx="821">
                  <c:v>14046333.164944444</c:v>
                </c:pt>
                <c:pt idx="822">
                  <c:v>14132816.271886893</c:v>
                </c:pt>
                <c:pt idx="823">
                  <c:v>14019786.465934075</c:v>
                </c:pt>
                <c:pt idx="824">
                  <c:v>14164831.521699764</c:v>
                </c:pt>
                <c:pt idx="825">
                  <c:v>14040348.618683193</c:v>
                </c:pt>
                <c:pt idx="826">
                  <c:v>13412227.596478872</c:v>
                </c:pt>
                <c:pt idx="827">
                  <c:v>13477926.930565367</c:v>
                </c:pt>
                <c:pt idx="828">
                  <c:v>13414594.61297561</c:v>
                </c:pt>
                <c:pt idx="829">
                  <c:v>13163258.058379497</c:v>
                </c:pt>
                <c:pt idx="830">
                  <c:v>13342195.81564554</c:v>
                </c:pt>
                <c:pt idx="831">
                  <c:v>13373774.616010446</c:v>
                </c:pt>
                <c:pt idx="832">
                  <c:v>13433896.111845085</c:v>
                </c:pt>
                <c:pt idx="833">
                  <c:v>13313752.134756474</c:v>
                </c:pt>
                <c:pt idx="834">
                  <c:v>13123083.558336055</c:v>
                </c:pt>
                <c:pt idx="835">
                  <c:v>13143777.072475443</c:v>
                </c:pt>
                <c:pt idx="836">
                  <c:v>13181343.133526739</c:v>
                </c:pt>
                <c:pt idx="837">
                  <c:v>13417027.452421477</c:v>
                </c:pt>
                <c:pt idx="838">
                  <c:v>13487250.50452606</c:v>
                </c:pt>
                <c:pt idx="839">
                  <c:v>13795483.339135112</c:v>
                </c:pt>
                <c:pt idx="840">
                  <c:v>14055337.915241666</c:v>
                </c:pt>
                <c:pt idx="841">
                  <c:v>13969109.139899263</c:v>
                </c:pt>
                <c:pt idx="842">
                  <c:v>12665502.942833545</c:v>
                </c:pt>
                <c:pt idx="843">
                  <c:v>13684807.435653143</c:v>
                </c:pt>
                <c:pt idx="844">
                  <c:v>13465149.285612328</c:v>
                </c:pt>
                <c:pt idx="845">
                  <c:v>13428299.56329317</c:v>
                </c:pt>
                <c:pt idx="846">
                  <c:v>13483741.686799554</c:v>
                </c:pt>
                <c:pt idx="847">
                  <c:v>13415628.546307486</c:v>
                </c:pt>
                <c:pt idx="848">
                  <c:v>13378985.275826439</c:v>
                </c:pt>
                <c:pt idx="849">
                  <c:v>13687535.466135381</c:v>
                </c:pt>
                <c:pt idx="850">
                  <c:v>13269828.213355632</c:v>
                </c:pt>
                <c:pt idx="851">
                  <c:v>13245349.577386331</c:v>
                </c:pt>
                <c:pt idx="852">
                  <c:v>13403506.623806981</c:v>
                </c:pt>
                <c:pt idx="853">
                  <c:v>13251759.293411389</c:v>
                </c:pt>
                <c:pt idx="854">
                  <c:v>13298997.194356641</c:v>
                </c:pt>
                <c:pt idx="855">
                  <c:v>13304000.741551485</c:v>
                </c:pt>
                <c:pt idx="856">
                  <c:v>13301868.336972289</c:v>
                </c:pt>
                <c:pt idx="857">
                  <c:v>13178734.169688361</c:v>
                </c:pt>
                <c:pt idx="858">
                  <c:v>13164663.175440079</c:v>
                </c:pt>
                <c:pt idx="859">
                  <c:v>12824376.272904653</c:v>
                </c:pt>
                <c:pt idx="860">
                  <c:v>12914383.630803501</c:v>
                </c:pt>
                <c:pt idx="861">
                  <c:v>13167511.691342637</c:v>
                </c:pt>
                <c:pt idx="862">
                  <c:v>13250857.001365818</c:v>
                </c:pt>
                <c:pt idx="863">
                  <c:v>13290487.524876097</c:v>
                </c:pt>
                <c:pt idx="864">
                  <c:v>13313304.209603146</c:v>
                </c:pt>
                <c:pt idx="865">
                  <c:v>13008162.449423555</c:v>
                </c:pt>
                <c:pt idx="866">
                  <c:v>13080008.29934057</c:v>
                </c:pt>
                <c:pt idx="867">
                  <c:v>13760756.374796629</c:v>
                </c:pt>
                <c:pt idx="868">
                  <c:v>13363008.517188005</c:v>
                </c:pt>
                <c:pt idx="869">
                  <c:v>12788010.468076685</c:v>
                </c:pt>
                <c:pt idx="870">
                  <c:v>12591710.822573561</c:v>
                </c:pt>
                <c:pt idx="871">
                  <c:v>12425603.362974385</c:v>
                </c:pt>
                <c:pt idx="872">
                  <c:v>12095478.681406768</c:v>
                </c:pt>
                <c:pt idx="873">
                  <c:v>12403972.862829929</c:v>
                </c:pt>
                <c:pt idx="874">
                  <c:v>12374716.344021572</c:v>
                </c:pt>
                <c:pt idx="875">
                  <c:v>12476181.739167027</c:v>
                </c:pt>
                <c:pt idx="876">
                  <c:v>12732228.706826104</c:v>
                </c:pt>
                <c:pt idx="877">
                  <c:v>12644536.613766046</c:v>
                </c:pt>
                <c:pt idx="878">
                  <c:v>12630550.337124152</c:v>
                </c:pt>
                <c:pt idx="879">
                  <c:v>12699541.069000766</c:v>
                </c:pt>
                <c:pt idx="880">
                  <c:v>12753357.749962073</c:v>
                </c:pt>
                <c:pt idx="881">
                  <c:v>13156410.006533761</c:v>
                </c:pt>
                <c:pt idx="882">
                  <c:v>14133661.907616507</c:v>
                </c:pt>
                <c:pt idx="883">
                  <c:v>14549466.992038343</c:v>
                </c:pt>
                <c:pt idx="884">
                  <c:v>13665966.258785505</c:v>
                </c:pt>
                <c:pt idx="885">
                  <c:v>13753916.396068357</c:v>
                </c:pt>
                <c:pt idx="886">
                  <c:v>14971069.269220717</c:v>
                </c:pt>
                <c:pt idx="887">
                  <c:v>14517146.472041443</c:v>
                </c:pt>
                <c:pt idx="888">
                  <c:v>13490137.781451974</c:v>
                </c:pt>
                <c:pt idx="889">
                  <c:v>14911148.509665929</c:v>
                </c:pt>
                <c:pt idx="890">
                  <c:v>14185166.544597652</c:v>
                </c:pt>
                <c:pt idx="891">
                  <c:v>14804855.718794269</c:v>
                </c:pt>
                <c:pt idx="892">
                  <c:v>14874409.098428426</c:v>
                </c:pt>
                <c:pt idx="893">
                  <c:v>14655816.349871684</c:v>
                </c:pt>
                <c:pt idx="894">
                  <c:v>14408040.576048743</c:v>
                </c:pt>
                <c:pt idx="895">
                  <c:v>13084072.238547282</c:v>
                </c:pt>
                <c:pt idx="896">
                  <c:v>14391686.753299003</c:v>
                </c:pt>
                <c:pt idx="897">
                  <c:v>12214831.497141026</c:v>
                </c:pt>
                <c:pt idx="898">
                  <c:v>13443456.277505623</c:v>
                </c:pt>
                <c:pt idx="899">
                  <c:v>14067134.355530594</c:v>
                </c:pt>
                <c:pt idx="900">
                  <c:v>15033696.305674065</c:v>
                </c:pt>
                <c:pt idx="901">
                  <c:v>14786087.835298602</c:v>
                </c:pt>
                <c:pt idx="902">
                  <c:v>14583681.566591887</c:v>
                </c:pt>
                <c:pt idx="903">
                  <c:v>14706435.797368849</c:v>
                </c:pt>
                <c:pt idx="904">
                  <c:v>14624512.180142507</c:v>
                </c:pt>
                <c:pt idx="905">
                  <c:v>14490117.918907603</c:v>
                </c:pt>
                <c:pt idx="906">
                  <c:v>12976077.328617485</c:v>
                </c:pt>
                <c:pt idx="907">
                  <c:v>12784799.735659495</c:v>
                </c:pt>
                <c:pt idx="908">
                  <c:v>14073504.177158456</c:v>
                </c:pt>
                <c:pt idx="909">
                  <c:v>14162989.37290965</c:v>
                </c:pt>
                <c:pt idx="910">
                  <c:v>13923418.302212475</c:v>
                </c:pt>
                <c:pt idx="911">
                  <c:v>13861408.293169556</c:v>
                </c:pt>
                <c:pt idx="912">
                  <c:v>13973280.59568534</c:v>
                </c:pt>
                <c:pt idx="913">
                  <c:v>14253262.542123426</c:v>
                </c:pt>
                <c:pt idx="914">
                  <c:v>14321065.186727839</c:v>
                </c:pt>
                <c:pt idx="915">
                  <c:v>14438405.776880076</c:v>
                </c:pt>
                <c:pt idx="916">
                  <c:v>14155829.708099226</c:v>
                </c:pt>
                <c:pt idx="917">
                  <c:v>14230587.191441312</c:v>
                </c:pt>
                <c:pt idx="918">
                  <c:v>14713150.113062577</c:v>
                </c:pt>
                <c:pt idx="919">
                  <c:v>15879512.644763706</c:v>
                </c:pt>
                <c:pt idx="920">
                  <c:v>16013738.305617806</c:v>
                </c:pt>
                <c:pt idx="921">
                  <c:v>14650263.085564723</c:v>
                </c:pt>
                <c:pt idx="922">
                  <c:v>14673036.960255779</c:v>
                </c:pt>
                <c:pt idx="923">
                  <c:v>15957486.076008648</c:v>
                </c:pt>
                <c:pt idx="924">
                  <c:v>14450661.483087702</c:v>
                </c:pt>
                <c:pt idx="925">
                  <c:v>15429947.640152726</c:v>
                </c:pt>
                <c:pt idx="926">
                  <c:v>15178750.703060063</c:v>
                </c:pt>
                <c:pt idx="927">
                  <c:v>14693033.71504716</c:v>
                </c:pt>
                <c:pt idx="928">
                  <c:v>14356106.723273996</c:v>
                </c:pt>
                <c:pt idx="929">
                  <c:v>14256594.189131938</c:v>
                </c:pt>
                <c:pt idx="930">
                  <c:v>14356674.006744148</c:v>
                </c:pt>
                <c:pt idx="931">
                  <c:v>14122131.229416711</c:v>
                </c:pt>
                <c:pt idx="932">
                  <c:v>10291579.831674518</c:v>
                </c:pt>
                <c:pt idx="933">
                  <c:v>12813529.350485967</c:v>
                </c:pt>
                <c:pt idx="934">
                  <c:v>14417677.020022267</c:v>
                </c:pt>
                <c:pt idx="935">
                  <c:v>13214791.144700378</c:v>
                </c:pt>
                <c:pt idx="936">
                  <c:v>14446624.073768644</c:v>
                </c:pt>
                <c:pt idx="937">
                  <c:v>14449724.670772556</c:v>
                </c:pt>
                <c:pt idx="938">
                  <c:v>14710509.778081071</c:v>
                </c:pt>
                <c:pt idx="939">
                  <c:v>14173185.371878592</c:v>
                </c:pt>
                <c:pt idx="940">
                  <c:v>14243419.209373416</c:v>
                </c:pt>
                <c:pt idx="941">
                  <c:v>14343388.917612508</c:v>
                </c:pt>
                <c:pt idx="942">
                  <c:v>12914151.307673311</c:v>
                </c:pt>
                <c:pt idx="943">
                  <c:v>14574122.38188149</c:v>
                </c:pt>
                <c:pt idx="944">
                  <c:v>14564525.043746607</c:v>
                </c:pt>
                <c:pt idx="945">
                  <c:v>14248575.892891558</c:v>
                </c:pt>
                <c:pt idx="946">
                  <c:v>14344679.019232836</c:v>
                </c:pt>
                <c:pt idx="947">
                  <c:v>12785100.98785807</c:v>
                </c:pt>
                <c:pt idx="948">
                  <c:v>12912067.761097878</c:v>
                </c:pt>
                <c:pt idx="949">
                  <c:v>12926913.654201867</c:v>
                </c:pt>
                <c:pt idx="950">
                  <c:v>12703292.118411625</c:v>
                </c:pt>
                <c:pt idx="951">
                  <c:v>12669118.486684624</c:v>
                </c:pt>
                <c:pt idx="952">
                  <c:v>14437916.702342557</c:v>
                </c:pt>
                <c:pt idx="953">
                  <c:v>14609054.322347866</c:v>
                </c:pt>
                <c:pt idx="954">
                  <c:v>14296769.800795775</c:v>
                </c:pt>
                <c:pt idx="955">
                  <c:v>14495816.033764161</c:v>
                </c:pt>
                <c:pt idx="956">
                  <c:v>14450391.880865095</c:v>
                </c:pt>
                <c:pt idx="957">
                  <c:v>12785788.296337824</c:v>
                </c:pt>
                <c:pt idx="958">
                  <c:v>14347237.647603888</c:v>
                </c:pt>
                <c:pt idx="959">
                  <c:v>14237893.878610123</c:v>
                </c:pt>
                <c:pt idx="960">
                  <c:v>14177824.791103393</c:v>
                </c:pt>
                <c:pt idx="961">
                  <c:v>14526358.469169546</c:v>
                </c:pt>
                <c:pt idx="962">
                  <c:v>14817525.350230176</c:v>
                </c:pt>
                <c:pt idx="963">
                  <c:v>15326638.749154756</c:v>
                </c:pt>
                <c:pt idx="964">
                  <c:v>14713791.965990659</c:v>
                </c:pt>
                <c:pt idx="965">
                  <c:v>14606156.911894079</c:v>
                </c:pt>
                <c:pt idx="966">
                  <c:v>15024169.366582146</c:v>
                </c:pt>
                <c:pt idx="967">
                  <c:v>15204980.311172627</c:v>
                </c:pt>
                <c:pt idx="968">
                  <c:v>14994993.484533302</c:v>
                </c:pt>
                <c:pt idx="969">
                  <c:v>14830535.221860174</c:v>
                </c:pt>
                <c:pt idx="970">
                  <c:v>14952877.131031753</c:v>
                </c:pt>
                <c:pt idx="971">
                  <c:v>14887700.63643972</c:v>
                </c:pt>
                <c:pt idx="972">
                  <c:v>15256144.237672543</c:v>
                </c:pt>
                <c:pt idx="973">
                  <c:v>15419352.023155279</c:v>
                </c:pt>
                <c:pt idx="974">
                  <c:v>15585534.436622841</c:v>
                </c:pt>
                <c:pt idx="975">
                  <c:v>15645928.073370395</c:v>
                </c:pt>
                <c:pt idx="976">
                  <c:v>13876334.368478844</c:v>
                </c:pt>
                <c:pt idx="977">
                  <c:v>13679783.144521637</c:v>
                </c:pt>
                <c:pt idx="978">
                  <c:v>15478656.376501463</c:v>
                </c:pt>
                <c:pt idx="979">
                  <c:v>15087667.48481548</c:v>
                </c:pt>
                <c:pt idx="980">
                  <c:v>12849976.990543315</c:v>
                </c:pt>
                <c:pt idx="981">
                  <c:v>14880815.800965907</c:v>
                </c:pt>
                <c:pt idx="982">
                  <c:v>14737752.274196552</c:v>
                </c:pt>
                <c:pt idx="983">
                  <c:v>15033255.837128229</c:v>
                </c:pt>
                <c:pt idx="984">
                  <c:v>14655969.740155581</c:v>
                </c:pt>
                <c:pt idx="985">
                  <c:v>14681638.216022458</c:v>
                </c:pt>
                <c:pt idx="986">
                  <c:v>14903992.475878904</c:v>
                </c:pt>
                <c:pt idx="987">
                  <c:v>14927017.601137158</c:v>
                </c:pt>
                <c:pt idx="988">
                  <c:v>14860702.464615097</c:v>
                </c:pt>
                <c:pt idx="989">
                  <c:v>14908556.986871062</c:v>
                </c:pt>
                <c:pt idx="990">
                  <c:v>15037329.137844738</c:v>
                </c:pt>
                <c:pt idx="991">
                  <c:v>15233865.627331303</c:v>
                </c:pt>
                <c:pt idx="992">
                  <c:v>17004289.491420522</c:v>
                </c:pt>
                <c:pt idx="993">
                  <c:v>15327770.428893829</c:v>
                </c:pt>
                <c:pt idx="994">
                  <c:v>15481282.522145767</c:v>
                </c:pt>
                <c:pt idx="995">
                  <c:v>15391348.977168635</c:v>
                </c:pt>
                <c:pt idx="996">
                  <c:v>15583479.204248752</c:v>
                </c:pt>
                <c:pt idx="997">
                  <c:v>16282186.867676981</c:v>
                </c:pt>
                <c:pt idx="998">
                  <c:v>15974194.697230646</c:v>
                </c:pt>
                <c:pt idx="999">
                  <c:v>15507369.968762781</c:v>
                </c:pt>
                <c:pt idx="1000">
                  <c:v>15485325.641904239</c:v>
                </c:pt>
                <c:pt idx="1001">
                  <c:v>15440475.422356335</c:v>
                </c:pt>
                <c:pt idx="1002">
                  <c:v>15404655.646202024</c:v>
                </c:pt>
                <c:pt idx="1003">
                  <c:v>15223277.043089427</c:v>
                </c:pt>
                <c:pt idx="1004">
                  <c:v>15092969.688981207</c:v>
                </c:pt>
                <c:pt idx="1005">
                  <c:v>14952482.503911031</c:v>
                </c:pt>
                <c:pt idx="1006">
                  <c:v>12024685.347823583</c:v>
                </c:pt>
                <c:pt idx="1007">
                  <c:v>14089672.150895115</c:v>
                </c:pt>
                <c:pt idx="1008">
                  <c:v>13902843.260232842</c:v>
                </c:pt>
                <c:pt idx="1009">
                  <c:v>13798038.172208967</c:v>
                </c:pt>
                <c:pt idx="1010">
                  <c:v>13993957.681097068</c:v>
                </c:pt>
                <c:pt idx="1011">
                  <c:v>14331716.476792505</c:v>
                </c:pt>
                <c:pt idx="1012">
                  <c:v>14231783.31751042</c:v>
                </c:pt>
                <c:pt idx="1013">
                  <c:v>13973676.871707369</c:v>
                </c:pt>
                <c:pt idx="1014">
                  <c:v>13986742.288648471</c:v>
                </c:pt>
                <c:pt idx="1015">
                  <c:v>14135706.082676496</c:v>
                </c:pt>
                <c:pt idx="1016">
                  <c:v>13841223.932142271</c:v>
                </c:pt>
                <c:pt idx="1017">
                  <c:v>14090119.480389932</c:v>
                </c:pt>
                <c:pt idx="1018">
                  <c:v>14332121.099178016</c:v>
                </c:pt>
                <c:pt idx="1019">
                  <c:v>15328981.985732153</c:v>
                </c:pt>
                <c:pt idx="1020">
                  <c:v>15023082.938173003</c:v>
                </c:pt>
                <c:pt idx="1021">
                  <c:v>14541486.788671749</c:v>
                </c:pt>
                <c:pt idx="1022">
                  <c:v>15019154.814592512</c:v>
                </c:pt>
                <c:pt idx="1023">
                  <c:v>13787457.540224994</c:v>
                </c:pt>
                <c:pt idx="1024">
                  <c:v>14779699.661511203</c:v>
                </c:pt>
                <c:pt idx="1025">
                  <c:v>14484906.300053559</c:v>
                </c:pt>
                <c:pt idx="1026">
                  <c:v>14904095.038978366</c:v>
                </c:pt>
                <c:pt idx="1027">
                  <c:v>13358379.903136089</c:v>
                </c:pt>
                <c:pt idx="1028">
                  <c:v>14525989.578424079</c:v>
                </c:pt>
                <c:pt idx="1029">
                  <c:v>14539518.306914464</c:v>
                </c:pt>
                <c:pt idx="1030">
                  <c:v>13744259.284594728</c:v>
                </c:pt>
                <c:pt idx="1031">
                  <c:v>14745514.028432051</c:v>
                </c:pt>
                <c:pt idx="1032">
                  <c:v>14771108.930473872</c:v>
                </c:pt>
                <c:pt idx="1033">
                  <c:v>14778713.484483637</c:v>
                </c:pt>
                <c:pt idx="1034">
                  <c:v>14593714.400981635</c:v>
                </c:pt>
                <c:pt idx="1035">
                  <c:v>14575436.240035264</c:v>
                </c:pt>
                <c:pt idx="1036">
                  <c:v>14428587.147586074</c:v>
                </c:pt>
                <c:pt idx="1037">
                  <c:v>14424154.466058243</c:v>
                </c:pt>
                <c:pt idx="1038">
                  <c:v>14612089.714075409</c:v>
                </c:pt>
                <c:pt idx="1039">
                  <c:v>14536111.7468045</c:v>
                </c:pt>
                <c:pt idx="1040">
                  <c:v>14620191.025548693</c:v>
                </c:pt>
                <c:pt idx="1041">
                  <c:v>12905574.476753332</c:v>
                </c:pt>
                <c:pt idx="1042">
                  <c:v>13912639.477867106</c:v>
                </c:pt>
                <c:pt idx="1043">
                  <c:v>13818068.548327338</c:v>
                </c:pt>
                <c:pt idx="1044">
                  <c:v>14309174.681556961</c:v>
                </c:pt>
                <c:pt idx="1045">
                  <c:v>14242756.163800677</c:v>
                </c:pt>
                <c:pt idx="1046">
                  <c:v>14132695.274064774</c:v>
                </c:pt>
                <c:pt idx="1047">
                  <c:v>14305212.324048707</c:v>
                </c:pt>
                <c:pt idx="1048">
                  <c:v>14327209.446848094</c:v>
                </c:pt>
                <c:pt idx="1049">
                  <c:v>14052118.592527462</c:v>
                </c:pt>
                <c:pt idx="1050">
                  <c:v>13965031.329971625</c:v>
                </c:pt>
                <c:pt idx="1051">
                  <c:v>12772966.574141888</c:v>
                </c:pt>
                <c:pt idx="1052">
                  <c:v>14413526.563650643</c:v>
                </c:pt>
                <c:pt idx="1053">
                  <c:v>14258856.830657402</c:v>
                </c:pt>
                <c:pt idx="1054">
                  <c:v>14409521.323948257</c:v>
                </c:pt>
                <c:pt idx="1055">
                  <c:v>13059436.659477375</c:v>
                </c:pt>
                <c:pt idx="1056">
                  <c:v>13116067.969124395</c:v>
                </c:pt>
                <c:pt idx="1057">
                  <c:v>13181321.425141437</c:v>
                </c:pt>
                <c:pt idx="1058">
                  <c:v>13068879.975940846</c:v>
                </c:pt>
                <c:pt idx="1059">
                  <c:v>14511008.245093504</c:v>
                </c:pt>
                <c:pt idx="1060">
                  <c:v>12841487.388614794</c:v>
                </c:pt>
                <c:pt idx="1061">
                  <c:v>14031655.342281686</c:v>
                </c:pt>
                <c:pt idx="1062">
                  <c:v>12873118.83922039</c:v>
                </c:pt>
                <c:pt idx="1063">
                  <c:v>14104340.311623726</c:v>
                </c:pt>
              </c:numCache>
            </c:numRef>
          </c:val>
          <c:smooth val="0"/>
          <c:extLst>
            <c:ext xmlns:c16="http://schemas.microsoft.com/office/drawing/2014/chart" uri="{C3380CC4-5D6E-409C-BE32-E72D297353CC}">
              <c16:uniqueId val="{00000001-44F1-4A56-9D28-84A0E124F5A2}"/>
            </c:ext>
          </c:extLst>
        </c:ser>
        <c:dLbls>
          <c:showLegendKey val="0"/>
          <c:showVal val="0"/>
          <c:showCatName val="0"/>
          <c:showSerName val="0"/>
          <c:showPercent val="0"/>
          <c:showBubbleSize val="0"/>
        </c:dLbls>
        <c:smooth val="0"/>
        <c:axId val="1256639903"/>
        <c:axId val="1256640319"/>
      </c:lineChart>
      <c:catAx>
        <c:axId val="12566399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6640319"/>
        <c:crosses val="autoZero"/>
        <c:auto val="1"/>
        <c:lblAlgn val="ctr"/>
        <c:lblOffset val="100"/>
        <c:noMultiLvlLbl val="0"/>
      </c:catAx>
      <c:valAx>
        <c:axId val="12566403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6639903"/>
        <c:crosses val="autoZero"/>
        <c:crossBetween val="between"/>
      </c:valAx>
      <c:spPr>
        <a:noFill/>
        <a:ln>
          <a:solidFill>
            <a:schemeClr val="tx2"/>
          </a:solid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9050">
      <a:solidFill>
        <a:schemeClr val="tx2"/>
      </a:solid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566435147052631E-2"/>
          <c:y val="0.22371619202804627"/>
          <c:w val="0.90087931175186087"/>
          <c:h val="0.45810836683169393"/>
        </c:manualLayout>
      </c:layout>
      <c:lineChart>
        <c:grouping val="standard"/>
        <c:varyColors val="0"/>
        <c:ser>
          <c:idx val="0"/>
          <c:order val="0"/>
          <c:tx>
            <c:strRef>
              <c:f>'[Final ACT.xlsx]Sheet5'!$C$1</c:f>
              <c:strCache>
                <c:ptCount val="1"/>
                <c:pt idx="0">
                  <c:v>Total Input energy</c:v>
                </c:pt>
              </c:strCache>
            </c:strRef>
          </c:tx>
          <c:spPr>
            <a:ln w="34925" cap="rnd">
              <a:solidFill>
                <a:schemeClr val="accent1"/>
              </a:solidFill>
              <a:round/>
            </a:ln>
            <a:effectLst>
              <a:outerShdw blurRad="40000" dist="23000" dir="5400000" rotWithShape="0">
                <a:srgbClr val="000000">
                  <a:alpha val="35000"/>
                </a:srgbClr>
              </a:outerShdw>
            </a:effectLst>
          </c:spPr>
          <c:marker>
            <c:symbol val="none"/>
          </c:marker>
          <c:val>
            <c:numRef>
              <c:f>'[Final ACT.xlsx]Sheet5'!$C$2:$C$1036</c:f>
              <c:numCache>
                <c:formatCode>General</c:formatCode>
                <c:ptCount val="1035"/>
                <c:pt idx="0">
                  <c:v>3600251.708377209</c:v>
                </c:pt>
                <c:pt idx="1">
                  <c:v>3600511.6849533557</c:v>
                </c:pt>
                <c:pt idx="2">
                  <c:v>3600577.9923743638</c:v>
                </c:pt>
                <c:pt idx="3">
                  <c:v>3601522.9988637357</c:v>
                </c:pt>
                <c:pt idx="4">
                  <c:v>3601599.5011667097</c:v>
                </c:pt>
                <c:pt idx="5">
                  <c:v>3602264.5621348815</c:v>
                </c:pt>
                <c:pt idx="6">
                  <c:v>3602338.165188645</c:v>
                </c:pt>
                <c:pt idx="7">
                  <c:v>3602817.3708087532</c:v>
                </c:pt>
                <c:pt idx="8">
                  <c:v>3603109.3081439296</c:v>
                </c:pt>
                <c:pt idx="9">
                  <c:v>3604764.249867938</c:v>
                </c:pt>
                <c:pt idx="10">
                  <c:v>3605093.0172629058</c:v>
                </c:pt>
                <c:pt idx="11">
                  <c:v>3605241.9976825765</c:v>
                </c:pt>
                <c:pt idx="12">
                  <c:v>3606394.5492920447</c:v>
                </c:pt>
                <c:pt idx="13">
                  <c:v>3606749.6035337015</c:v>
                </c:pt>
                <c:pt idx="14">
                  <c:v>3607247.6073492495</c:v>
                </c:pt>
                <c:pt idx="15">
                  <c:v>3607417.5282478337</c:v>
                </c:pt>
                <c:pt idx="16">
                  <c:v>3607465.8250857661</c:v>
                </c:pt>
                <c:pt idx="17">
                  <c:v>3607594.7946793297</c:v>
                </c:pt>
                <c:pt idx="18">
                  <c:v>3607818.9212504458</c:v>
                </c:pt>
                <c:pt idx="19">
                  <c:v>3607894.8230633144</c:v>
                </c:pt>
                <c:pt idx="20">
                  <c:v>3608023.7351989979</c:v>
                </c:pt>
                <c:pt idx="21">
                  <c:v>3608849.227214518</c:v>
                </c:pt>
                <c:pt idx="22">
                  <c:v>3608914.1191104641</c:v>
                </c:pt>
                <c:pt idx="23">
                  <c:v>3609581.4436051901</c:v>
                </c:pt>
                <c:pt idx="24">
                  <c:v>3609808.3459291705</c:v>
                </c:pt>
                <c:pt idx="25">
                  <c:v>3609945.2533591921</c:v>
                </c:pt>
                <c:pt idx="26">
                  <c:v>3610141.2577171139</c:v>
                </c:pt>
                <c:pt idx="27">
                  <c:v>3610903.1030927766</c:v>
                </c:pt>
                <c:pt idx="28">
                  <c:v>3610912.2629001266</c:v>
                </c:pt>
                <c:pt idx="29">
                  <c:v>3611108.3742654352</c:v>
                </c:pt>
                <c:pt idx="30">
                  <c:v>3611731.9511851394</c:v>
                </c:pt>
                <c:pt idx="31">
                  <c:v>3612252.8374453555</c:v>
                </c:pt>
                <c:pt idx="32">
                  <c:v>3612384.0950483098</c:v>
                </c:pt>
                <c:pt idx="33">
                  <c:v>3612956.8749102145</c:v>
                </c:pt>
                <c:pt idx="34">
                  <c:v>3613530.0332793933</c:v>
                </c:pt>
                <c:pt idx="35">
                  <c:v>3614056.1045126542</c:v>
                </c:pt>
                <c:pt idx="36">
                  <c:v>3614153.1898455266</c:v>
                </c:pt>
                <c:pt idx="37">
                  <c:v>3614227.2552205171</c:v>
                </c:pt>
                <c:pt idx="38">
                  <c:v>3614365.5836847471</c:v>
                </c:pt>
                <c:pt idx="39">
                  <c:v>3614727.9336109734</c:v>
                </c:pt>
                <c:pt idx="40">
                  <c:v>3615147.7832901292</c:v>
                </c:pt>
                <c:pt idx="41">
                  <c:v>3615805.2647941024</c:v>
                </c:pt>
                <c:pt idx="42">
                  <c:v>3615864.0856795022</c:v>
                </c:pt>
                <c:pt idx="43">
                  <c:v>3615897.3878599135</c:v>
                </c:pt>
                <c:pt idx="44">
                  <c:v>3615938.8661044752</c:v>
                </c:pt>
                <c:pt idx="45">
                  <c:v>3616109.761091698</c:v>
                </c:pt>
                <c:pt idx="46">
                  <c:v>3616127.9868312413</c:v>
                </c:pt>
                <c:pt idx="47">
                  <c:v>3618292.5435141306</c:v>
                </c:pt>
                <c:pt idx="48">
                  <c:v>3618793.6185410097</c:v>
                </c:pt>
                <c:pt idx="49">
                  <c:v>3620495.326402083</c:v>
                </c:pt>
                <c:pt idx="50">
                  <c:v>3621040.4902793751</c:v>
                </c:pt>
                <c:pt idx="51">
                  <c:v>3621345.2117182659</c:v>
                </c:pt>
                <c:pt idx="52">
                  <c:v>3621774.389869872</c:v>
                </c:pt>
                <c:pt idx="53">
                  <c:v>3621836.0278160996</c:v>
                </c:pt>
                <c:pt idx="54">
                  <c:v>3622118.7415608126</c:v>
                </c:pt>
                <c:pt idx="55">
                  <c:v>3622200.8655438367</c:v>
                </c:pt>
                <c:pt idx="56">
                  <c:v>3622245.8526733569</c:v>
                </c:pt>
                <c:pt idx="57">
                  <c:v>3622566.7439112361</c:v>
                </c:pt>
                <c:pt idx="58">
                  <c:v>3622596.0992038636</c:v>
                </c:pt>
                <c:pt idx="59">
                  <c:v>3622621.8200669619</c:v>
                </c:pt>
                <c:pt idx="60">
                  <c:v>3622834.6219607731</c:v>
                </c:pt>
                <c:pt idx="61">
                  <c:v>3623003.1940825302</c:v>
                </c:pt>
                <c:pt idx="62">
                  <c:v>3623264.5314965495</c:v>
                </c:pt>
                <c:pt idx="63">
                  <c:v>3623633.0275033456</c:v>
                </c:pt>
                <c:pt idx="64">
                  <c:v>3623959.5020079562</c:v>
                </c:pt>
                <c:pt idx="65">
                  <c:v>3624139.0335773807</c:v>
                </c:pt>
                <c:pt idx="66">
                  <c:v>3625281.9145060657</c:v>
                </c:pt>
                <c:pt idx="67">
                  <c:v>3625631.6779499887</c:v>
                </c:pt>
                <c:pt idx="68">
                  <c:v>3625748.2166036959</c:v>
                </c:pt>
                <c:pt idx="69">
                  <c:v>3625813.4604493221</c:v>
                </c:pt>
                <c:pt idx="70">
                  <c:v>3625896.2085811161</c:v>
                </c:pt>
                <c:pt idx="71">
                  <c:v>3625928.5804126505</c:v>
                </c:pt>
                <c:pt idx="72">
                  <c:v>3627167.9326615119</c:v>
                </c:pt>
                <c:pt idx="73">
                  <c:v>3628113.0971612842</c:v>
                </c:pt>
                <c:pt idx="74">
                  <c:v>3628249.9477520497</c:v>
                </c:pt>
                <c:pt idx="75">
                  <c:v>3628466.8587987898</c:v>
                </c:pt>
                <c:pt idx="76">
                  <c:v>3628654.9477779646</c:v>
                </c:pt>
                <c:pt idx="77">
                  <c:v>3628744.819542313</c:v>
                </c:pt>
                <c:pt idx="78">
                  <c:v>3628875.8466845029</c:v>
                </c:pt>
                <c:pt idx="79">
                  <c:v>3628883.3648341754</c:v>
                </c:pt>
                <c:pt idx="80">
                  <c:v>3628924.5405856776</c:v>
                </c:pt>
                <c:pt idx="81">
                  <c:v>3628947.982823391</c:v>
                </c:pt>
                <c:pt idx="82">
                  <c:v>3628963.9510026276</c:v>
                </c:pt>
                <c:pt idx="83">
                  <c:v>3629393.7869651434</c:v>
                </c:pt>
                <c:pt idx="84">
                  <c:v>3629483.9254891337</c:v>
                </c:pt>
                <c:pt idx="85">
                  <c:v>3629790.8241286529</c:v>
                </c:pt>
                <c:pt idx="86">
                  <c:v>3630076.4723848258</c:v>
                </c:pt>
                <c:pt idx="87">
                  <c:v>3630127.8066167245</c:v>
                </c:pt>
                <c:pt idx="88">
                  <c:v>3630217.5566190253</c:v>
                </c:pt>
                <c:pt idx="89">
                  <c:v>3630564.6670911233</c:v>
                </c:pt>
                <c:pt idx="90">
                  <c:v>3631294.8665722902</c:v>
                </c:pt>
                <c:pt idx="91">
                  <c:v>3631989.8856723844</c:v>
                </c:pt>
                <c:pt idx="92">
                  <c:v>3632609.8503650771</c:v>
                </c:pt>
                <c:pt idx="93">
                  <c:v>3632717.5918277921</c:v>
                </c:pt>
                <c:pt idx="94">
                  <c:v>3632784.0637022671</c:v>
                </c:pt>
                <c:pt idx="95">
                  <c:v>3632969.3618134474</c:v>
                </c:pt>
                <c:pt idx="96">
                  <c:v>3633236.0740191704</c:v>
                </c:pt>
                <c:pt idx="97">
                  <c:v>3633247.3003638159</c:v>
                </c:pt>
                <c:pt idx="98">
                  <c:v>3633422.7316317395</c:v>
                </c:pt>
                <c:pt idx="99">
                  <c:v>3633669.5626494614</c:v>
                </c:pt>
                <c:pt idx="100">
                  <c:v>3633746.7557035936</c:v>
                </c:pt>
                <c:pt idx="101">
                  <c:v>3633842.8887970494</c:v>
                </c:pt>
                <c:pt idx="102">
                  <c:v>3633868.1435675644</c:v>
                </c:pt>
                <c:pt idx="103">
                  <c:v>3633947.6603104435</c:v>
                </c:pt>
                <c:pt idx="104">
                  <c:v>3634158.6610432109</c:v>
                </c:pt>
                <c:pt idx="105">
                  <c:v>3634208.7142972858</c:v>
                </c:pt>
                <c:pt idx="106">
                  <c:v>3634863.7577509475</c:v>
                </c:pt>
                <c:pt idx="107">
                  <c:v>3634927.7563199606</c:v>
                </c:pt>
                <c:pt idx="108">
                  <c:v>3634956.3075154615</c:v>
                </c:pt>
                <c:pt idx="109">
                  <c:v>3635233.005845421</c:v>
                </c:pt>
                <c:pt idx="110">
                  <c:v>3635490.3696315694</c:v>
                </c:pt>
                <c:pt idx="111">
                  <c:v>3635534.8913542372</c:v>
                </c:pt>
                <c:pt idx="112">
                  <c:v>3635747.7853839495</c:v>
                </c:pt>
                <c:pt idx="113">
                  <c:v>3636894.9299929021</c:v>
                </c:pt>
                <c:pt idx="114">
                  <c:v>3636899.9431807194</c:v>
                </c:pt>
                <c:pt idx="115">
                  <c:v>3637072.3613587329</c:v>
                </c:pt>
                <c:pt idx="116">
                  <c:v>3637074.4066561386</c:v>
                </c:pt>
                <c:pt idx="117">
                  <c:v>3637175.4154399568</c:v>
                </c:pt>
                <c:pt idx="118">
                  <c:v>3637397.9856939325</c:v>
                </c:pt>
                <c:pt idx="119">
                  <c:v>3637495.0748960306</c:v>
                </c:pt>
                <c:pt idx="120">
                  <c:v>3637535.3308072137</c:v>
                </c:pt>
                <c:pt idx="121">
                  <c:v>3637627.8635277282</c:v>
                </c:pt>
                <c:pt idx="122">
                  <c:v>3637917.4136453513</c:v>
                </c:pt>
                <c:pt idx="123">
                  <c:v>3638118.9616075978</c:v>
                </c:pt>
                <c:pt idx="124">
                  <c:v>3638377.0452356962</c:v>
                </c:pt>
                <c:pt idx="125">
                  <c:v>3638576.8946834411</c:v>
                </c:pt>
                <c:pt idx="126">
                  <c:v>3638636.9833716066</c:v>
                </c:pt>
                <c:pt idx="127">
                  <c:v>3638788.3158924533</c:v>
                </c:pt>
                <c:pt idx="128">
                  <c:v>3639708.5271471082</c:v>
                </c:pt>
                <c:pt idx="129">
                  <c:v>3639972.7066302844</c:v>
                </c:pt>
                <c:pt idx="130">
                  <c:v>3640230.1834119768</c:v>
                </c:pt>
                <c:pt idx="131">
                  <c:v>3640291.5817767065</c:v>
                </c:pt>
                <c:pt idx="132">
                  <c:v>3640334.1801313674</c:v>
                </c:pt>
                <c:pt idx="133">
                  <c:v>3640668.1548764776</c:v>
                </c:pt>
                <c:pt idx="134">
                  <c:v>3640695.0222209892</c:v>
                </c:pt>
                <c:pt idx="135">
                  <c:v>3640764.8191606831</c:v>
                </c:pt>
                <c:pt idx="136">
                  <c:v>3640983.136561058</c:v>
                </c:pt>
                <c:pt idx="137">
                  <c:v>3640996.8800112549</c:v>
                </c:pt>
                <c:pt idx="138">
                  <c:v>3641332.5140728797</c:v>
                </c:pt>
                <c:pt idx="139">
                  <c:v>3641599.8059822326</c:v>
                </c:pt>
                <c:pt idx="140">
                  <c:v>3641643.7774745701</c:v>
                </c:pt>
                <c:pt idx="141">
                  <c:v>3642103.539085804</c:v>
                </c:pt>
                <c:pt idx="142">
                  <c:v>3642200.5912040924</c:v>
                </c:pt>
                <c:pt idx="143">
                  <c:v>3642460.1792038986</c:v>
                </c:pt>
                <c:pt idx="144">
                  <c:v>3642466.6123736924</c:v>
                </c:pt>
                <c:pt idx="145">
                  <c:v>3642510.5249135443</c:v>
                </c:pt>
                <c:pt idx="146">
                  <c:v>3642520.8305090512</c:v>
                </c:pt>
                <c:pt idx="147">
                  <c:v>3642625.6757026897</c:v>
                </c:pt>
                <c:pt idx="148">
                  <c:v>3642665.8351536263</c:v>
                </c:pt>
                <c:pt idx="149">
                  <c:v>3642799.9883324504</c:v>
                </c:pt>
                <c:pt idx="150">
                  <c:v>3643048.7616350176</c:v>
                </c:pt>
                <c:pt idx="151">
                  <c:v>3643301.4255538895</c:v>
                </c:pt>
                <c:pt idx="152">
                  <c:v>3643393.6039735656</c:v>
                </c:pt>
                <c:pt idx="153">
                  <c:v>3643437.2015950712</c:v>
                </c:pt>
                <c:pt idx="154">
                  <c:v>3643964.6980587007</c:v>
                </c:pt>
                <c:pt idx="155">
                  <c:v>3644035.2463784008</c:v>
                </c:pt>
                <c:pt idx="156">
                  <c:v>3644047.4442910976</c:v>
                </c:pt>
                <c:pt idx="157">
                  <c:v>3644106.9598706351</c:v>
                </c:pt>
                <c:pt idx="158">
                  <c:v>3644250.1515839528</c:v>
                </c:pt>
                <c:pt idx="159">
                  <c:v>3644441.8853893545</c:v>
                </c:pt>
                <c:pt idx="160">
                  <c:v>3644509.2044297834</c:v>
                </c:pt>
                <c:pt idx="161">
                  <c:v>3644553.0513900607</c:v>
                </c:pt>
                <c:pt idx="162">
                  <c:v>3644749.8507941798</c:v>
                </c:pt>
                <c:pt idx="163">
                  <c:v>3645381.5424524397</c:v>
                </c:pt>
                <c:pt idx="164">
                  <c:v>3645430.7235766049</c:v>
                </c:pt>
                <c:pt idx="165">
                  <c:v>3645852.0043525388</c:v>
                </c:pt>
                <c:pt idx="166">
                  <c:v>3646408.3931604768</c:v>
                </c:pt>
                <c:pt idx="167">
                  <c:v>3646437.9814882553</c:v>
                </c:pt>
                <c:pt idx="168">
                  <c:v>3646508.7111337106</c:v>
                </c:pt>
                <c:pt idx="169">
                  <c:v>3646782.2345295683</c:v>
                </c:pt>
                <c:pt idx="170">
                  <c:v>3646806.366507228</c:v>
                </c:pt>
                <c:pt idx="171">
                  <c:v>3646966.392910263</c:v>
                </c:pt>
                <c:pt idx="172">
                  <c:v>3647268.6723015639</c:v>
                </c:pt>
                <c:pt idx="173">
                  <c:v>3647543.6229033065</c:v>
                </c:pt>
                <c:pt idx="174">
                  <c:v>3647591.7315788744</c:v>
                </c:pt>
                <c:pt idx="175">
                  <c:v>3647655.1932711639</c:v>
                </c:pt>
                <c:pt idx="176">
                  <c:v>3648019.7705774591</c:v>
                </c:pt>
                <c:pt idx="177">
                  <c:v>3648582.4017058173</c:v>
                </c:pt>
                <c:pt idx="178">
                  <c:v>3648973.3328490551</c:v>
                </c:pt>
                <c:pt idx="179">
                  <c:v>3649334.9687494626</c:v>
                </c:pt>
                <c:pt idx="180">
                  <c:v>3649684.7434537755</c:v>
                </c:pt>
                <c:pt idx="181">
                  <c:v>3650121.4869452044</c:v>
                </c:pt>
                <c:pt idx="182">
                  <c:v>3650147.2449585726</c:v>
                </c:pt>
                <c:pt idx="183">
                  <c:v>3650327.2267355421</c:v>
                </c:pt>
                <c:pt idx="184">
                  <c:v>3650612.1582813361</c:v>
                </c:pt>
                <c:pt idx="185">
                  <c:v>3650770.0271825194</c:v>
                </c:pt>
                <c:pt idx="186">
                  <c:v>3650787.5358751444</c:v>
                </c:pt>
                <c:pt idx="187">
                  <c:v>3650829.905768048</c:v>
                </c:pt>
                <c:pt idx="188">
                  <c:v>3650980.9015184711</c:v>
                </c:pt>
                <c:pt idx="189">
                  <c:v>3651156.1117609339</c:v>
                </c:pt>
                <c:pt idx="190">
                  <c:v>3651292.160003528</c:v>
                </c:pt>
                <c:pt idx="191">
                  <c:v>3651748.3671598528</c:v>
                </c:pt>
                <c:pt idx="192">
                  <c:v>3652185.3826875016</c:v>
                </c:pt>
                <c:pt idx="193">
                  <c:v>3652196.3725284571</c:v>
                </c:pt>
                <c:pt idx="194">
                  <c:v>3652206.7336364719</c:v>
                </c:pt>
                <c:pt idx="195">
                  <c:v>3652381.3162052343</c:v>
                </c:pt>
                <c:pt idx="196">
                  <c:v>3652526.962174247</c:v>
                </c:pt>
                <c:pt idx="197">
                  <c:v>3652550.3242538101</c:v>
                </c:pt>
                <c:pt idx="198">
                  <c:v>3652947.7834223378</c:v>
                </c:pt>
                <c:pt idx="199">
                  <c:v>3653500.7936642081</c:v>
                </c:pt>
                <c:pt idx="200">
                  <c:v>3653622.5612404635</c:v>
                </c:pt>
                <c:pt idx="201">
                  <c:v>3653652.9589765929</c:v>
                </c:pt>
                <c:pt idx="202">
                  <c:v>3653873.5911605889</c:v>
                </c:pt>
                <c:pt idx="203">
                  <c:v>3653887.9700747924</c:v>
                </c:pt>
                <c:pt idx="204">
                  <c:v>3653980.5894235275</c:v>
                </c:pt>
                <c:pt idx="205">
                  <c:v>3654007.7446591477</c:v>
                </c:pt>
                <c:pt idx="206">
                  <c:v>3654140.6558778724</c:v>
                </c:pt>
                <c:pt idx="207">
                  <c:v>3654186.8910241141</c:v>
                </c:pt>
                <c:pt idx="208">
                  <c:v>3654284.4071141123</c:v>
                </c:pt>
                <c:pt idx="209">
                  <c:v>3654363.8626488564</c:v>
                </c:pt>
                <c:pt idx="210">
                  <c:v>3654642.6888724114</c:v>
                </c:pt>
                <c:pt idx="211">
                  <c:v>3654666.2712653521</c:v>
                </c:pt>
                <c:pt idx="212">
                  <c:v>3654667.8598599164</c:v>
                </c:pt>
                <c:pt idx="213">
                  <c:v>3654707.2161941691</c:v>
                </c:pt>
                <c:pt idx="214">
                  <c:v>3654839.5759690362</c:v>
                </c:pt>
                <c:pt idx="215">
                  <c:v>3655009.3633453092</c:v>
                </c:pt>
                <c:pt idx="216">
                  <c:v>3655150.8608984132</c:v>
                </c:pt>
                <c:pt idx="217">
                  <c:v>3655208.0092684473</c:v>
                </c:pt>
                <c:pt idx="218">
                  <c:v>3655394.5727618202</c:v>
                </c:pt>
                <c:pt idx="219">
                  <c:v>3655525.3015373917</c:v>
                </c:pt>
                <c:pt idx="220">
                  <c:v>3655534.3866953477</c:v>
                </c:pt>
                <c:pt idx="221">
                  <c:v>3655901.0119506735</c:v>
                </c:pt>
                <c:pt idx="222">
                  <c:v>3655977.3044621851</c:v>
                </c:pt>
                <c:pt idx="223">
                  <c:v>3656060.5658649611</c:v>
                </c:pt>
                <c:pt idx="224">
                  <c:v>3656317.1425593831</c:v>
                </c:pt>
                <c:pt idx="225">
                  <c:v>3656455.4581023459</c:v>
                </c:pt>
                <c:pt idx="226">
                  <c:v>3657077.9430307932</c:v>
                </c:pt>
                <c:pt idx="227">
                  <c:v>3657462.320398889</c:v>
                </c:pt>
                <c:pt idx="228">
                  <c:v>3657588.18482946</c:v>
                </c:pt>
                <c:pt idx="229">
                  <c:v>3657648.9326240332</c:v>
                </c:pt>
                <c:pt idx="230">
                  <c:v>3657911.5781089212</c:v>
                </c:pt>
                <c:pt idx="231">
                  <c:v>3658043.5272280029</c:v>
                </c:pt>
                <c:pt idx="232">
                  <c:v>3658113.4150723917</c:v>
                </c:pt>
                <c:pt idx="233">
                  <c:v>3658136.1498483303</c:v>
                </c:pt>
                <c:pt idx="234">
                  <c:v>3658200.6343605001</c:v>
                </c:pt>
                <c:pt idx="235">
                  <c:v>3658206.4339472251</c:v>
                </c:pt>
                <c:pt idx="236">
                  <c:v>3658321.3051502225</c:v>
                </c:pt>
                <c:pt idx="237">
                  <c:v>3658364.8784052231</c:v>
                </c:pt>
                <c:pt idx="238">
                  <c:v>3658502.60928895</c:v>
                </c:pt>
                <c:pt idx="239">
                  <c:v>3659028.8608642672</c:v>
                </c:pt>
                <c:pt idx="240">
                  <c:v>3659070.0137464642</c:v>
                </c:pt>
                <c:pt idx="241">
                  <c:v>3659123.014905863</c:v>
                </c:pt>
                <c:pt idx="242">
                  <c:v>3659187.7156986175</c:v>
                </c:pt>
                <c:pt idx="243">
                  <c:v>3659201.4222905627</c:v>
                </c:pt>
                <c:pt idx="244">
                  <c:v>3659433.7610721444</c:v>
                </c:pt>
                <c:pt idx="245">
                  <c:v>3659486.1478092554</c:v>
                </c:pt>
                <c:pt idx="246">
                  <c:v>3659491.0607427857</c:v>
                </c:pt>
                <c:pt idx="247">
                  <c:v>3659628.1067988081</c:v>
                </c:pt>
                <c:pt idx="248">
                  <c:v>3659784.7781994231</c:v>
                </c:pt>
                <c:pt idx="249">
                  <c:v>3660564.9222102794</c:v>
                </c:pt>
                <c:pt idx="250">
                  <c:v>3660611.5576120899</c:v>
                </c:pt>
                <c:pt idx="251">
                  <c:v>3661054.2088660044</c:v>
                </c:pt>
                <c:pt idx="252">
                  <c:v>3661072.3587299935</c:v>
                </c:pt>
                <c:pt idx="253">
                  <c:v>3661165.8507190696</c:v>
                </c:pt>
                <c:pt idx="254">
                  <c:v>3661284.0319679971</c:v>
                </c:pt>
                <c:pt idx="255">
                  <c:v>3661508.9468650185</c:v>
                </c:pt>
                <c:pt idx="256">
                  <c:v>3661608.2685144963</c:v>
                </c:pt>
                <c:pt idx="257">
                  <c:v>3661628.4411358815</c:v>
                </c:pt>
                <c:pt idx="258">
                  <c:v>3661759.7338164118</c:v>
                </c:pt>
                <c:pt idx="259">
                  <c:v>3661950.8262995216</c:v>
                </c:pt>
                <c:pt idx="260">
                  <c:v>3662094.727597273</c:v>
                </c:pt>
                <c:pt idx="261">
                  <c:v>3662259.9941988075</c:v>
                </c:pt>
                <c:pt idx="262">
                  <c:v>3662326.1323074368</c:v>
                </c:pt>
                <c:pt idx="263">
                  <c:v>3662703.5419851067</c:v>
                </c:pt>
                <c:pt idx="264">
                  <c:v>3662841.4806098449</c:v>
                </c:pt>
                <c:pt idx="265">
                  <c:v>3663501.822771227</c:v>
                </c:pt>
                <c:pt idx="266">
                  <c:v>3663536.3503362406</c:v>
                </c:pt>
                <c:pt idx="267">
                  <c:v>3663605.4850922115</c:v>
                </c:pt>
                <c:pt idx="268">
                  <c:v>3664440.5103301425</c:v>
                </c:pt>
                <c:pt idx="269">
                  <c:v>3664540.9017959628</c:v>
                </c:pt>
                <c:pt idx="270">
                  <c:v>3664554.1396126081</c:v>
                </c:pt>
                <c:pt idx="271">
                  <c:v>3664707.4721694877</c:v>
                </c:pt>
                <c:pt idx="272">
                  <c:v>3664754.3928707056</c:v>
                </c:pt>
                <c:pt idx="273">
                  <c:v>3664851.1088759312</c:v>
                </c:pt>
                <c:pt idx="274">
                  <c:v>3664989.3738982552</c:v>
                </c:pt>
                <c:pt idx="275">
                  <c:v>3665961.4106624578</c:v>
                </c:pt>
                <c:pt idx="276">
                  <c:v>3666016.5607227753</c:v>
                </c:pt>
                <c:pt idx="277">
                  <c:v>3666075.3329896503</c:v>
                </c:pt>
                <c:pt idx="278">
                  <c:v>3666314.4351101462</c:v>
                </c:pt>
                <c:pt idx="279">
                  <c:v>3666427.3660838003</c:v>
                </c:pt>
                <c:pt idx="280">
                  <c:v>3666434.6279493328</c:v>
                </c:pt>
                <c:pt idx="281">
                  <c:v>3666547.7633475489</c:v>
                </c:pt>
                <c:pt idx="282">
                  <c:v>3666709.3822438889</c:v>
                </c:pt>
                <c:pt idx="283">
                  <c:v>3666798.1982251615</c:v>
                </c:pt>
                <c:pt idx="284">
                  <c:v>3667056.522581826</c:v>
                </c:pt>
                <c:pt idx="285">
                  <c:v>3667199.3912167046</c:v>
                </c:pt>
                <c:pt idx="286">
                  <c:v>3667470.1227976852</c:v>
                </c:pt>
                <c:pt idx="287">
                  <c:v>3667546.5077548227</c:v>
                </c:pt>
                <c:pt idx="288">
                  <c:v>3667655.2847811719</c:v>
                </c:pt>
                <c:pt idx="289">
                  <c:v>3667781.8459592224</c:v>
                </c:pt>
                <c:pt idx="290">
                  <c:v>3668005.1057057073</c:v>
                </c:pt>
                <c:pt idx="291">
                  <c:v>3668104.8581583444</c:v>
                </c:pt>
                <c:pt idx="292">
                  <c:v>3668153.8827422475</c:v>
                </c:pt>
                <c:pt idx="293">
                  <c:v>3668338.1226931964</c:v>
                </c:pt>
                <c:pt idx="294">
                  <c:v>3668409.8971689786</c:v>
                </c:pt>
                <c:pt idx="295">
                  <c:v>3668559.1263510007</c:v>
                </c:pt>
                <c:pt idx="296">
                  <c:v>3668662.2806165544</c:v>
                </c:pt>
                <c:pt idx="297">
                  <c:v>3668815.0870468169</c:v>
                </c:pt>
                <c:pt idx="298">
                  <c:v>3668945.8497910914</c:v>
                </c:pt>
                <c:pt idx="299">
                  <c:v>3669018.546475023</c:v>
                </c:pt>
                <c:pt idx="300">
                  <c:v>3669072.6915674796</c:v>
                </c:pt>
                <c:pt idx="301">
                  <c:v>3669300.1525760219</c:v>
                </c:pt>
                <c:pt idx="302">
                  <c:v>3669356.5812452594</c:v>
                </c:pt>
                <c:pt idx="303">
                  <c:v>3669395.3369584423</c:v>
                </c:pt>
                <c:pt idx="304">
                  <c:v>3669480.1729459474</c:v>
                </c:pt>
                <c:pt idx="305">
                  <c:v>3669555.5372643913</c:v>
                </c:pt>
                <c:pt idx="306">
                  <c:v>3669629.3192763887</c:v>
                </c:pt>
                <c:pt idx="307">
                  <c:v>3669684.7293889667</c:v>
                </c:pt>
                <c:pt idx="308">
                  <c:v>3669920.1164108329</c:v>
                </c:pt>
                <c:pt idx="309">
                  <c:v>3669979.7847752683</c:v>
                </c:pt>
                <c:pt idx="310">
                  <c:v>3670232.9047827497</c:v>
                </c:pt>
                <c:pt idx="311">
                  <c:v>3670618.7449826323</c:v>
                </c:pt>
                <c:pt idx="312">
                  <c:v>3671128.6331191212</c:v>
                </c:pt>
                <c:pt idx="313">
                  <c:v>3671228.9705203655</c:v>
                </c:pt>
                <c:pt idx="314">
                  <c:v>3671720.7251799842</c:v>
                </c:pt>
                <c:pt idx="315">
                  <c:v>3671762.6952151819</c:v>
                </c:pt>
                <c:pt idx="316">
                  <c:v>3671842.8781750104</c:v>
                </c:pt>
                <c:pt idx="317">
                  <c:v>3671913.86306663</c:v>
                </c:pt>
                <c:pt idx="318">
                  <c:v>3671968.9706553263</c:v>
                </c:pt>
                <c:pt idx="319">
                  <c:v>3671973.1305261124</c:v>
                </c:pt>
                <c:pt idx="320">
                  <c:v>3672086.0232971478</c:v>
                </c:pt>
                <c:pt idx="321">
                  <c:v>3672319.5272597992</c:v>
                </c:pt>
                <c:pt idx="322">
                  <c:v>3672675.3506024573</c:v>
                </c:pt>
                <c:pt idx="323">
                  <c:v>3672682.5632161782</c:v>
                </c:pt>
                <c:pt idx="324">
                  <c:v>3672912.8248326103</c:v>
                </c:pt>
                <c:pt idx="325">
                  <c:v>3673204.3302552598</c:v>
                </c:pt>
                <c:pt idx="326">
                  <c:v>3673242.8698172844</c:v>
                </c:pt>
                <c:pt idx="327">
                  <c:v>3673614.0625678105</c:v>
                </c:pt>
                <c:pt idx="328">
                  <c:v>3674301.6141573167</c:v>
                </c:pt>
                <c:pt idx="329">
                  <c:v>3674946.1132218922</c:v>
                </c:pt>
                <c:pt idx="330">
                  <c:v>3675044.5498466669</c:v>
                </c:pt>
                <c:pt idx="331">
                  <c:v>3675111.4697114262</c:v>
                </c:pt>
                <c:pt idx="332">
                  <c:v>3675112.0159442625</c:v>
                </c:pt>
                <c:pt idx="333">
                  <c:v>3675119.5370815587</c:v>
                </c:pt>
                <c:pt idx="334">
                  <c:v>3675490.6166668343</c:v>
                </c:pt>
                <c:pt idx="335">
                  <c:v>3675551.442976844</c:v>
                </c:pt>
                <c:pt idx="336">
                  <c:v>3675581.5493206545</c:v>
                </c:pt>
                <c:pt idx="337">
                  <c:v>3676058.4480851446</c:v>
                </c:pt>
                <c:pt idx="338">
                  <c:v>3676266.1782992417</c:v>
                </c:pt>
                <c:pt idx="339">
                  <c:v>3676549.083186748</c:v>
                </c:pt>
                <c:pt idx="340">
                  <c:v>3676599.2978546266</c:v>
                </c:pt>
                <c:pt idx="341">
                  <c:v>3676724.4887682111</c:v>
                </c:pt>
                <c:pt idx="342">
                  <c:v>3676798.1416418827</c:v>
                </c:pt>
                <c:pt idx="343">
                  <c:v>3676914.0745962816</c:v>
                </c:pt>
                <c:pt idx="344">
                  <c:v>3677004.1556558334</c:v>
                </c:pt>
                <c:pt idx="345">
                  <c:v>3677061.8030221816</c:v>
                </c:pt>
                <c:pt idx="346">
                  <c:v>3677065.8598120636</c:v>
                </c:pt>
                <c:pt idx="347">
                  <c:v>3677204.7752403133</c:v>
                </c:pt>
                <c:pt idx="348">
                  <c:v>3677210.3762309728</c:v>
                </c:pt>
                <c:pt idx="349">
                  <c:v>3677231.1307232277</c:v>
                </c:pt>
                <c:pt idx="350">
                  <c:v>3677493.0328095243</c:v>
                </c:pt>
                <c:pt idx="351">
                  <c:v>3678042.6528663863</c:v>
                </c:pt>
                <c:pt idx="352">
                  <c:v>3678160.6665367484</c:v>
                </c:pt>
                <c:pt idx="353">
                  <c:v>3678191.7787003927</c:v>
                </c:pt>
                <c:pt idx="354">
                  <c:v>3678327.6070757867</c:v>
                </c:pt>
                <c:pt idx="355">
                  <c:v>3678423.5963021531</c:v>
                </c:pt>
                <c:pt idx="356">
                  <c:v>3678633.9659623951</c:v>
                </c:pt>
                <c:pt idx="357">
                  <c:v>3678674.3233136386</c:v>
                </c:pt>
                <c:pt idx="358">
                  <c:v>3678681.5681159468</c:v>
                </c:pt>
                <c:pt idx="359">
                  <c:v>3679480.364919581</c:v>
                </c:pt>
                <c:pt idx="360">
                  <c:v>3679534.1368863997</c:v>
                </c:pt>
                <c:pt idx="361">
                  <c:v>3679615.2784529254</c:v>
                </c:pt>
                <c:pt idx="362">
                  <c:v>3679651.5993576013</c:v>
                </c:pt>
                <c:pt idx="363">
                  <c:v>3679798.1267425204</c:v>
                </c:pt>
                <c:pt idx="364">
                  <c:v>3679816.4234414413</c:v>
                </c:pt>
                <c:pt idx="365">
                  <c:v>3679868.576276599</c:v>
                </c:pt>
                <c:pt idx="366">
                  <c:v>3679910.9302317854</c:v>
                </c:pt>
                <c:pt idx="367">
                  <c:v>3680019.2169000292</c:v>
                </c:pt>
                <c:pt idx="368">
                  <c:v>3680264.8763283254</c:v>
                </c:pt>
                <c:pt idx="369">
                  <c:v>3680293.0521925976</c:v>
                </c:pt>
                <c:pt idx="370">
                  <c:v>3680920.4411483831</c:v>
                </c:pt>
                <c:pt idx="371">
                  <c:v>3681120.9373589191</c:v>
                </c:pt>
                <c:pt idx="372">
                  <c:v>3681185.3292143024</c:v>
                </c:pt>
                <c:pt idx="373">
                  <c:v>3681375.404209069</c:v>
                </c:pt>
                <c:pt idx="374">
                  <c:v>3681377.6547717107</c:v>
                </c:pt>
                <c:pt idx="375">
                  <c:v>3681756.2025096719</c:v>
                </c:pt>
                <c:pt idx="376">
                  <c:v>3682050.4938918343</c:v>
                </c:pt>
                <c:pt idx="377">
                  <c:v>3682096.0602357904</c:v>
                </c:pt>
                <c:pt idx="378">
                  <c:v>3682135.678760855</c:v>
                </c:pt>
                <c:pt idx="379">
                  <c:v>3682456.6080840947</c:v>
                </c:pt>
                <c:pt idx="380">
                  <c:v>3682604.9325159988</c:v>
                </c:pt>
                <c:pt idx="381">
                  <c:v>3683149.4878078252</c:v>
                </c:pt>
                <c:pt idx="382">
                  <c:v>3683217.0925537343</c:v>
                </c:pt>
                <c:pt idx="383">
                  <c:v>3683446.0417502197</c:v>
                </c:pt>
                <c:pt idx="384">
                  <c:v>3683623.2987995949</c:v>
                </c:pt>
                <c:pt idx="385">
                  <c:v>3683671.4801278296</c:v>
                </c:pt>
                <c:pt idx="386">
                  <c:v>3683913.8865420441</c:v>
                </c:pt>
                <c:pt idx="387">
                  <c:v>3684104.5379978349</c:v>
                </c:pt>
                <c:pt idx="388">
                  <c:v>3684179.8035747712</c:v>
                </c:pt>
                <c:pt idx="389">
                  <c:v>3684695.3083238164</c:v>
                </c:pt>
                <c:pt idx="390">
                  <c:v>3684721.3365953295</c:v>
                </c:pt>
                <c:pt idx="391">
                  <c:v>3684841.3644898566</c:v>
                </c:pt>
                <c:pt idx="392">
                  <c:v>3684860.1525410851</c:v>
                </c:pt>
                <c:pt idx="393">
                  <c:v>3684968.8197544408</c:v>
                </c:pt>
                <c:pt idx="394">
                  <c:v>3685163.6941819089</c:v>
                </c:pt>
                <c:pt idx="395">
                  <c:v>3685354.4448047248</c:v>
                </c:pt>
                <c:pt idx="396">
                  <c:v>3685615.8514136383</c:v>
                </c:pt>
                <c:pt idx="397">
                  <c:v>3685768.9078071811</c:v>
                </c:pt>
                <c:pt idx="398">
                  <c:v>3685787.562964458</c:v>
                </c:pt>
                <c:pt idx="399">
                  <c:v>3685831.592385924</c:v>
                </c:pt>
                <c:pt idx="400">
                  <c:v>3685870.0503740995</c:v>
                </c:pt>
                <c:pt idx="401">
                  <c:v>3686041.3390832921</c:v>
                </c:pt>
                <c:pt idx="402">
                  <c:v>3686126.3295556107</c:v>
                </c:pt>
                <c:pt idx="403">
                  <c:v>3686170.171614293</c:v>
                </c:pt>
                <c:pt idx="404">
                  <c:v>3686395.1874423157</c:v>
                </c:pt>
                <c:pt idx="405">
                  <c:v>3686462.7674146136</c:v>
                </c:pt>
                <c:pt idx="406">
                  <c:v>3686472.7405427988</c:v>
                </c:pt>
                <c:pt idx="407">
                  <c:v>3686849.9252369436</c:v>
                </c:pt>
                <c:pt idx="408">
                  <c:v>3686856.5203808215</c:v>
                </c:pt>
                <c:pt idx="409">
                  <c:v>3686885.8182151685</c:v>
                </c:pt>
                <c:pt idx="410">
                  <c:v>3687030.6232301327</c:v>
                </c:pt>
                <c:pt idx="411">
                  <c:v>3687236.286276957</c:v>
                </c:pt>
                <c:pt idx="412">
                  <c:v>3687333.9632061655</c:v>
                </c:pt>
                <c:pt idx="413">
                  <c:v>3687455.9099363135</c:v>
                </c:pt>
                <c:pt idx="414">
                  <c:v>3687500.085457772</c:v>
                </c:pt>
                <c:pt idx="415">
                  <c:v>3687670.5017248769</c:v>
                </c:pt>
                <c:pt idx="416">
                  <c:v>3688018.3810129059</c:v>
                </c:pt>
                <c:pt idx="417">
                  <c:v>3688119.1175969434</c:v>
                </c:pt>
                <c:pt idx="418">
                  <c:v>3688328.3994842255</c:v>
                </c:pt>
                <c:pt idx="419">
                  <c:v>3688444.064316263</c:v>
                </c:pt>
                <c:pt idx="420">
                  <c:v>3688508.6664255382</c:v>
                </c:pt>
                <c:pt idx="421">
                  <c:v>3688610.0193220093</c:v>
                </c:pt>
                <c:pt idx="422">
                  <c:v>3688674.7602596264</c:v>
                </c:pt>
                <c:pt idx="423">
                  <c:v>3688691.9102313463</c:v>
                </c:pt>
                <c:pt idx="424">
                  <c:v>3688878.7107534674</c:v>
                </c:pt>
                <c:pt idx="425">
                  <c:v>3688955.6060671369</c:v>
                </c:pt>
                <c:pt idx="426">
                  <c:v>3689051.2451085998</c:v>
                </c:pt>
                <c:pt idx="427">
                  <c:v>3689203.2362948707</c:v>
                </c:pt>
                <c:pt idx="428">
                  <c:v>3689290.1546467943</c:v>
                </c:pt>
                <c:pt idx="429">
                  <c:v>3689438.4555126685</c:v>
                </c:pt>
                <c:pt idx="430">
                  <c:v>3689569.3040010771</c:v>
                </c:pt>
                <c:pt idx="431">
                  <c:v>3689889.5792254671</c:v>
                </c:pt>
                <c:pt idx="432">
                  <c:v>3689915.3580221967</c:v>
                </c:pt>
                <c:pt idx="433">
                  <c:v>3689943.4454148542</c:v>
                </c:pt>
                <c:pt idx="434">
                  <c:v>3690221.4029123602</c:v>
                </c:pt>
                <c:pt idx="435">
                  <c:v>3690416.6935861153</c:v>
                </c:pt>
                <c:pt idx="436">
                  <c:v>3690424.2638454949</c:v>
                </c:pt>
                <c:pt idx="437">
                  <c:v>3690526.8057534806</c:v>
                </c:pt>
                <c:pt idx="438">
                  <c:v>3690825.6777496589</c:v>
                </c:pt>
                <c:pt idx="439">
                  <c:v>3690977.0217726175</c:v>
                </c:pt>
                <c:pt idx="440">
                  <c:v>3691055.6229645787</c:v>
                </c:pt>
                <c:pt idx="441">
                  <c:v>3691084.0470527764</c:v>
                </c:pt>
                <c:pt idx="442">
                  <c:v>3691158.9899610025</c:v>
                </c:pt>
                <c:pt idx="443">
                  <c:v>3691317.7871990423</c:v>
                </c:pt>
                <c:pt idx="444">
                  <c:v>3691345.4998305012</c:v>
                </c:pt>
                <c:pt idx="445">
                  <c:v>3691464.8398134382</c:v>
                </c:pt>
                <c:pt idx="446">
                  <c:v>3691528.3959414186</c:v>
                </c:pt>
                <c:pt idx="447">
                  <c:v>3691793.7637911825</c:v>
                </c:pt>
                <c:pt idx="448">
                  <c:v>3691879.4947398058</c:v>
                </c:pt>
                <c:pt idx="449">
                  <c:v>3692083.5533377118</c:v>
                </c:pt>
                <c:pt idx="450">
                  <c:v>3692154.1688780133</c:v>
                </c:pt>
                <c:pt idx="451">
                  <c:v>3692220.8624967672</c:v>
                </c:pt>
                <c:pt idx="452">
                  <c:v>3692659.9518451928</c:v>
                </c:pt>
                <c:pt idx="453">
                  <c:v>3692684.2984749009</c:v>
                </c:pt>
                <c:pt idx="454">
                  <c:v>3692856.7536159162</c:v>
                </c:pt>
                <c:pt idx="455">
                  <c:v>3692888.1130849286</c:v>
                </c:pt>
                <c:pt idx="456">
                  <c:v>3692931.1168041239</c:v>
                </c:pt>
                <c:pt idx="457">
                  <c:v>3693069.2128043212</c:v>
                </c:pt>
                <c:pt idx="458">
                  <c:v>3693223.3216828094</c:v>
                </c:pt>
                <c:pt idx="459">
                  <c:v>3693408.3198319995</c:v>
                </c:pt>
                <c:pt idx="460">
                  <c:v>3693438.5213370067</c:v>
                </c:pt>
                <c:pt idx="461">
                  <c:v>3693494.2952502621</c:v>
                </c:pt>
                <c:pt idx="462">
                  <c:v>3693636.7564973184</c:v>
                </c:pt>
                <c:pt idx="463">
                  <c:v>3693774.2881647763</c:v>
                </c:pt>
                <c:pt idx="464">
                  <c:v>3693859.1901509948</c:v>
                </c:pt>
                <c:pt idx="465">
                  <c:v>3693922.7696115319</c:v>
                </c:pt>
                <c:pt idx="466">
                  <c:v>3693993.345481223</c:v>
                </c:pt>
                <c:pt idx="467">
                  <c:v>3694076.4052876998</c:v>
                </c:pt>
                <c:pt idx="468">
                  <c:v>3694601.0100125787</c:v>
                </c:pt>
                <c:pt idx="469">
                  <c:v>3694732.1851235051</c:v>
                </c:pt>
                <c:pt idx="470">
                  <c:v>3694909.3307339209</c:v>
                </c:pt>
                <c:pt idx="471">
                  <c:v>3694993.6504276358</c:v>
                </c:pt>
                <c:pt idx="472">
                  <c:v>3695193.5581568168</c:v>
                </c:pt>
                <c:pt idx="473">
                  <c:v>3695351.8645677748</c:v>
                </c:pt>
                <c:pt idx="474">
                  <c:v>3695494.346160125</c:v>
                </c:pt>
                <c:pt idx="475">
                  <c:v>3695943.3136921288</c:v>
                </c:pt>
                <c:pt idx="476">
                  <c:v>3696027.4593807873</c:v>
                </c:pt>
                <c:pt idx="477">
                  <c:v>3696375.8629378416</c:v>
                </c:pt>
                <c:pt idx="478">
                  <c:v>3696415.5349200452</c:v>
                </c:pt>
                <c:pt idx="479">
                  <c:v>3696444.2417502953</c:v>
                </c:pt>
                <c:pt idx="480">
                  <c:v>3696448.8646370233</c:v>
                </c:pt>
                <c:pt idx="481">
                  <c:v>3696552.383513567</c:v>
                </c:pt>
                <c:pt idx="482">
                  <c:v>3696726.0298118521</c:v>
                </c:pt>
                <c:pt idx="483">
                  <c:v>3696983.6360937878</c:v>
                </c:pt>
                <c:pt idx="484">
                  <c:v>3697268.9972696234</c:v>
                </c:pt>
                <c:pt idx="485">
                  <c:v>3697351.5174043658</c:v>
                </c:pt>
                <c:pt idx="486">
                  <c:v>3697592.5403996082</c:v>
                </c:pt>
                <c:pt idx="487">
                  <c:v>3697650.6553229275</c:v>
                </c:pt>
                <c:pt idx="488">
                  <c:v>3697701.6626395509</c:v>
                </c:pt>
                <c:pt idx="489">
                  <c:v>3697720.44036204</c:v>
                </c:pt>
                <c:pt idx="490">
                  <c:v>3697834.9903338463</c:v>
                </c:pt>
                <c:pt idx="491">
                  <c:v>3697863.5605390156</c:v>
                </c:pt>
                <c:pt idx="492">
                  <c:v>3698033.7188439448</c:v>
                </c:pt>
                <c:pt idx="493">
                  <c:v>3698189.2533857063</c:v>
                </c:pt>
                <c:pt idx="494">
                  <c:v>3698452.2352426848</c:v>
                </c:pt>
                <c:pt idx="495">
                  <c:v>3698556.6276805112</c:v>
                </c:pt>
                <c:pt idx="496">
                  <c:v>3698617.7047994817</c:v>
                </c:pt>
                <c:pt idx="497">
                  <c:v>3698722.3140867674</c:v>
                </c:pt>
                <c:pt idx="498">
                  <c:v>3698796.2474135263</c:v>
                </c:pt>
                <c:pt idx="499">
                  <c:v>3698807.7023041458</c:v>
                </c:pt>
                <c:pt idx="500">
                  <c:v>3698919.4570424738</c:v>
                </c:pt>
                <c:pt idx="501">
                  <c:v>3699046.8494161796</c:v>
                </c:pt>
                <c:pt idx="502">
                  <c:v>3699081.5642934102</c:v>
                </c:pt>
                <c:pt idx="503">
                  <c:v>3699310.9607694005</c:v>
                </c:pt>
                <c:pt idx="504">
                  <c:v>3699382.8505677609</c:v>
                </c:pt>
                <c:pt idx="505">
                  <c:v>3699495.382167378</c:v>
                </c:pt>
                <c:pt idx="506">
                  <c:v>3699632.0017941617</c:v>
                </c:pt>
                <c:pt idx="507">
                  <c:v>3699785.0516473888</c:v>
                </c:pt>
                <c:pt idx="508">
                  <c:v>3700136.8340838058</c:v>
                </c:pt>
                <c:pt idx="509">
                  <c:v>3700254.249769649</c:v>
                </c:pt>
                <c:pt idx="510">
                  <c:v>3700446.1131983148</c:v>
                </c:pt>
                <c:pt idx="511">
                  <c:v>3700607.3174472624</c:v>
                </c:pt>
                <c:pt idx="512">
                  <c:v>3700833.6325775087</c:v>
                </c:pt>
                <c:pt idx="513">
                  <c:v>3700858.2046743003</c:v>
                </c:pt>
                <c:pt idx="514">
                  <c:v>3700866.062712084</c:v>
                </c:pt>
                <c:pt idx="515">
                  <c:v>3701000.965396638</c:v>
                </c:pt>
                <c:pt idx="516">
                  <c:v>3701081.8259653375</c:v>
                </c:pt>
                <c:pt idx="517">
                  <c:v>3701088.7758852206</c:v>
                </c:pt>
                <c:pt idx="518">
                  <c:v>3701243.8306324212</c:v>
                </c:pt>
                <c:pt idx="519">
                  <c:v>3701322.8639952261</c:v>
                </c:pt>
                <c:pt idx="520">
                  <c:v>3701937.9341428108</c:v>
                </c:pt>
                <c:pt idx="521">
                  <c:v>3702001.4951343806</c:v>
                </c:pt>
                <c:pt idx="522">
                  <c:v>3702036.8766566366</c:v>
                </c:pt>
                <c:pt idx="523">
                  <c:v>3702341.238797198</c:v>
                </c:pt>
                <c:pt idx="524">
                  <c:v>3702392.6078846101</c:v>
                </c:pt>
                <c:pt idx="525">
                  <c:v>3702608.7918420411</c:v>
                </c:pt>
                <c:pt idx="526">
                  <c:v>3702756.4350137832</c:v>
                </c:pt>
                <c:pt idx="527">
                  <c:v>3702807.8384281695</c:v>
                </c:pt>
                <c:pt idx="528">
                  <c:v>3702822.2964430694</c:v>
                </c:pt>
                <c:pt idx="529">
                  <c:v>3702975.0127695389</c:v>
                </c:pt>
                <c:pt idx="530">
                  <c:v>3703064.3826568411</c:v>
                </c:pt>
                <c:pt idx="531">
                  <c:v>3703310.9904605383</c:v>
                </c:pt>
                <c:pt idx="532">
                  <c:v>3703374.1284489939</c:v>
                </c:pt>
                <c:pt idx="533">
                  <c:v>3703498.5298011703</c:v>
                </c:pt>
                <c:pt idx="534">
                  <c:v>3703509.2070043148</c:v>
                </c:pt>
                <c:pt idx="535">
                  <c:v>3703780.5622214796</c:v>
                </c:pt>
                <c:pt idx="536">
                  <c:v>3704395.3039466352</c:v>
                </c:pt>
                <c:pt idx="537">
                  <c:v>3704535.5667748856</c:v>
                </c:pt>
                <c:pt idx="538">
                  <c:v>3704605.0122211296</c:v>
                </c:pt>
                <c:pt idx="539">
                  <c:v>3704615.3290334647</c:v>
                </c:pt>
                <c:pt idx="540">
                  <c:v>3704622.4946993706</c:v>
                </c:pt>
                <c:pt idx="541">
                  <c:v>3704629.2014139919</c:v>
                </c:pt>
                <c:pt idx="542">
                  <c:v>3704791.8045828999</c:v>
                </c:pt>
                <c:pt idx="543">
                  <c:v>3704865.497024578</c:v>
                </c:pt>
                <c:pt idx="544">
                  <c:v>3704974.4489610335</c:v>
                </c:pt>
                <c:pt idx="545">
                  <c:v>3705142.6387856877</c:v>
                </c:pt>
                <c:pt idx="546">
                  <c:v>3705159.1731871874</c:v>
                </c:pt>
                <c:pt idx="547">
                  <c:v>3705188.1047710995</c:v>
                </c:pt>
                <c:pt idx="548">
                  <c:v>3705596.0566618401</c:v>
                </c:pt>
                <c:pt idx="549">
                  <c:v>3705676.4040733106</c:v>
                </c:pt>
                <c:pt idx="550">
                  <c:v>3705710.4179355763</c:v>
                </c:pt>
                <c:pt idx="551">
                  <c:v>3705789.587576746</c:v>
                </c:pt>
                <c:pt idx="552">
                  <c:v>3706243.1065658219</c:v>
                </c:pt>
                <c:pt idx="553">
                  <c:v>3706576.1701108688</c:v>
                </c:pt>
                <c:pt idx="554">
                  <c:v>3706697.9330843999</c:v>
                </c:pt>
                <c:pt idx="555">
                  <c:v>3706940.3892593007</c:v>
                </c:pt>
                <c:pt idx="556">
                  <c:v>3707093.8172255154</c:v>
                </c:pt>
                <c:pt idx="557">
                  <c:v>3707229.2633800688</c:v>
                </c:pt>
                <c:pt idx="558">
                  <c:v>3707233.3383737267</c:v>
                </c:pt>
                <c:pt idx="559">
                  <c:v>3707286.9232113524</c:v>
                </c:pt>
                <c:pt idx="560">
                  <c:v>3707401.9188754</c:v>
                </c:pt>
                <c:pt idx="561">
                  <c:v>3707743.6707377704</c:v>
                </c:pt>
                <c:pt idx="562">
                  <c:v>3707930.734290007</c:v>
                </c:pt>
                <c:pt idx="563">
                  <c:v>3708035.6219772347</c:v>
                </c:pt>
                <c:pt idx="564">
                  <c:v>3708067.4196261321</c:v>
                </c:pt>
                <c:pt idx="565">
                  <c:v>3708362.1900875787</c:v>
                </c:pt>
                <c:pt idx="566">
                  <c:v>3708425.514343671</c:v>
                </c:pt>
                <c:pt idx="567">
                  <c:v>3708476.9252023986</c:v>
                </c:pt>
                <c:pt idx="568">
                  <c:v>3708626.4795250506</c:v>
                </c:pt>
                <c:pt idx="569">
                  <c:v>3708927.2922060848</c:v>
                </c:pt>
                <c:pt idx="570">
                  <c:v>3709278.6678328933</c:v>
                </c:pt>
                <c:pt idx="571">
                  <c:v>3709316.4682983859</c:v>
                </c:pt>
                <c:pt idx="572">
                  <c:v>3709442.4138614866</c:v>
                </c:pt>
                <c:pt idx="573">
                  <c:v>3709457.1552710687</c:v>
                </c:pt>
                <c:pt idx="574">
                  <c:v>3709635.4827888245</c:v>
                </c:pt>
                <c:pt idx="575">
                  <c:v>3709652.1775636706</c:v>
                </c:pt>
                <c:pt idx="576">
                  <c:v>3709708.4756910126</c:v>
                </c:pt>
                <c:pt idx="577">
                  <c:v>3709784.9294887148</c:v>
                </c:pt>
                <c:pt idx="578">
                  <c:v>3710200.1280036792</c:v>
                </c:pt>
                <c:pt idx="579">
                  <c:v>3710501.6164808851</c:v>
                </c:pt>
                <c:pt idx="580">
                  <c:v>3710523.2421166645</c:v>
                </c:pt>
                <c:pt idx="581">
                  <c:v>3710674.712608099</c:v>
                </c:pt>
                <c:pt idx="582">
                  <c:v>3711084.9501617914</c:v>
                </c:pt>
                <c:pt idx="583">
                  <c:v>3711175.8203770421</c:v>
                </c:pt>
                <c:pt idx="584">
                  <c:v>3711219.8733490561</c:v>
                </c:pt>
                <c:pt idx="585">
                  <c:v>3711459.0600004941</c:v>
                </c:pt>
                <c:pt idx="586">
                  <c:v>3711460.7544507659</c:v>
                </c:pt>
                <c:pt idx="587">
                  <c:v>3711555.4734243462</c:v>
                </c:pt>
                <c:pt idx="588">
                  <c:v>3711823.1842924794</c:v>
                </c:pt>
                <c:pt idx="589">
                  <c:v>3711965.6109429328</c:v>
                </c:pt>
                <c:pt idx="590">
                  <c:v>3711986.9762624535</c:v>
                </c:pt>
                <c:pt idx="591">
                  <c:v>3712162.5497196256</c:v>
                </c:pt>
                <c:pt idx="592">
                  <c:v>3712350.2728544418</c:v>
                </c:pt>
                <c:pt idx="593">
                  <c:v>3712954.7261228608</c:v>
                </c:pt>
                <c:pt idx="594">
                  <c:v>3713394.2608207925</c:v>
                </c:pt>
                <c:pt idx="595">
                  <c:v>3713421.2403006577</c:v>
                </c:pt>
                <c:pt idx="596">
                  <c:v>3713612.8328369739</c:v>
                </c:pt>
                <c:pt idx="597">
                  <c:v>3713792.5051042642</c:v>
                </c:pt>
                <c:pt idx="598">
                  <c:v>3713978.8582867435</c:v>
                </c:pt>
                <c:pt idx="599">
                  <c:v>3714443.8648923039</c:v>
                </c:pt>
                <c:pt idx="600">
                  <c:v>3714816.3239380275</c:v>
                </c:pt>
                <c:pt idx="601">
                  <c:v>3714825.6075882073</c:v>
                </c:pt>
                <c:pt idx="602">
                  <c:v>3714869.8359335195</c:v>
                </c:pt>
                <c:pt idx="603">
                  <c:v>3714913.8022081279</c:v>
                </c:pt>
                <c:pt idx="604">
                  <c:v>3714991.7279012557</c:v>
                </c:pt>
                <c:pt idx="605">
                  <c:v>3715317.5701302122</c:v>
                </c:pt>
                <c:pt idx="606">
                  <c:v>3715479.8248049361</c:v>
                </c:pt>
                <c:pt idx="607">
                  <c:v>3715527.5684714569</c:v>
                </c:pt>
                <c:pt idx="608">
                  <c:v>3715596.8753809095</c:v>
                </c:pt>
                <c:pt idx="609">
                  <c:v>3715696.3914244641</c:v>
                </c:pt>
                <c:pt idx="610">
                  <c:v>3715732.5118163573</c:v>
                </c:pt>
                <c:pt idx="611">
                  <c:v>3716044.9857155317</c:v>
                </c:pt>
                <c:pt idx="612">
                  <c:v>3716130.5434619058</c:v>
                </c:pt>
                <c:pt idx="613">
                  <c:v>3716449.3523203256</c:v>
                </c:pt>
                <c:pt idx="614">
                  <c:v>3716571.5204224302</c:v>
                </c:pt>
                <c:pt idx="615">
                  <c:v>3716650.4363285024</c:v>
                </c:pt>
                <c:pt idx="616">
                  <c:v>3717177.6382920556</c:v>
                </c:pt>
                <c:pt idx="617">
                  <c:v>3717342.349032958</c:v>
                </c:pt>
                <c:pt idx="618">
                  <c:v>3717776.9662749371</c:v>
                </c:pt>
                <c:pt idx="619">
                  <c:v>3718148.5550578348</c:v>
                </c:pt>
                <c:pt idx="620">
                  <c:v>3718290.4355708444</c:v>
                </c:pt>
                <c:pt idx="621">
                  <c:v>3718305.2088421006</c:v>
                </c:pt>
                <c:pt idx="622">
                  <c:v>3718384.8066014205</c:v>
                </c:pt>
                <c:pt idx="623">
                  <c:v>3718421.4542843211</c:v>
                </c:pt>
                <c:pt idx="624">
                  <c:v>3718546.7436960489</c:v>
                </c:pt>
                <c:pt idx="625">
                  <c:v>3718782.9952162993</c:v>
                </c:pt>
                <c:pt idx="626">
                  <c:v>3718846.6758432044</c:v>
                </c:pt>
                <c:pt idx="627">
                  <c:v>3718926.8995448644</c:v>
                </c:pt>
                <c:pt idx="628">
                  <c:v>3718954.7337733763</c:v>
                </c:pt>
                <c:pt idx="629">
                  <c:v>3718969.0228939303</c:v>
                </c:pt>
                <c:pt idx="630">
                  <c:v>3718992.2243309049</c:v>
                </c:pt>
                <c:pt idx="631">
                  <c:v>3719077.8544107671</c:v>
                </c:pt>
                <c:pt idx="632">
                  <c:v>3719113.5650787279</c:v>
                </c:pt>
                <c:pt idx="633">
                  <c:v>3719118.8107427726</c:v>
                </c:pt>
                <c:pt idx="634">
                  <c:v>3719138.8118545953</c:v>
                </c:pt>
                <c:pt idx="635">
                  <c:v>3719194.9745184337</c:v>
                </c:pt>
                <c:pt idx="636">
                  <c:v>3719265.4995304029</c:v>
                </c:pt>
                <c:pt idx="637">
                  <c:v>3720328.0058140764</c:v>
                </c:pt>
                <c:pt idx="638">
                  <c:v>3720443.4550039372</c:v>
                </c:pt>
                <c:pt idx="639">
                  <c:v>3720522.530591168</c:v>
                </c:pt>
                <c:pt idx="640">
                  <c:v>3720917.0257890676</c:v>
                </c:pt>
                <c:pt idx="641">
                  <c:v>3720946.494933316</c:v>
                </c:pt>
                <c:pt idx="642">
                  <c:v>3721226.1331877685</c:v>
                </c:pt>
                <c:pt idx="643">
                  <c:v>3721497.9210363138</c:v>
                </c:pt>
                <c:pt idx="644">
                  <c:v>3721601.4956998886</c:v>
                </c:pt>
                <c:pt idx="645">
                  <c:v>3721607.3025792367</c:v>
                </c:pt>
                <c:pt idx="646">
                  <c:v>3721759.3402429842</c:v>
                </c:pt>
                <c:pt idx="647">
                  <c:v>3722642.3826119169</c:v>
                </c:pt>
                <c:pt idx="648">
                  <c:v>3723177.1232115421</c:v>
                </c:pt>
                <c:pt idx="649">
                  <c:v>3723295.5996033084</c:v>
                </c:pt>
                <c:pt idx="650">
                  <c:v>3723426.9430773668</c:v>
                </c:pt>
                <c:pt idx="651">
                  <c:v>3723437.9286002466</c:v>
                </c:pt>
                <c:pt idx="652">
                  <c:v>3723489.0856501549</c:v>
                </c:pt>
                <c:pt idx="653">
                  <c:v>3723786.7010964141</c:v>
                </c:pt>
                <c:pt idx="654">
                  <c:v>3723803.715827181</c:v>
                </c:pt>
                <c:pt idx="655">
                  <c:v>3724140.7313695466</c:v>
                </c:pt>
                <c:pt idx="656">
                  <c:v>3724221.2568875318</c:v>
                </c:pt>
                <c:pt idx="657">
                  <c:v>3724357.8731823079</c:v>
                </c:pt>
                <c:pt idx="658">
                  <c:v>3724360.963967727</c:v>
                </c:pt>
                <c:pt idx="659">
                  <c:v>3724418.8214752376</c:v>
                </c:pt>
                <c:pt idx="660">
                  <c:v>3724426.4708718224</c:v>
                </c:pt>
                <c:pt idx="661">
                  <c:v>3724492.4000904351</c:v>
                </c:pt>
                <c:pt idx="662">
                  <c:v>3724718.8120445791</c:v>
                </c:pt>
                <c:pt idx="663">
                  <c:v>3724893.1086500161</c:v>
                </c:pt>
                <c:pt idx="664">
                  <c:v>3725447.0558664831</c:v>
                </c:pt>
                <c:pt idx="665">
                  <c:v>3725789.2169407858</c:v>
                </c:pt>
                <c:pt idx="666">
                  <c:v>3726182.4661783688</c:v>
                </c:pt>
                <c:pt idx="667">
                  <c:v>3726517.5818861891</c:v>
                </c:pt>
                <c:pt idx="668">
                  <c:v>3727084.0648371959</c:v>
                </c:pt>
                <c:pt idx="669">
                  <c:v>3727390.4936235351</c:v>
                </c:pt>
                <c:pt idx="670">
                  <c:v>3727391.2507520607</c:v>
                </c:pt>
                <c:pt idx="671">
                  <c:v>3727528.6512058983</c:v>
                </c:pt>
                <c:pt idx="672">
                  <c:v>3727785.8184262607</c:v>
                </c:pt>
                <c:pt idx="673">
                  <c:v>3727849.2665821351</c:v>
                </c:pt>
                <c:pt idx="674">
                  <c:v>3728132.5158306658</c:v>
                </c:pt>
                <c:pt idx="675">
                  <c:v>3728334.7098276168</c:v>
                </c:pt>
                <c:pt idx="676">
                  <c:v>3728347.5408095159</c:v>
                </c:pt>
                <c:pt idx="677">
                  <c:v>3728739.9924189388</c:v>
                </c:pt>
                <c:pt idx="678">
                  <c:v>3729044.5643403176</c:v>
                </c:pt>
                <c:pt idx="679">
                  <c:v>3729422.0923228357</c:v>
                </c:pt>
                <c:pt idx="680">
                  <c:v>3729447.8960556188</c:v>
                </c:pt>
                <c:pt idx="681">
                  <c:v>3729636.0766733508</c:v>
                </c:pt>
                <c:pt idx="682">
                  <c:v>3729637.8561532297</c:v>
                </c:pt>
                <c:pt idx="683">
                  <c:v>3729966.0945485346</c:v>
                </c:pt>
                <c:pt idx="684">
                  <c:v>3730395.3996310416</c:v>
                </c:pt>
                <c:pt idx="685">
                  <c:v>3730909.1368409409</c:v>
                </c:pt>
                <c:pt idx="686">
                  <c:v>3731042.8501618998</c:v>
                </c:pt>
                <c:pt idx="687">
                  <c:v>3731188.0381086352</c:v>
                </c:pt>
                <c:pt idx="688">
                  <c:v>3731198.7660904517</c:v>
                </c:pt>
                <c:pt idx="689">
                  <c:v>3731221.6866677571</c:v>
                </c:pt>
                <c:pt idx="690">
                  <c:v>3731577.8489217153</c:v>
                </c:pt>
                <c:pt idx="691">
                  <c:v>3731998.8239021078</c:v>
                </c:pt>
                <c:pt idx="692">
                  <c:v>3732002.5293831024</c:v>
                </c:pt>
                <c:pt idx="693">
                  <c:v>3732188.7205449794</c:v>
                </c:pt>
                <c:pt idx="694">
                  <c:v>3732218.1433916474</c:v>
                </c:pt>
                <c:pt idx="695">
                  <c:v>3732255.7440634016</c:v>
                </c:pt>
                <c:pt idx="696">
                  <c:v>3732307.7755670622</c:v>
                </c:pt>
                <c:pt idx="697">
                  <c:v>3732331.6142296535</c:v>
                </c:pt>
                <c:pt idx="698">
                  <c:v>3732371.3691629856</c:v>
                </c:pt>
                <c:pt idx="699">
                  <c:v>3732477.2205852107</c:v>
                </c:pt>
                <c:pt idx="700">
                  <c:v>3732671.6961311791</c:v>
                </c:pt>
                <c:pt idx="701">
                  <c:v>3732911.64039431</c:v>
                </c:pt>
                <c:pt idx="702">
                  <c:v>3733006.8746337695</c:v>
                </c:pt>
                <c:pt idx="703">
                  <c:v>3733538.1001130259</c:v>
                </c:pt>
                <c:pt idx="704">
                  <c:v>3733638.3820162015</c:v>
                </c:pt>
                <c:pt idx="705">
                  <c:v>3733885.4920488056</c:v>
                </c:pt>
                <c:pt idx="706">
                  <c:v>3733995.6976067233</c:v>
                </c:pt>
                <c:pt idx="707">
                  <c:v>3734074.8030980215</c:v>
                </c:pt>
                <c:pt idx="708">
                  <c:v>3734377.5123805818</c:v>
                </c:pt>
                <c:pt idx="709">
                  <c:v>3734501.7641911712</c:v>
                </c:pt>
                <c:pt idx="710">
                  <c:v>3735255.2373708673</c:v>
                </c:pt>
                <c:pt idx="711">
                  <c:v>3735542.7410755977</c:v>
                </c:pt>
                <c:pt idx="712">
                  <c:v>3735669.988498576</c:v>
                </c:pt>
                <c:pt idx="713">
                  <c:v>3735678.1919687646</c:v>
                </c:pt>
                <c:pt idx="714">
                  <c:v>3735795.6819595913</c:v>
                </c:pt>
                <c:pt idx="715">
                  <c:v>3735885.4629340116</c:v>
                </c:pt>
                <c:pt idx="716">
                  <c:v>3736060.6965026422</c:v>
                </c:pt>
                <c:pt idx="717">
                  <c:v>3736114.8868515054</c:v>
                </c:pt>
                <c:pt idx="718">
                  <c:v>3736315.9036329403</c:v>
                </c:pt>
                <c:pt idx="719">
                  <c:v>3736401.19560656</c:v>
                </c:pt>
                <c:pt idx="720">
                  <c:v>3736576.0005041347</c:v>
                </c:pt>
                <c:pt idx="721">
                  <c:v>3736855.9217521888</c:v>
                </c:pt>
                <c:pt idx="722">
                  <c:v>3737066.3713080199</c:v>
                </c:pt>
                <c:pt idx="723">
                  <c:v>3737176.3980018725</c:v>
                </c:pt>
                <c:pt idx="724">
                  <c:v>3737312.379824827</c:v>
                </c:pt>
                <c:pt idx="725">
                  <c:v>3737369.9724313794</c:v>
                </c:pt>
                <c:pt idx="726">
                  <c:v>3737411.5087132957</c:v>
                </c:pt>
                <c:pt idx="727">
                  <c:v>3737644.6743942453</c:v>
                </c:pt>
                <c:pt idx="728">
                  <c:v>3737647.3657338219</c:v>
                </c:pt>
                <c:pt idx="729">
                  <c:v>3737754.4592644833</c:v>
                </c:pt>
                <c:pt idx="730">
                  <c:v>3737809.419317327</c:v>
                </c:pt>
                <c:pt idx="731">
                  <c:v>3738067.6601835899</c:v>
                </c:pt>
                <c:pt idx="732">
                  <c:v>3738127.3850876745</c:v>
                </c:pt>
                <c:pt idx="733">
                  <c:v>3738640.5586858001</c:v>
                </c:pt>
                <c:pt idx="734">
                  <c:v>3739077.2712233188</c:v>
                </c:pt>
                <c:pt idx="735">
                  <c:v>3739210.6293844287</c:v>
                </c:pt>
                <c:pt idx="736">
                  <c:v>3739444.8490676261</c:v>
                </c:pt>
                <c:pt idx="737">
                  <c:v>3739608.0284596719</c:v>
                </c:pt>
                <c:pt idx="738">
                  <c:v>3739678.0390270962</c:v>
                </c:pt>
                <c:pt idx="739">
                  <c:v>3740400.3331733742</c:v>
                </c:pt>
                <c:pt idx="740">
                  <c:v>3740511.3685473553</c:v>
                </c:pt>
                <c:pt idx="741">
                  <c:v>3740910.3762075203</c:v>
                </c:pt>
                <c:pt idx="742">
                  <c:v>3740983.3380097998</c:v>
                </c:pt>
                <c:pt idx="743">
                  <c:v>3741321.6431415505</c:v>
                </c:pt>
                <c:pt idx="744">
                  <c:v>3741459.00726688</c:v>
                </c:pt>
                <c:pt idx="745">
                  <c:v>3741563.5259570447</c:v>
                </c:pt>
                <c:pt idx="746">
                  <c:v>3742181.604593704</c:v>
                </c:pt>
                <c:pt idx="747">
                  <c:v>3742394.8376688915</c:v>
                </c:pt>
                <c:pt idx="748">
                  <c:v>3742871.3103459394</c:v>
                </c:pt>
                <c:pt idx="749">
                  <c:v>3743280.6519854683</c:v>
                </c:pt>
                <c:pt idx="750">
                  <c:v>3743431.9691233067</c:v>
                </c:pt>
                <c:pt idx="751">
                  <c:v>3743764.6015594895</c:v>
                </c:pt>
                <c:pt idx="752">
                  <c:v>3744381.1646536356</c:v>
                </c:pt>
                <c:pt idx="753">
                  <c:v>3744716.7240195214</c:v>
                </c:pt>
                <c:pt idx="754">
                  <c:v>3744922.2107153302</c:v>
                </c:pt>
                <c:pt idx="755">
                  <c:v>3745530.26758654</c:v>
                </c:pt>
                <c:pt idx="756">
                  <c:v>3745583.289455561</c:v>
                </c:pt>
                <c:pt idx="757">
                  <c:v>3746083.5429053935</c:v>
                </c:pt>
                <c:pt idx="758">
                  <c:v>3746103.6309745843</c:v>
                </c:pt>
                <c:pt idx="759">
                  <c:v>3747438.0635605869</c:v>
                </c:pt>
                <c:pt idx="760">
                  <c:v>3748617.1741444771</c:v>
                </c:pt>
                <c:pt idx="761">
                  <c:v>3748923.1580553418</c:v>
                </c:pt>
                <c:pt idx="762">
                  <c:v>3750386.2894230718</c:v>
                </c:pt>
                <c:pt idx="763">
                  <c:v>3750632.2551810089</c:v>
                </c:pt>
                <c:pt idx="764">
                  <c:v>3750650.9221443334</c:v>
                </c:pt>
                <c:pt idx="765">
                  <c:v>3750851.4214229537</c:v>
                </c:pt>
                <c:pt idx="766">
                  <c:v>3752026.2406191458</c:v>
                </c:pt>
                <c:pt idx="767">
                  <c:v>3752475.1190606654</c:v>
                </c:pt>
                <c:pt idx="768">
                  <c:v>3752564.3835513014</c:v>
                </c:pt>
                <c:pt idx="769">
                  <c:v>3752612.3701014114</c:v>
                </c:pt>
                <c:pt idx="770">
                  <c:v>3753354.055068803</c:v>
                </c:pt>
                <c:pt idx="771">
                  <c:v>3753631.698519737</c:v>
                </c:pt>
                <c:pt idx="772">
                  <c:v>3753738.8867805586</c:v>
                </c:pt>
                <c:pt idx="773">
                  <c:v>3754128.7550232434</c:v>
                </c:pt>
                <c:pt idx="774">
                  <c:v>3755481.6718188007</c:v>
                </c:pt>
                <c:pt idx="775">
                  <c:v>3755677.5451461785</c:v>
                </c:pt>
                <c:pt idx="776">
                  <c:v>3755958.0733039551</c:v>
                </c:pt>
                <c:pt idx="777">
                  <c:v>3756800.6604999644</c:v>
                </c:pt>
                <c:pt idx="778">
                  <c:v>3756926.6221079677</c:v>
                </c:pt>
                <c:pt idx="779">
                  <c:v>3757062.5169323245</c:v>
                </c:pt>
                <c:pt idx="780">
                  <c:v>3757205.1936094286</c:v>
                </c:pt>
                <c:pt idx="781">
                  <c:v>3758115.9622769239</c:v>
                </c:pt>
                <c:pt idx="782">
                  <c:v>3758473.7991845263</c:v>
                </c:pt>
                <c:pt idx="783">
                  <c:v>3758562.2158194091</c:v>
                </c:pt>
                <c:pt idx="784">
                  <c:v>3758724.3091260022</c:v>
                </c:pt>
                <c:pt idx="785">
                  <c:v>3758846.2138536493</c:v>
                </c:pt>
                <c:pt idx="786">
                  <c:v>3759583.6874081902</c:v>
                </c:pt>
                <c:pt idx="787">
                  <c:v>3760015.1702037146</c:v>
                </c:pt>
                <c:pt idx="788">
                  <c:v>3760246.1823556679</c:v>
                </c:pt>
                <c:pt idx="789">
                  <c:v>3760293.4902569382</c:v>
                </c:pt>
                <c:pt idx="790">
                  <c:v>3761818.5260174335</c:v>
                </c:pt>
                <c:pt idx="791">
                  <c:v>3762814.6993430876</c:v>
                </c:pt>
                <c:pt idx="792">
                  <c:v>3763070.5293486952</c:v>
                </c:pt>
                <c:pt idx="793">
                  <c:v>3763590.7898465935</c:v>
                </c:pt>
                <c:pt idx="794">
                  <c:v>3763709.8492120123</c:v>
                </c:pt>
                <c:pt idx="795">
                  <c:v>3763950.401129507</c:v>
                </c:pt>
                <c:pt idx="796">
                  <c:v>3764667.8261745851</c:v>
                </c:pt>
                <c:pt idx="797">
                  <c:v>3765406.3909821822</c:v>
                </c:pt>
                <c:pt idx="798">
                  <c:v>3765417.2600946939</c:v>
                </c:pt>
                <c:pt idx="799">
                  <c:v>3765546.2920497782</c:v>
                </c:pt>
                <c:pt idx="800">
                  <c:v>3766308.6494619241</c:v>
                </c:pt>
                <c:pt idx="801">
                  <c:v>3766578.8159533581</c:v>
                </c:pt>
                <c:pt idx="802">
                  <c:v>3766754.9151034569</c:v>
                </c:pt>
                <c:pt idx="803">
                  <c:v>3768023.1501992941</c:v>
                </c:pt>
                <c:pt idx="804">
                  <c:v>3768268.2416939391</c:v>
                </c:pt>
                <c:pt idx="805">
                  <c:v>3768280.862548708</c:v>
                </c:pt>
                <c:pt idx="806">
                  <c:v>3768648.7891474529</c:v>
                </c:pt>
                <c:pt idx="807">
                  <c:v>3769431.4268661458</c:v>
                </c:pt>
                <c:pt idx="808">
                  <c:v>3769438.9141489333</c:v>
                </c:pt>
                <c:pt idx="809">
                  <c:v>3769600.5865163868</c:v>
                </c:pt>
                <c:pt idx="810">
                  <c:v>3770277.1727890298</c:v>
                </c:pt>
                <c:pt idx="811">
                  <c:v>3771290.0006539086</c:v>
                </c:pt>
                <c:pt idx="812">
                  <c:v>3771369.726743394</c:v>
                </c:pt>
                <c:pt idx="813">
                  <c:v>3771526.5589603987</c:v>
                </c:pt>
                <c:pt idx="814">
                  <c:v>3771943.2208844493</c:v>
                </c:pt>
                <c:pt idx="815">
                  <c:v>3772162.0011707107</c:v>
                </c:pt>
                <c:pt idx="816">
                  <c:v>3772473.9447880764</c:v>
                </c:pt>
                <c:pt idx="817">
                  <c:v>3772873.277752927</c:v>
                </c:pt>
                <c:pt idx="818">
                  <c:v>3773194.6952636847</c:v>
                </c:pt>
                <c:pt idx="819">
                  <c:v>3773209.4865708719</c:v>
                </c:pt>
                <c:pt idx="820">
                  <c:v>3774669.0290003577</c:v>
                </c:pt>
                <c:pt idx="821">
                  <c:v>3775326.3174497639</c:v>
                </c:pt>
                <c:pt idx="822">
                  <c:v>3776430.841662033</c:v>
                </c:pt>
                <c:pt idx="823">
                  <c:v>3776731.8620300521</c:v>
                </c:pt>
                <c:pt idx="824">
                  <c:v>3776849.4910402186</c:v>
                </c:pt>
                <c:pt idx="825">
                  <c:v>3777186.3165651788</c:v>
                </c:pt>
                <c:pt idx="826">
                  <c:v>3777853.2117816317</c:v>
                </c:pt>
                <c:pt idx="827">
                  <c:v>3778226.4471161286</c:v>
                </c:pt>
                <c:pt idx="828">
                  <c:v>3778646.3072122619</c:v>
                </c:pt>
                <c:pt idx="829">
                  <c:v>3779263.2204862572</c:v>
                </c:pt>
                <c:pt idx="830">
                  <c:v>3779953.5952627645</c:v>
                </c:pt>
                <c:pt idx="831">
                  <c:v>3780161.3737595226</c:v>
                </c:pt>
                <c:pt idx="832">
                  <c:v>3780427.7193612023</c:v>
                </c:pt>
                <c:pt idx="833">
                  <c:v>3780428.1301562828</c:v>
                </c:pt>
                <c:pt idx="834">
                  <c:v>3780950.6666120826</c:v>
                </c:pt>
                <c:pt idx="835">
                  <c:v>3781000.2822774076</c:v>
                </c:pt>
                <c:pt idx="836">
                  <c:v>3781359.4531449396</c:v>
                </c:pt>
                <c:pt idx="837">
                  <c:v>3782405.6433802992</c:v>
                </c:pt>
                <c:pt idx="838">
                  <c:v>3782653.0755211646</c:v>
                </c:pt>
                <c:pt idx="839">
                  <c:v>3783436.8189002331</c:v>
                </c:pt>
                <c:pt idx="840">
                  <c:v>3784971.6221655929</c:v>
                </c:pt>
                <c:pt idx="841">
                  <c:v>3785178.7838524268</c:v>
                </c:pt>
                <c:pt idx="842">
                  <c:v>3785651.9911466017</c:v>
                </c:pt>
                <c:pt idx="843">
                  <c:v>3786971.2699658391</c:v>
                </c:pt>
                <c:pt idx="844">
                  <c:v>3787983.9533278383</c:v>
                </c:pt>
                <c:pt idx="845">
                  <c:v>3788201.5157954283</c:v>
                </c:pt>
                <c:pt idx="846">
                  <c:v>3788375.3857227699</c:v>
                </c:pt>
                <c:pt idx="847">
                  <c:v>3789239.711471634</c:v>
                </c:pt>
                <c:pt idx="848">
                  <c:v>3789501.3246811186</c:v>
                </c:pt>
                <c:pt idx="849">
                  <c:v>3790035.2551633446</c:v>
                </c:pt>
                <c:pt idx="850">
                  <c:v>3790090.6304478385</c:v>
                </c:pt>
                <c:pt idx="851">
                  <c:v>3790282.1047469075</c:v>
                </c:pt>
                <c:pt idx="852">
                  <c:v>3790666.7622880135</c:v>
                </c:pt>
                <c:pt idx="853">
                  <c:v>3790971.6698307497</c:v>
                </c:pt>
                <c:pt idx="854">
                  <c:v>3791165.2281378414</c:v>
                </c:pt>
                <c:pt idx="855">
                  <c:v>3791645.5781815113</c:v>
                </c:pt>
                <c:pt idx="856">
                  <c:v>3791698.1228064895</c:v>
                </c:pt>
                <c:pt idx="857">
                  <c:v>3791939.9942139224</c:v>
                </c:pt>
                <c:pt idx="858">
                  <c:v>3794847.6502025537</c:v>
                </c:pt>
                <c:pt idx="859">
                  <c:v>3797887.6275236844</c:v>
                </c:pt>
                <c:pt idx="860">
                  <c:v>3798485.1100451718</c:v>
                </c:pt>
                <c:pt idx="861">
                  <c:v>3800066.1391615206</c:v>
                </c:pt>
                <c:pt idx="862">
                  <c:v>3800361.6710024192</c:v>
                </c:pt>
                <c:pt idx="863">
                  <c:v>3800691.2269027121</c:v>
                </c:pt>
                <c:pt idx="864">
                  <c:v>3800773.0006125905</c:v>
                </c:pt>
                <c:pt idx="865">
                  <c:v>3801849.8357984577</c:v>
                </c:pt>
                <c:pt idx="866">
                  <c:v>3803675.1744933478</c:v>
                </c:pt>
                <c:pt idx="867">
                  <c:v>3806014.3712212378</c:v>
                </c:pt>
                <c:pt idx="868">
                  <c:v>3808725.8497620039</c:v>
                </c:pt>
                <c:pt idx="869">
                  <c:v>3809664.2193511436</c:v>
                </c:pt>
                <c:pt idx="870">
                  <c:v>3809680.9757660627</c:v>
                </c:pt>
                <c:pt idx="871">
                  <c:v>3810193.1248155977</c:v>
                </c:pt>
                <c:pt idx="872">
                  <c:v>3810789.3419257067</c:v>
                </c:pt>
                <c:pt idx="873">
                  <c:v>3814184.0971022774</c:v>
                </c:pt>
                <c:pt idx="874">
                  <c:v>3814445.7288971264</c:v>
                </c:pt>
                <c:pt idx="875">
                  <c:v>3815524.8748836936</c:v>
                </c:pt>
                <c:pt idx="876">
                  <c:v>3815795.3870961405</c:v>
                </c:pt>
                <c:pt idx="877">
                  <c:v>3817047.0000808779</c:v>
                </c:pt>
                <c:pt idx="878">
                  <c:v>3817097.0892792898</c:v>
                </c:pt>
                <c:pt idx="879">
                  <c:v>3817618.5428384836</c:v>
                </c:pt>
                <c:pt idx="880">
                  <c:v>3818025.8651256962</c:v>
                </c:pt>
                <c:pt idx="881">
                  <c:v>3818438.1363107897</c:v>
                </c:pt>
                <c:pt idx="882">
                  <c:v>3818667.005405759</c:v>
                </c:pt>
                <c:pt idx="883">
                  <c:v>3818706.9477761118</c:v>
                </c:pt>
                <c:pt idx="884">
                  <c:v>3818916.9796670824</c:v>
                </c:pt>
                <c:pt idx="885">
                  <c:v>3820564.5462851501</c:v>
                </c:pt>
                <c:pt idx="886">
                  <c:v>3821620.0482905162</c:v>
                </c:pt>
                <c:pt idx="887">
                  <c:v>3821848.3082789271</c:v>
                </c:pt>
                <c:pt idx="888">
                  <c:v>3822247.2411932927</c:v>
                </c:pt>
                <c:pt idx="889">
                  <c:v>3822365.4319939176</c:v>
                </c:pt>
                <c:pt idx="890">
                  <c:v>3822890.3365384075</c:v>
                </c:pt>
                <c:pt idx="891">
                  <c:v>3823200.376983203</c:v>
                </c:pt>
                <c:pt idx="892">
                  <c:v>3824299.606065982</c:v>
                </c:pt>
                <c:pt idx="893">
                  <c:v>3824610.0311394553</c:v>
                </c:pt>
                <c:pt idx="894">
                  <c:v>3825929.7417898746</c:v>
                </c:pt>
                <c:pt idx="895">
                  <c:v>3827196.1383693893</c:v>
                </c:pt>
                <c:pt idx="896">
                  <c:v>3827361.2901579412</c:v>
                </c:pt>
                <c:pt idx="897">
                  <c:v>3831417.5072102337</c:v>
                </c:pt>
                <c:pt idx="898">
                  <c:v>3831505.0569448373</c:v>
                </c:pt>
                <c:pt idx="899">
                  <c:v>3833427.7848649621</c:v>
                </c:pt>
                <c:pt idx="900">
                  <c:v>3834875.7877806146</c:v>
                </c:pt>
                <c:pt idx="901">
                  <c:v>3836075.4335187371</c:v>
                </c:pt>
                <c:pt idx="902">
                  <c:v>3838149.8800654882</c:v>
                </c:pt>
                <c:pt idx="903">
                  <c:v>3841650.1043807454</c:v>
                </c:pt>
                <c:pt idx="904">
                  <c:v>3841689.0730797956</c:v>
                </c:pt>
                <c:pt idx="905">
                  <c:v>3842612.0710050701</c:v>
                </c:pt>
                <c:pt idx="906">
                  <c:v>3842614.9000693331</c:v>
                </c:pt>
                <c:pt idx="907">
                  <c:v>3845251.0409187214</c:v>
                </c:pt>
                <c:pt idx="908">
                  <c:v>3845743.2080335505</c:v>
                </c:pt>
                <c:pt idx="909">
                  <c:v>3846288.6451594648</c:v>
                </c:pt>
                <c:pt idx="910">
                  <c:v>3848118.3399583297</c:v>
                </c:pt>
                <c:pt idx="911">
                  <c:v>3848921.0402537081</c:v>
                </c:pt>
                <c:pt idx="912">
                  <c:v>3851268.5061163264</c:v>
                </c:pt>
                <c:pt idx="913">
                  <c:v>3859480.9931617328</c:v>
                </c:pt>
                <c:pt idx="914">
                  <c:v>3861639.8248256748</c:v>
                </c:pt>
                <c:pt idx="915">
                  <c:v>3862135.6263651145</c:v>
                </c:pt>
                <c:pt idx="916">
                  <c:v>3863404.7945773457</c:v>
                </c:pt>
                <c:pt idx="917">
                  <c:v>3865590.3652158324</c:v>
                </c:pt>
                <c:pt idx="918">
                  <c:v>3867257.9562039562</c:v>
                </c:pt>
                <c:pt idx="919">
                  <c:v>3867565.0657876683</c:v>
                </c:pt>
                <c:pt idx="920">
                  <c:v>3869709.2853047326</c:v>
                </c:pt>
                <c:pt idx="921">
                  <c:v>3871045.5903360192</c:v>
                </c:pt>
                <c:pt idx="922">
                  <c:v>3871823.8931887681</c:v>
                </c:pt>
                <c:pt idx="923">
                  <c:v>3872417.4789317017</c:v>
                </c:pt>
                <c:pt idx="924">
                  <c:v>3874005.3523075967</c:v>
                </c:pt>
                <c:pt idx="925">
                  <c:v>3874295.6208527749</c:v>
                </c:pt>
                <c:pt idx="926">
                  <c:v>3876630.669076493</c:v>
                </c:pt>
                <c:pt idx="927">
                  <c:v>3876786.392423457</c:v>
                </c:pt>
                <c:pt idx="928">
                  <c:v>3880722.468612215</c:v>
                </c:pt>
                <c:pt idx="929">
                  <c:v>3886282.0663461662</c:v>
                </c:pt>
                <c:pt idx="930">
                  <c:v>3889715.2658209819</c:v>
                </c:pt>
                <c:pt idx="931">
                  <c:v>3898191.7790111681</c:v>
                </c:pt>
                <c:pt idx="932">
                  <c:v>3901973.7734034783</c:v>
                </c:pt>
                <c:pt idx="933">
                  <c:v>3903220.0098123299</c:v>
                </c:pt>
                <c:pt idx="934">
                  <c:v>3906666.3843235914</c:v>
                </c:pt>
                <c:pt idx="935">
                  <c:v>3923334.1805568156</c:v>
                </c:pt>
                <c:pt idx="936">
                  <c:v>3924292.1689248369</c:v>
                </c:pt>
                <c:pt idx="937">
                  <c:v>3927018.0312427795</c:v>
                </c:pt>
                <c:pt idx="938">
                  <c:v>3931864.9487436898</c:v>
                </c:pt>
                <c:pt idx="939">
                  <c:v>3936751.7128517688</c:v>
                </c:pt>
                <c:pt idx="940">
                  <c:v>3938967.0457082535</c:v>
                </c:pt>
                <c:pt idx="941">
                  <c:v>3946422.2455985467</c:v>
                </c:pt>
                <c:pt idx="942">
                  <c:v>3948191.4938426269</c:v>
                </c:pt>
                <c:pt idx="943">
                  <c:v>3948463.1037023501</c:v>
                </c:pt>
                <c:pt idx="944">
                  <c:v>3953289.3594493363</c:v>
                </c:pt>
                <c:pt idx="945">
                  <c:v>3955327.9698025719</c:v>
                </c:pt>
                <c:pt idx="946">
                  <c:v>3962326.5466504879</c:v>
                </c:pt>
                <c:pt idx="947">
                  <c:v>3967624.7859702501</c:v>
                </c:pt>
                <c:pt idx="948">
                  <c:v>3976349.876177351</c:v>
                </c:pt>
              </c:numCache>
            </c:numRef>
          </c:val>
          <c:smooth val="0"/>
          <c:extLst>
            <c:ext xmlns:c16="http://schemas.microsoft.com/office/drawing/2014/chart" uri="{C3380CC4-5D6E-409C-BE32-E72D297353CC}">
              <c16:uniqueId val="{00000000-4CA6-4C69-81CE-AC6447C88D41}"/>
            </c:ext>
          </c:extLst>
        </c:ser>
        <c:ser>
          <c:idx val="1"/>
          <c:order val="1"/>
          <c:tx>
            <c:strRef>
              <c:f>'[Final ACT.xlsx]Sheet5'!$D$1</c:f>
              <c:strCache>
                <c:ptCount val="1"/>
                <c:pt idx="0">
                  <c:v>Complete Output</c:v>
                </c:pt>
              </c:strCache>
            </c:strRef>
          </c:tx>
          <c:spPr>
            <a:ln w="34925" cap="rnd">
              <a:solidFill>
                <a:schemeClr val="accent2"/>
              </a:solidFill>
              <a:round/>
            </a:ln>
            <a:effectLst>
              <a:outerShdw blurRad="40000" dist="23000" dir="5400000" rotWithShape="0">
                <a:srgbClr val="000000">
                  <a:alpha val="35000"/>
                </a:srgbClr>
              </a:outerShdw>
            </a:effectLst>
          </c:spPr>
          <c:marker>
            <c:symbol val="none"/>
          </c:marker>
          <c:val>
            <c:numRef>
              <c:f>'[Final ACT.xlsx]Sheet5'!$D$2:$D$1036</c:f>
              <c:numCache>
                <c:formatCode>General</c:formatCode>
                <c:ptCount val="1035"/>
                <c:pt idx="0">
                  <c:v>2734563.8501272253</c:v>
                </c:pt>
                <c:pt idx="1">
                  <c:v>2705620.861591158</c:v>
                </c:pt>
                <c:pt idx="2">
                  <c:v>2777845.0330578065</c:v>
                </c:pt>
                <c:pt idx="3">
                  <c:v>2725797.6224822025</c:v>
                </c:pt>
                <c:pt idx="4">
                  <c:v>2641912.682653646</c:v>
                </c:pt>
                <c:pt idx="5">
                  <c:v>2805222.6038109572</c:v>
                </c:pt>
                <c:pt idx="6">
                  <c:v>2772646.5692095142</c:v>
                </c:pt>
                <c:pt idx="7">
                  <c:v>2684963.6172960252</c:v>
                </c:pt>
                <c:pt idx="8">
                  <c:v>2772830.4297284367</c:v>
                </c:pt>
                <c:pt idx="9">
                  <c:v>2752009.5410224781</c:v>
                </c:pt>
                <c:pt idx="10">
                  <c:v>2765685.4551744694</c:v>
                </c:pt>
                <c:pt idx="11">
                  <c:v>2944901.3620969309</c:v>
                </c:pt>
                <c:pt idx="12">
                  <c:v>2741377.6770383613</c:v>
                </c:pt>
                <c:pt idx="13">
                  <c:v>2800686.7812199891</c:v>
                </c:pt>
                <c:pt idx="14">
                  <c:v>2781244.5709851943</c:v>
                </c:pt>
                <c:pt idx="15">
                  <c:v>2940155.1639811229</c:v>
                </c:pt>
                <c:pt idx="16">
                  <c:v>2747596.1189046432</c:v>
                </c:pt>
                <c:pt idx="17">
                  <c:v>2954332.2547102324</c:v>
                </c:pt>
                <c:pt idx="18">
                  <c:v>2862467.678580957</c:v>
                </c:pt>
                <c:pt idx="19">
                  <c:v>2812626.0691225384</c:v>
                </c:pt>
                <c:pt idx="20">
                  <c:v>2817394.5372720333</c:v>
                </c:pt>
                <c:pt idx="21">
                  <c:v>2686536.4877757817</c:v>
                </c:pt>
                <c:pt idx="22">
                  <c:v>2683037.1052382016</c:v>
                </c:pt>
                <c:pt idx="23">
                  <c:v>2775657.0413792692</c:v>
                </c:pt>
                <c:pt idx="24">
                  <c:v>2659184.0121589354</c:v>
                </c:pt>
                <c:pt idx="25">
                  <c:v>2833811.9370003925</c:v>
                </c:pt>
                <c:pt idx="26">
                  <c:v>2713447.2914804784</c:v>
                </c:pt>
                <c:pt idx="27">
                  <c:v>2741421.2166852821</c:v>
                </c:pt>
                <c:pt idx="28">
                  <c:v>2699591.6234311513</c:v>
                </c:pt>
                <c:pt idx="29">
                  <c:v>2692019.5030458267</c:v>
                </c:pt>
                <c:pt idx="30">
                  <c:v>2720519.308105893</c:v>
                </c:pt>
                <c:pt idx="31">
                  <c:v>2806837.306632034</c:v>
                </c:pt>
                <c:pt idx="32">
                  <c:v>2728472.811353026</c:v>
                </c:pt>
                <c:pt idx="33">
                  <c:v>2754486.6876062904</c:v>
                </c:pt>
                <c:pt idx="34">
                  <c:v>2965580.1857150747</c:v>
                </c:pt>
                <c:pt idx="35">
                  <c:v>2735841.7262591538</c:v>
                </c:pt>
                <c:pt idx="36">
                  <c:v>2761457.2164412499</c:v>
                </c:pt>
                <c:pt idx="37">
                  <c:v>2835066.3381952774</c:v>
                </c:pt>
                <c:pt idx="38">
                  <c:v>2800263.9446076322</c:v>
                </c:pt>
                <c:pt idx="39">
                  <c:v>2826585.3112105392</c:v>
                </c:pt>
                <c:pt idx="40">
                  <c:v>2750699.3813640466</c:v>
                </c:pt>
                <c:pt idx="41">
                  <c:v>2850970.5032600281</c:v>
                </c:pt>
                <c:pt idx="42">
                  <c:v>2813066.609313482</c:v>
                </c:pt>
                <c:pt idx="43">
                  <c:v>2709673.6761359656</c:v>
                </c:pt>
                <c:pt idx="44">
                  <c:v>2723306.6718517775</c:v>
                </c:pt>
                <c:pt idx="45">
                  <c:v>2720593.5855681552</c:v>
                </c:pt>
                <c:pt idx="46">
                  <c:v>2695801.6410751846</c:v>
                </c:pt>
                <c:pt idx="47">
                  <c:v>2861678.1196415527</c:v>
                </c:pt>
                <c:pt idx="48">
                  <c:v>2804707.8079363261</c:v>
                </c:pt>
                <c:pt idx="49">
                  <c:v>2754895.1164335231</c:v>
                </c:pt>
                <c:pt idx="50">
                  <c:v>2787584.6920134891</c:v>
                </c:pt>
                <c:pt idx="51">
                  <c:v>2733699.2974797222</c:v>
                </c:pt>
                <c:pt idx="52">
                  <c:v>2885438.6444570287</c:v>
                </c:pt>
                <c:pt idx="53">
                  <c:v>2626889.1753922589</c:v>
                </c:pt>
                <c:pt idx="54">
                  <c:v>2696248.1170407278</c:v>
                </c:pt>
                <c:pt idx="55">
                  <c:v>2815411.9981500297</c:v>
                </c:pt>
                <c:pt idx="56">
                  <c:v>2773621.1584045989</c:v>
                </c:pt>
                <c:pt idx="57">
                  <c:v>2715656.7488310579</c:v>
                </c:pt>
                <c:pt idx="58">
                  <c:v>2798720.3357100785</c:v>
                </c:pt>
                <c:pt idx="59">
                  <c:v>2643804.4160106564</c:v>
                </c:pt>
                <c:pt idx="60">
                  <c:v>2722904.4594983393</c:v>
                </c:pt>
                <c:pt idx="61">
                  <c:v>2855600.0860906513</c:v>
                </c:pt>
                <c:pt idx="62">
                  <c:v>2830833.1137189991</c:v>
                </c:pt>
                <c:pt idx="63">
                  <c:v>2879222.9281774913</c:v>
                </c:pt>
                <c:pt idx="64">
                  <c:v>2723624.3397181602</c:v>
                </c:pt>
                <c:pt idx="65">
                  <c:v>2769619.9007187989</c:v>
                </c:pt>
                <c:pt idx="66">
                  <c:v>2959523.5492318436</c:v>
                </c:pt>
                <c:pt idx="67">
                  <c:v>2856129.4633258642</c:v>
                </c:pt>
                <c:pt idx="68">
                  <c:v>2633329.9234240009</c:v>
                </c:pt>
                <c:pt idx="69">
                  <c:v>2761612.6787392278</c:v>
                </c:pt>
                <c:pt idx="70">
                  <c:v>2707024.8012115313</c:v>
                </c:pt>
                <c:pt idx="71">
                  <c:v>2633144.7694452927</c:v>
                </c:pt>
                <c:pt idx="72">
                  <c:v>2815128.1595205581</c:v>
                </c:pt>
                <c:pt idx="73">
                  <c:v>2680042.8993952111</c:v>
                </c:pt>
                <c:pt idx="74">
                  <c:v>2822939.4650236047</c:v>
                </c:pt>
                <c:pt idx="75">
                  <c:v>2665228.8204792524</c:v>
                </c:pt>
                <c:pt idx="76">
                  <c:v>2741900.3425312848</c:v>
                </c:pt>
                <c:pt idx="77">
                  <c:v>2753559.8435994512</c:v>
                </c:pt>
                <c:pt idx="78">
                  <c:v>2618300.6933159847</c:v>
                </c:pt>
                <c:pt idx="79">
                  <c:v>2819020.1547531555</c:v>
                </c:pt>
                <c:pt idx="80">
                  <c:v>2780701.010729182</c:v>
                </c:pt>
                <c:pt idx="81">
                  <c:v>2758117.3291266202</c:v>
                </c:pt>
                <c:pt idx="82">
                  <c:v>2771802.3495386387</c:v>
                </c:pt>
                <c:pt idx="83">
                  <c:v>2886559.7723123529</c:v>
                </c:pt>
                <c:pt idx="84">
                  <c:v>2533078.6770108305</c:v>
                </c:pt>
                <c:pt idx="85">
                  <c:v>2661984.5635107169</c:v>
                </c:pt>
                <c:pt idx="86">
                  <c:v>2873886.9674925702</c:v>
                </c:pt>
                <c:pt idx="87">
                  <c:v>2794431.3292785315</c:v>
                </c:pt>
                <c:pt idx="88">
                  <c:v>2651696.8455301397</c:v>
                </c:pt>
                <c:pt idx="89">
                  <c:v>2729581.2038323479</c:v>
                </c:pt>
                <c:pt idx="90">
                  <c:v>2821534.5514270016</c:v>
                </c:pt>
                <c:pt idx="91">
                  <c:v>2762245.3122867076</c:v>
                </c:pt>
                <c:pt idx="92">
                  <c:v>2608864.0271783066</c:v>
                </c:pt>
                <c:pt idx="93">
                  <c:v>2953056.5283440589</c:v>
                </c:pt>
                <c:pt idx="94">
                  <c:v>2821726.8804092864</c:v>
                </c:pt>
                <c:pt idx="95">
                  <c:v>2825303.4201050322</c:v>
                </c:pt>
                <c:pt idx="96">
                  <c:v>2717139.2681492534</c:v>
                </c:pt>
                <c:pt idx="97">
                  <c:v>2923159.4676543567</c:v>
                </c:pt>
                <c:pt idx="98">
                  <c:v>2916725.1134764692</c:v>
                </c:pt>
                <c:pt idx="99">
                  <c:v>2791529.9092664979</c:v>
                </c:pt>
                <c:pt idx="100">
                  <c:v>2679641.8239642973</c:v>
                </c:pt>
                <c:pt idx="101">
                  <c:v>2761388.7530050012</c:v>
                </c:pt>
                <c:pt idx="102">
                  <c:v>2796610.1564861373</c:v>
                </c:pt>
                <c:pt idx="103">
                  <c:v>2708986.1049336968</c:v>
                </c:pt>
                <c:pt idx="104">
                  <c:v>2732105.3548481464</c:v>
                </c:pt>
                <c:pt idx="105">
                  <c:v>2943665.6353838164</c:v>
                </c:pt>
                <c:pt idx="106">
                  <c:v>2805753.5528608398</c:v>
                </c:pt>
                <c:pt idx="107">
                  <c:v>2833401.410218386</c:v>
                </c:pt>
                <c:pt idx="108">
                  <c:v>2698679.3709283839</c:v>
                </c:pt>
                <c:pt idx="109">
                  <c:v>2766391.1680670981</c:v>
                </c:pt>
                <c:pt idx="110">
                  <c:v>2790750.4175077928</c:v>
                </c:pt>
                <c:pt idx="111">
                  <c:v>2911175.6718809586</c:v>
                </c:pt>
                <c:pt idx="112">
                  <c:v>2729582.2262125327</c:v>
                </c:pt>
                <c:pt idx="113">
                  <c:v>2918878.8485588338</c:v>
                </c:pt>
                <c:pt idx="114">
                  <c:v>2689143.0424230904</c:v>
                </c:pt>
                <c:pt idx="115">
                  <c:v>2782044.041611251</c:v>
                </c:pt>
                <c:pt idx="116">
                  <c:v>2898168.4607284209</c:v>
                </c:pt>
                <c:pt idx="117">
                  <c:v>2773340.1412015418</c:v>
                </c:pt>
                <c:pt idx="118">
                  <c:v>2702174.3125501145</c:v>
                </c:pt>
                <c:pt idx="119">
                  <c:v>2794440.342729439</c:v>
                </c:pt>
                <c:pt idx="120">
                  <c:v>2748525.536749192</c:v>
                </c:pt>
                <c:pt idx="121">
                  <c:v>2622711.4172664704</c:v>
                </c:pt>
                <c:pt idx="122">
                  <c:v>2833785.4006088185</c:v>
                </c:pt>
                <c:pt idx="123">
                  <c:v>2862453.1529848995</c:v>
                </c:pt>
                <c:pt idx="124">
                  <c:v>2680944.3409106997</c:v>
                </c:pt>
                <c:pt idx="125">
                  <c:v>2841961.8115451979</c:v>
                </c:pt>
                <c:pt idx="126">
                  <c:v>2924385.4992065257</c:v>
                </c:pt>
                <c:pt idx="127">
                  <c:v>2804312.802580161</c:v>
                </c:pt>
                <c:pt idx="128">
                  <c:v>2734210.5290316786</c:v>
                </c:pt>
                <c:pt idx="129">
                  <c:v>2768875.9505565367</c:v>
                </c:pt>
                <c:pt idx="130">
                  <c:v>2848829.2457301333</c:v>
                </c:pt>
                <c:pt idx="131">
                  <c:v>2738594.3688156665</c:v>
                </c:pt>
                <c:pt idx="132">
                  <c:v>2862073.8605523389</c:v>
                </c:pt>
                <c:pt idx="133">
                  <c:v>2693666.3293549996</c:v>
                </c:pt>
                <c:pt idx="134">
                  <c:v>2627157.2581824348</c:v>
                </c:pt>
                <c:pt idx="135">
                  <c:v>2789621.3240824537</c:v>
                </c:pt>
                <c:pt idx="136">
                  <c:v>2833443.6626843107</c:v>
                </c:pt>
                <c:pt idx="137">
                  <c:v>2794053.3945606523</c:v>
                </c:pt>
                <c:pt idx="138">
                  <c:v>2729168.6851788438</c:v>
                </c:pt>
                <c:pt idx="139">
                  <c:v>2762760.5817322629</c:v>
                </c:pt>
                <c:pt idx="140">
                  <c:v>2916642.3067601412</c:v>
                </c:pt>
                <c:pt idx="141">
                  <c:v>2640229.2001764812</c:v>
                </c:pt>
                <c:pt idx="142">
                  <c:v>2687368.7379796281</c:v>
                </c:pt>
                <c:pt idx="143">
                  <c:v>2671776.8937710645</c:v>
                </c:pt>
                <c:pt idx="144">
                  <c:v>2759134.512175391</c:v>
                </c:pt>
                <c:pt idx="145">
                  <c:v>2616482.8447991502</c:v>
                </c:pt>
                <c:pt idx="146">
                  <c:v>2888305.0557772173</c:v>
                </c:pt>
                <c:pt idx="147">
                  <c:v>2744205.4166208678</c:v>
                </c:pt>
                <c:pt idx="148">
                  <c:v>2779154.7848203853</c:v>
                </c:pt>
                <c:pt idx="149">
                  <c:v>2762220.8670705515</c:v>
                </c:pt>
                <c:pt idx="150">
                  <c:v>2722675.8394841738</c:v>
                </c:pt>
                <c:pt idx="151">
                  <c:v>2754902.5025387998</c:v>
                </c:pt>
                <c:pt idx="152">
                  <c:v>2728974.7489741989</c:v>
                </c:pt>
                <c:pt idx="153">
                  <c:v>2797892.6500523272</c:v>
                </c:pt>
                <c:pt idx="154">
                  <c:v>2675672.9239451895</c:v>
                </c:pt>
                <c:pt idx="155">
                  <c:v>2842814.2495849505</c:v>
                </c:pt>
                <c:pt idx="156">
                  <c:v>2849222.285966584</c:v>
                </c:pt>
                <c:pt idx="157">
                  <c:v>2941861.8623184981</c:v>
                </c:pt>
                <c:pt idx="158">
                  <c:v>2662647.7873430513</c:v>
                </c:pt>
                <c:pt idx="159">
                  <c:v>2701001.6613560361</c:v>
                </c:pt>
                <c:pt idx="160">
                  <c:v>2908380.8073801929</c:v>
                </c:pt>
                <c:pt idx="161">
                  <c:v>2783083.1575949076</c:v>
                </c:pt>
                <c:pt idx="162">
                  <c:v>2802126.6337639154</c:v>
                </c:pt>
                <c:pt idx="163">
                  <c:v>2778720.0671679131</c:v>
                </c:pt>
                <c:pt idx="164">
                  <c:v>2810033.6252098754</c:v>
                </c:pt>
                <c:pt idx="165">
                  <c:v>2785994.4981864789</c:v>
                </c:pt>
                <c:pt idx="166">
                  <c:v>2757189.2170237373</c:v>
                </c:pt>
                <c:pt idx="167">
                  <c:v>2792884.0266306377</c:v>
                </c:pt>
                <c:pt idx="168">
                  <c:v>2888852.3003009558</c:v>
                </c:pt>
                <c:pt idx="169">
                  <c:v>2746079.6169067095</c:v>
                </c:pt>
                <c:pt idx="170">
                  <c:v>2829117.6964870552</c:v>
                </c:pt>
                <c:pt idx="171">
                  <c:v>2790501.014982204</c:v>
                </c:pt>
                <c:pt idx="172">
                  <c:v>2739055.5415224321</c:v>
                </c:pt>
                <c:pt idx="173">
                  <c:v>2865034.0317850425</c:v>
                </c:pt>
                <c:pt idx="174">
                  <c:v>2997713.9933918733</c:v>
                </c:pt>
                <c:pt idx="175">
                  <c:v>2902598.6537376097</c:v>
                </c:pt>
                <c:pt idx="176">
                  <c:v>2818940.7369961371</c:v>
                </c:pt>
                <c:pt idx="177">
                  <c:v>2753591.1654091915</c:v>
                </c:pt>
                <c:pt idx="178">
                  <c:v>2889330.6110455999</c:v>
                </c:pt>
                <c:pt idx="179">
                  <c:v>2728847.4322926854</c:v>
                </c:pt>
                <c:pt idx="180">
                  <c:v>3001695.3869992583</c:v>
                </c:pt>
                <c:pt idx="181">
                  <c:v>2902001.2374057476</c:v>
                </c:pt>
                <c:pt idx="182">
                  <c:v>2776725.8188480679</c:v>
                </c:pt>
                <c:pt idx="183">
                  <c:v>2810148.2322326656</c:v>
                </c:pt>
                <c:pt idx="184">
                  <c:v>2821534.2818130362</c:v>
                </c:pt>
                <c:pt idx="185">
                  <c:v>2766897.5484881862</c:v>
                </c:pt>
                <c:pt idx="186">
                  <c:v>2759127.5597800636</c:v>
                </c:pt>
                <c:pt idx="187">
                  <c:v>2864750.4207529267</c:v>
                </c:pt>
                <c:pt idx="188">
                  <c:v>2834528.6488188631</c:v>
                </c:pt>
                <c:pt idx="189">
                  <c:v>2737279.8769456502</c:v>
                </c:pt>
                <c:pt idx="190">
                  <c:v>2739781.214569672</c:v>
                </c:pt>
                <c:pt idx="191">
                  <c:v>2695456.4865118433</c:v>
                </c:pt>
                <c:pt idx="192">
                  <c:v>2798211.0956254154</c:v>
                </c:pt>
                <c:pt idx="193">
                  <c:v>2886205.927494613</c:v>
                </c:pt>
                <c:pt idx="194">
                  <c:v>2792277.1590690333</c:v>
                </c:pt>
                <c:pt idx="195">
                  <c:v>2867989.2530727261</c:v>
                </c:pt>
                <c:pt idx="196">
                  <c:v>2690862.7398118954</c:v>
                </c:pt>
                <c:pt idx="197">
                  <c:v>2990819.9367445679</c:v>
                </c:pt>
                <c:pt idx="198">
                  <c:v>2710829.5982507411</c:v>
                </c:pt>
                <c:pt idx="199">
                  <c:v>2643737.2079361887</c:v>
                </c:pt>
                <c:pt idx="200">
                  <c:v>2964194.8957762732</c:v>
                </c:pt>
                <c:pt idx="201">
                  <c:v>2790392.6091802218</c:v>
                </c:pt>
                <c:pt idx="202">
                  <c:v>2805316.1668418813</c:v>
                </c:pt>
                <c:pt idx="203">
                  <c:v>2762838.6852057464</c:v>
                </c:pt>
                <c:pt idx="204">
                  <c:v>2801497.8824455668</c:v>
                </c:pt>
                <c:pt idx="205">
                  <c:v>2770390.0574148442</c:v>
                </c:pt>
                <c:pt idx="206">
                  <c:v>2652326.9842141429</c:v>
                </c:pt>
                <c:pt idx="207">
                  <c:v>2880758.2682365505</c:v>
                </c:pt>
                <c:pt idx="208">
                  <c:v>2948566.7419021642</c:v>
                </c:pt>
                <c:pt idx="209">
                  <c:v>2797271.7835971215</c:v>
                </c:pt>
                <c:pt idx="210">
                  <c:v>2783651.5589512484</c:v>
                </c:pt>
                <c:pt idx="211">
                  <c:v>2758292.1128274393</c:v>
                </c:pt>
                <c:pt idx="212">
                  <c:v>2821557.9112822805</c:v>
                </c:pt>
                <c:pt idx="213">
                  <c:v>2840126.860210692</c:v>
                </c:pt>
                <c:pt idx="214">
                  <c:v>2897698.4303318243</c:v>
                </c:pt>
                <c:pt idx="215">
                  <c:v>2648232.5953869596</c:v>
                </c:pt>
                <c:pt idx="216">
                  <c:v>2800495.6610593144</c:v>
                </c:pt>
                <c:pt idx="217">
                  <c:v>2767292.1987077259</c:v>
                </c:pt>
                <c:pt idx="218">
                  <c:v>2852586.4994663941</c:v>
                </c:pt>
                <c:pt idx="219">
                  <c:v>2900694.51128816</c:v>
                </c:pt>
                <c:pt idx="220">
                  <c:v>2849903.5048713442</c:v>
                </c:pt>
                <c:pt idx="221">
                  <c:v>2796223.4656867934</c:v>
                </c:pt>
                <c:pt idx="222">
                  <c:v>2775774.4455525554</c:v>
                </c:pt>
                <c:pt idx="223">
                  <c:v>2689305.4452889017</c:v>
                </c:pt>
                <c:pt idx="224">
                  <c:v>2832367.3744950765</c:v>
                </c:pt>
                <c:pt idx="225">
                  <c:v>2855948.5964659201</c:v>
                </c:pt>
                <c:pt idx="226">
                  <c:v>2770396.5137738641</c:v>
                </c:pt>
                <c:pt idx="227">
                  <c:v>2847976.6505384608</c:v>
                </c:pt>
                <c:pt idx="228">
                  <c:v>2587627.6341988426</c:v>
                </c:pt>
                <c:pt idx="229">
                  <c:v>2736775.3487122692</c:v>
                </c:pt>
                <c:pt idx="230">
                  <c:v>2814886.0767178182</c:v>
                </c:pt>
                <c:pt idx="231">
                  <c:v>2718243.524306912</c:v>
                </c:pt>
                <c:pt idx="232">
                  <c:v>2852573.7194001121</c:v>
                </c:pt>
                <c:pt idx="233">
                  <c:v>2812461.9665367892</c:v>
                </c:pt>
                <c:pt idx="234">
                  <c:v>2756474.2273415374</c:v>
                </c:pt>
                <c:pt idx="235">
                  <c:v>2787334.0304513359</c:v>
                </c:pt>
                <c:pt idx="236">
                  <c:v>2771217.3729911521</c:v>
                </c:pt>
                <c:pt idx="237">
                  <c:v>2917553.8951194417</c:v>
                </c:pt>
                <c:pt idx="238">
                  <c:v>2700855.3817631076</c:v>
                </c:pt>
                <c:pt idx="239">
                  <c:v>2774228.1024209526</c:v>
                </c:pt>
                <c:pt idx="240">
                  <c:v>2846209.9136584746</c:v>
                </c:pt>
                <c:pt idx="241">
                  <c:v>2813651.9665792077</c:v>
                </c:pt>
                <c:pt idx="242">
                  <c:v>2847756.4350604163</c:v>
                </c:pt>
                <c:pt idx="243">
                  <c:v>2656140.2263455512</c:v>
                </c:pt>
                <c:pt idx="244">
                  <c:v>2849240.2574733319</c:v>
                </c:pt>
                <c:pt idx="245">
                  <c:v>2747618.5638038316</c:v>
                </c:pt>
                <c:pt idx="246">
                  <c:v>2931793.5513595142</c:v>
                </c:pt>
                <c:pt idx="247">
                  <c:v>2726956.804251859</c:v>
                </c:pt>
                <c:pt idx="248">
                  <c:v>2783607.0199179174</c:v>
                </c:pt>
                <c:pt idx="249">
                  <c:v>2833436.6056177146</c:v>
                </c:pt>
                <c:pt idx="250">
                  <c:v>2880193.9271857496</c:v>
                </c:pt>
                <c:pt idx="251">
                  <c:v>2802073.9146146504</c:v>
                </c:pt>
                <c:pt idx="252">
                  <c:v>2907502.6336965794</c:v>
                </c:pt>
                <c:pt idx="253">
                  <c:v>2764600.8404613892</c:v>
                </c:pt>
                <c:pt idx="254">
                  <c:v>2890538.793305242</c:v>
                </c:pt>
                <c:pt idx="255">
                  <c:v>2873056.017348412</c:v>
                </c:pt>
                <c:pt idx="256">
                  <c:v>2879182.1035495126</c:v>
                </c:pt>
                <c:pt idx="257">
                  <c:v>2927831.6597285555</c:v>
                </c:pt>
                <c:pt idx="258">
                  <c:v>2807773.6614146419</c:v>
                </c:pt>
                <c:pt idx="259">
                  <c:v>2805859.0542021431</c:v>
                </c:pt>
                <c:pt idx="260">
                  <c:v>2840153.0947439931</c:v>
                </c:pt>
                <c:pt idx="261">
                  <c:v>2765054.8129011616</c:v>
                </c:pt>
                <c:pt idx="262">
                  <c:v>2897231.0476431735</c:v>
                </c:pt>
                <c:pt idx="263">
                  <c:v>2821450.4284847025</c:v>
                </c:pt>
                <c:pt idx="264">
                  <c:v>2859478.7956799548</c:v>
                </c:pt>
                <c:pt idx="265">
                  <c:v>2849910.7965324298</c:v>
                </c:pt>
                <c:pt idx="266">
                  <c:v>2914123.700373413</c:v>
                </c:pt>
                <c:pt idx="267">
                  <c:v>2886345.6637688475</c:v>
                </c:pt>
                <c:pt idx="268">
                  <c:v>2882309.092615827</c:v>
                </c:pt>
                <c:pt idx="269">
                  <c:v>2862971.1375900172</c:v>
                </c:pt>
                <c:pt idx="270">
                  <c:v>2784962.8411464687</c:v>
                </c:pt>
                <c:pt idx="271">
                  <c:v>2827770.2623839332</c:v>
                </c:pt>
                <c:pt idx="272">
                  <c:v>2787363.1735308706</c:v>
                </c:pt>
                <c:pt idx="273">
                  <c:v>2633774.4707935383</c:v>
                </c:pt>
                <c:pt idx="274">
                  <c:v>2964715.1664465633</c:v>
                </c:pt>
                <c:pt idx="275">
                  <c:v>2914881.3386301496</c:v>
                </c:pt>
                <c:pt idx="276">
                  <c:v>2866577.6894118376</c:v>
                </c:pt>
                <c:pt idx="277">
                  <c:v>2892815.2691962351</c:v>
                </c:pt>
                <c:pt idx="278">
                  <c:v>3007207.6456667548</c:v>
                </c:pt>
                <c:pt idx="279">
                  <c:v>2757460.6643802351</c:v>
                </c:pt>
                <c:pt idx="280">
                  <c:v>2895324.7403367287</c:v>
                </c:pt>
                <c:pt idx="281">
                  <c:v>3052600.0017064889</c:v>
                </c:pt>
                <c:pt idx="282">
                  <c:v>2810687.830645836</c:v>
                </c:pt>
                <c:pt idx="283">
                  <c:v>2642564.1784272278</c:v>
                </c:pt>
                <c:pt idx="284">
                  <c:v>2779687.5360781588</c:v>
                </c:pt>
                <c:pt idx="285">
                  <c:v>2821082.7160875327</c:v>
                </c:pt>
                <c:pt idx="286">
                  <c:v>2985568.4564831881</c:v>
                </c:pt>
                <c:pt idx="287">
                  <c:v>2890899.2224717331</c:v>
                </c:pt>
                <c:pt idx="288">
                  <c:v>2833519.7401965433</c:v>
                </c:pt>
                <c:pt idx="289">
                  <c:v>2710396.3618505918</c:v>
                </c:pt>
                <c:pt idx="290">
                  <c:v>2817339.1746969279</c:v>
                </c:pt>
                <c:pt idx="291">
                  <c:v>2914731.2364989803</c:v>
                </c:pt>
                <c:pt idx="292">
                  <c:v>2848693.9970475701</c:v>
                </c:pt>
                <c:pt idx="293">
                  <c:v>2878599.4578993628</c:v>
                </c:pt>
                <c:pt idx="294">
                  <c:v>2750299.5406464618</c:v>
                </c:pt>
                <c:pt idx="295">
                  <c:v>2897384.1463547046</c:v>
                </c:pt>
                <c:pt idx="296">
                  <c:v>2787101.8381938501</c:v>
                </c:pt>
                <c:pt idx="297">
                  <c:v>2816185.1175264581</c:v>
                </c:pt>
                <c:pt idx="298">
                  <c:v>2905873.0129484446</c:v>
                </c:pt>
                <c:pt idx="299">
                  <c:v>2928052.6339750001</c:v>
                </c:pt>
                <c:pt idx="300">
                  <c:v>2571461.1410444365</c:v>
                </c:pt>
                <c:pt idx="301">
                  <c:v>2841429.4650092628</c:v>
                </c:pt>
                <c:pt idx="302">
                  <c:v>2968612.4561349857</c:v>
                </c:pt>
                <c:pt idx="303">
                  <c:v>2791755.8272104613</c:v>
                </c:pt>
                <c:pt idx="304">
                  <c:v>2865631.2134864135</c:v>
                </c:pt>
                <c:pt idx="305">
                  <c:v>2937024.5910371561</c:v>
                </c:pt>
                <c:pt idx="306">
                  <c:v>2839983.7719599837</c:v>
                </c:pt>
                <c:pt idx="307">
                  <c:v>2708699.9485326163</c:v>
                </c:pt>
                <c:pt idx="308">
                  <c:v>2900759.770652011</c:v>
                </c:pt>
                <c:pt idx="309">
                  <c:v>2822112.6960709384</c:v>
                </c:pt>
                <c:pt idx="310">
                  <c:v>2631407.6310441988</c:v>
                </c:pt>
                <c:pt idx="311">
                  <c:v>2848652.182407022</c:v>
                </c:pt>
                <c:pt idx="312">
                  <c:v>2476040.1775019709</c:v>
                </c:pt>
                <c:pt idx="313">
                  <c:v>2922982.1671964917</c:v>
                </c:pt>
                <c:pt idx="314">
                  <c:v>2838007.0903849555</c:v>
                </c:pt>
                <c:pt idx="315">
                  <c:v>2887757.4942059284</c:v>
                </c:pt>
                <c:pt idx="316">
                  <c:v>2845216.8499052594</c:v>
                </c:pt>
                <c:pt idx="317">
                  <c:v>2964492.0382103492</c:v>
                </c:pt>
                <c:pt idx="318">
                  <c:v>2903701.7834496219</c:v>
                </c:pt>
                <c:pt idx="319">
                  <c:v>2773156.2794258185</c:v>
                </c:pt>
                <c:pt idx="320">
                  <c:v>2899364.7674336098</c:v>
                </c:pt>
                <c:pt idx="321">
                  <c:v>2659615.1176610915</c:v>
                </c:pt>
                <c:pt idx="322">
                  <c:v>2762901.8095927183</c:v>
                </c:pt>
                <c:pt idx="323">
                  <c:v>2879759.3548025745</c:v>
                </c:pt>
                <c:pt idx="324">
                  <c:v>2826432.5714744967</c:v>
                </c:pt>
                <c:pt idx="325">
                  <c:v>2724558.1237442661</c:v>
                </c:pt>
                <c:pt idx="326">
                  <c:v>2893959.2332709101</c:v>
                </c:pt>
                <c:pt idx="327">
                  <c:v>2757107.6511409935</c:v>
                </c:pt>
                <c:pt idx="328">
                  <c:v>2759172.5188249191</c:v>
                </c:pt>
                <c:pt idx="329">
                  <c:v>2878836.4331333651</c:v>
                </c:pt>
                <c:pt idx="330">
                  <c:v>2995701.9273709287</c:v>
                </c:pt>
                <c:pt idx="331">
                  <c:v>2851355.4421286224</c:v>
                </c:pt>
                <c:pt idx="332">
                  <c:v>2850723.9258905491</c:v>
                </c:pt>
                <c:pt idx="333">
                  <c:v>2920107.2478570668</c:v>
                </c:pt>
                <c:pt idx="334">
                  <c:v>2706940.4117766609</c:v>
                </c:pt>
                <c:pt idx="335">
                  <c:v>2879451.1810712921</c:v>
                </c:pt>
                <c:pt idx="336">
                  <c:v>2868795.9245343171</c:v>
                </c:pt>
                <c:pt idx="337">
                  <c:v>2749424.6760465256</c:v>
                </c:pt>
                <c:pt idx="338">
                  <c:v>2804781.7301254305</c:v>
                </c:pt>
                <c:pt idx="339">
                  <c:v>2833868.2910708506</c:v>
                </c:pt>
                <c:pt idx="340">
                  <c:v>2951753.4585074671</c:v>
                </c:pt>
                <c:pt idx="341">
                  <c:v>2832584.3624356892</c:v>
                </c:pt>
                <c:pt idx="342">
                  <c:v>2840308.5607696231</c:v>
                </c:pt>
                <c:pt idx="343">
                  <c:v>2808717.634475484</c:v>
                </c:pt>
                <c:pt idx="344">
                  <c:v>2924497.0592075004</c:v>
                </c:pt>
                <c:pt idx="345">
                  <c:v>2698605.9130425672</c:v>
                </c:pt>
                <c:pt idx="346">
                  <c:v>2744610.1202610792</c:v>
                </c:pt>
                <c:pt idx="347">
                  <c:v>2873624.8583463775</c:v>
                </c:pt>
                <c:pt idx="348">
                  <c:v>2884238.0457194387</c:v>
                </c:pt>
                <c:pt idx="349">
                  <c:v>2757960.4015794252</c:v>
                </c:pt>
                <c:pt idx="350">
                  <c:v>2698730.9596627969</c:v>
                </c:pt>
                <c:pt idx="351">
                  <c:v>2785816.5722313547</c:v>
                </c:pt>
                <c:pt idx="352">
                  <c:v>2507048.5699046454</c:v>
                </c:pt>
                <c:pt idx="353">
                  <c:v>2829820.114951591</c:v>
                </c:pt>
                <c:pt idx="354">
                  <c:v>2993336.2352781571</c:v>
                </c:pt>
                <c:pt idx="355">
                  <c:v>2724766.799370476</c:v>
                </c:pt>
                <c:pt idx="356">
                  <c:v>2887959.0257934351</c:v>
                </c:pt>
                <c:pt idx="357">
                  <c:v>2857575.6289336104</c:v>
                </c:pt>
                <c:pt idx="358">
                  <c:v>2868878.514628299</c:v>
                </c:pt>
                <c:pt idx="359">
                  <c:v>2910045.6421623179</c:v>
                </c:pt>
                <c:pt idx="360">
                  <c:v>2620428.3539683111</c:v>
                </c:pt>
                <c:pt idx="361">
                  <c:v>2727865.6595941866</c:v>
                </c:pt>
                <c:pt idx="362">
                  <c:v>2944199.4065666096</c:v>
                </c:pt>
                <c:pt idx="363">
                  <c:v>2853852.9000946251</c:v>
                </c:pt>
                <c:pt idx="364">
                  <c:v>2980637.114910088</c:v>
                </c:pt>
                <c:pt idx="365">
                  <c:v>2817821.0555223031</c:v>
                </c:pt>
                <c:pt idx="366">
                  <c:v>2812787.1468313569</c:v>
                </c:pt>
                <c:pt idx="367">
                  <c:v>2902802.6917811157</c:v>
                </c:pt>
                <c:pt idx="368">
                  <c:v>2735742.657555141</c:v>
                </c:pt>
                <c:pt idx="369">
                  <c:v>2766157.0275634434</c:v>
                </c:pt>
                <c:pt idx="370">
                  <c:v>2679862.8013914931</c:v>
                </c:pt>
                <c:pt idx="371">
                  <c:v>3049917.5078655994</c:v>
                </c:pt>
                <c:pt idx="372">
                  <c:v>2875411.7345271558</c:v>
                </c:pt>
                <c:pt idx="373">
                  <c:v>2832081.4944615909</c:v>
                </c:pt>
                <c:pt idx="374">
                  <c:v>2801635.7688481142</c:v>
                </c:pt>
                <c:pt idx="375">
                  <c:v>2879612.267376082</c:v>
                </c:pt>
                <c:pt idx="376">
                  <c:v>2834346.738058432</c:v>
                </c:pt>
                <c:pt idx="377">
                  <c:v>2805241.088086593</c:v>
                </c:pt>
                <c:pt idx="378">
                  <c:v>2872273.0728576598</c:v>
                </c:pt>
                <c:pt idx="379">
                  <c:v>2865887.1431195652</c:v>
                </c:pt>
                <c:pt idx="380">
                  <c:v>2978926.6021646513</c:v>
                </c:pt>
                <c:pt idx="381">
                  <c:v>2886163.5789908282</c:v>
                </c:pt>
                <c:pt idx="382">
                  <c:v>2810850.7458399939</c:v>
                </c:pt>
                <c:pt idx="383">
                  <c:v>2810842.8754025088</c:v>
                </c:pt>
                <c:pt idx="384">
                  <c:v>2921607.493999776</c:v>
                </c:pt>
                <c:pt idx="385">
                  <c:v>2689877.2571349461</c:v>
                </c:pt>
                <c:pt idx="386">
                  <c:v>2761092.6551039377</c:v>
                </c:pt>
                <c:pt idx="387">
                  <c:v>2913546.3497019601</c:v>
                </c:pt>
                <c:pt idx="388">
                  <c:v>2860601.0801266474</c:v>
                </c:pt>
                <c:pt idx="389">
                  <c:v>2929618.2001819289</c:v>
                </c:pt>
                <c:pt idx="390">
                  <c:v>2734804.6787031977</c:v>
                </c:pt>
                <c:pt idx="391">
                  <c:v>2843262.4096472487</c:v>
                </c:pt>
                <c:pt idx="392">
                  <c:v>2902685.0022185971</c:v>
                </c:pt>
                <c:pt idx="393">
                  <c:v>2874923.9634539648</c:v>
                </c:pt>
                <c:pt idx="394">
                  <c:v>2798893.3743971013</c:v>
                </c:pt>
                <c:pt idx="395">
                  <c:v>2709330.8040891262</c:v>
                </c:pt>
                <c:pt idx="396">
                  <c:v>2892331.7093914356</c:v>
                </c:pt>
                <c:pt idx="397">
                  <c:v>2838600.9141573943</c:v>
                </c:pt>
                <c:pt idx="398">
                  <c:v>2695308.3164061154</c:v>
                </c:pt>
                <c:pt idx="399">
                  <c:v>2860814.7441491499</c:v>
                </c:pt>
                <c:pt idx="400">
                  <c:v>2764686.5750242188</c:v>
                </c:pt>
                <c:pt idx="401">
                  <c:v>2713886.963359551</c:v>
                </c:pt>
                <c:pt idx="402">
                  <c:v>2787359.246800785</c:v>
                </c:pt>
                <c:pt idx="403">
                  <c:v>2791899.0546030216</c:v>
                </c:pt>
                <c:pt idx="404">
                  <c:v>2758355.5744752889</c:v>
                </c:pt>
                <c:pt idx="405">
                  <c:v>3067241.9714739588</c:v>
                </c:pt>
                <c:pt idx="406">
                  <c:v>2683150.4820849374</c:v>
                </c:pt>
                <c:pt idx="407">
                  <c:v>3076531.2329151351</c:v>
                </c:pt>
                <c:pt idx="408">
                  <c:v>2540044.6048427676</c:v>
                </c:pt>
                <c:pt idx="409">
                  <c:v>2674501.8800302483</c:v>
                </c:pt>
                <c:pt idx="410">
                  <c:v>2765965.1509837843</c:v>
                </c:pt>
                <c:pt idx="411">
                  <c:v>2731408.6561388862</c:v>
                </c:pt>
                <c:pt idx="412">
                  <c:v>2782196.0680259466</c:v>
                </c:pt>
                <c:pt idx="413">
                  <c:v>2794299.6411260003</c:v>
                </c:pt>
                <c:pt idx="414">
                  <c:v>2811822.8003641204</c:v>
                </c:pt>
                <c:pt idx="415">
                  <c:v>2899785.9112358941</c:v>
                </c:pt>
                <c:pt idx="416">
                  <c:v>2899848.2420480032</c:v>
                </c:pt>
                <c:pt idx="417">
                  <c:v>3006673.1493716463</c:v>
                </c:pt>
                <c:pt idx="418">
                  <c:v>2898595.8181800433</c:v>
                </c:pt>
                <c:pt idx="419">
                  <c:v>2919947.9143355857</c:v>
                </c:pt>
                <c:pt idx="420">
                  <c:v>2813435.9713244084</c:v>
                </c:pt>
                <c:pt idx="421">
                  <c:v>3072804.3505595</c:v>
                </c:pt>
                <c:pt idx="422">
                  <c:v>2848559.1729707094</c:v>
                </c:pt>
                <c:pt idx="423">
                  <c:v>2749266.8585279603</c:v>
                </c:pt>
                <c:pt idx="424">
                  <c:v>2677639.8073341381</c:v>
                </c:pt>
                <c:pt idx="425">
                  <c:v>2925519.9820496766</c:v>
                </c:pt>
                <c:pt idx="426">
                  <c:v>2984134.9474754753</c:v>
                </c:pt>
                <c:pt idx="427">
                  <c:v>2923814.0881141778</c:v>
                </c:pt>
                <c:pt idx="428">
                  <c:v>2732369.0489153438</c:v>
                </c:pt>
                <c:pt idx="429">
                  <c:v>2947232.5941685881</c:v>
                </c:pt>
                <c:pt idx="430">
                  <c:v>2945404.5299885804</c:v>
                </c:pt>
                <c:pt idx="431">
                  <c:v>2870392.8228759682</c:v>
                </c:pt>
                <c:pt idx="432">
                  <c:v>2780931.1353737353</c:v>
                </c:pt>
                <c:pt idx="433">
                  <c:v>3105217.127397229</c:v>
                </c:pt>
                <c:pt idx="434">
                  <c:v>2899533.1200350872</c:v>
                </c:pt>
                <c:pt idx="435">
                  <c:v>2922480.8231352796</c:v>
                </c:pt>
                <c:pt idx="436">
                  <c:v>2869806.9971109983</c:v>
                </c:pt>
                <c:pt idx="437">
                  <c:v>2812961.7162428619</c:v>
                </c:pt>
                <c:pt idx="438">
                  <c:v>2885725.1536546564</c:v>
                </c:pt>
                <c:pt idx="439">
                  <c:v>2829152.2562305117</c:v>
                </c:pt>
                <c:pt idx="440">
                  <c:v>2844839.2575217318</c:v>
                </c:pt>
                <c:pt idx="441">
                  <c:v>2879487.5598842008</c:v>
                </c:pt>
                <c:pt idx="442">
                  <c:v>2904894.6244151308</c:v>
                </c:pt>
                <c:pt idx="443">
                  <c:v>2810307.6328069414</c:v>
                </c:pt>
                <c:pt idx="444">
                  <c:v>2922667.2397152972</c:v>
                </c:pt>
                <c:pt idx="445">
                  <c:v>2896872.1621799655</c:v>
                </c:pt>
                <c:pt idx="446">
                  <c:v>2855996.462088176</c:v>
                </c:pt>
                <c:pt idx="447">
                  <c:v>2769821.7837706725</c:v>
                </c:pt>
                <c:pt idx="448">
                  <c:v>2899484.9039700618</c:v>
                </c:pt>
                <c:pt idx="449">
                  <c:v>2791230.7445224975</c:v>
                </c:pt>
                <c:pt idx="450">
                  <c:v>2859975.3018230963</c:v>
                </c:pt>
                <c:pt idx="451">
                  <c:v>2904064.1553656626</c:v>
                </c:pt>
                <c:pt idx="452">
                  <c:v>2802366.0831643394</c:v>
                </c:pt>
                <c:pt idx="453">
                  <c:v>2708298.0862037791</c:v>
                </c:pt>
                <c:pt idx="454">
                  <c:v>2959370.1004317454</c:v>
                </c:pt>
                <c:pt idx="455">
                  <c:v>2761651.2984228567</c:v>
                </c:pt>
                <c:pt idx="456">
                  <c:v>2861919.8905181033</c:v>
                </c:pt>
                <c:pt idx="457">
                  <c:v>2763336.2813478056</c:v>
                </c:pt>
                <c:pt idx="458">
                  <c:v>2815767.7500544754</c:v>
                </c:pt>
                <c:pt idx="459">
                  <c:v>2829304.8420096929</c:v>
                </c:pt>
                <c:pt idx="460">
                  <c:v>2901873.4607570465</c:v>
                </c:pt>
                <c:pt idx="461">
                  <c:v>2868393.8672798504</c:v>
                </c:pt>
                <c:pt idx="462">
                  <c:v>2827874.9185994961</c:v>
                </c:pt>
                <c:pt idx="463">
                  <c:v>2955576.2629757691</c:v>
                </c:pt>
                <c:pt idx="464">
                  <c:v>2710295.4794000341</c:v>
                </c:pt>
                <c:pt idx="465">
                  <c:v>3317762.4665264133</c:v>
                </c:pt>
                <c:pt idx="466">
                  <c:v>2789981.3999798992</c:v>
                </c:pt>
                <c:pt idx="467">
                  <c:v>2973177.9797549173</c:v>
                </c:pt>
                <c:pt idx="468">
                  <c:v>2868365.6335896361</c:v>
                </c:pt>
                <c:pt idx="469">
                  <c:v>2963822.4778399509</c:v>
                </c:pt>
                <c:pt idx="470">
                  <c:v>2803562.8592097815</c:v>
                </c:pt>
                <c:pt idx="471">
                  <c:v>2812228.6533975787</c:v>
                </c:pt>
                <c:pt idx="472">
                  <c:v>2841614.4538392909</c:v>
                </c:pt>
                <c:pt idx="473">
                  <c:v>2767255.5517661627</c:v>
                </c:pt>
                <c:pt idx="474">
                  <c:v>2784521.8362556431</c:v>
                </c:pt>
                <c:pt idx="475">
                  <c:v>3019266.2957168585</c:v>
                </c:pt>
                <c:pt idx="476">
                  <c:v>2824775.2567125056</c:v>
                </c:pt>
                <c:pt idx="477">
                  <c:v>2813163.2423969363</c:v>
                </c:pt>
                <c:pt idx="478">
                  <c:v>2480775.5840497953</c:v>
                </c:pt>
                <c:pt idx="479">
                  <c:v>2950576.2664169916</c:v>
                </c:pt>
                <c:pt idx="480">
                  <c:v>2876792.9862429714</c:v>
                </c:pt>
                <c:pt idx="481">
                  <c:v>2849532.824478576</c:v>
                </c:pt>
                <c:pt idx="482">
                  <c:v>2814306.7015110557</c:v>
                </c:pt>
                <c:pt idx="483">
                  <c:v>2986652.7999148951</c:v>
                </c:pt>
                <c:pt idx="484">
                  <c:v>2818024.5706713432</c:v>
                </c:pt>
                <c:pt idx="485">
                  <c:v>2959715.2888629576</c:v>
                </c:pt>
                <c:pt idx="486">
                  <c:v>2789446.7169240797</c:v>
                </c:pt>
                <c:pt idx="487">
                  <c:v>2871727.7829289264</c:v>
                </c:pt>
                <c:pt idx="488">
                  <c:v>2824852.4205562267</c:v>
                </c:pt>
                <c:pt idx="489">
                  <c:v>2443560.8582864832</c:v>
                </c:pt>
                <c:pt idx="490">
                  <c:v>2889619.3108866992</c:v>
                </c:pt>
                <c:pt idx="491">
                  <c:v>2978668.117100623</c:v>
                </c:pt>
                <c:pt idx="492">
                  <c:v>2817090.4099795641</c:v>
                </c:pt>
                <c:pt idx="493">
                  <c:v>2802397.534876395</c:v>
                </c:pt>
                <c:pt idx="494">
                  <c:v>2814725.4527287064</c:v>
                </c:pt>
                <c:pt idx="495">
                  <c:v>2744337.4618683862</c:v>
                </c:pt>
                <c:pt idx="496">
                  <c:v>2837084.5514942952</c:v>
                </c:pt>
                <c:pt idx="497">
                  <c:v>2979834.191561271</c:v>
                </c:pt>
                <c:pt idx="498">
                  <c:v>2878179.1617111564</c:v>
                </c:pt>
                <c:pt idx="499">
                  <c:v>2960299.6564497692</c:v>
                </c:pt>
                <c:pt idx="500">
                  <c:v>2873594.906870686</c:v>
                </c:pt>
                <c:pt idx="501">
                  <c:v>2962487.6681620483</c:v>
                </c:pt>
                <c:pt idx="502">
                  <c:v>2931895.0883723772</c:v>
                </c:pt>
                <c:pt idx="503">
                  <c:v>2816776.3729030187</c:v>
                </c:pt>
                <c:pt idx="504">
                  <c:v>2992451.2178969942</c:v>
                </c:pt>
                <c:pt idx="505">
                  <c:v>2213212.9545665337</c:v>
                </c:pt>
                <c:pt idx="506">
                  <c:v>2381690.4865693469</c:v>
                </c:pt>
                <c:pt idx="507">
                  <c:v>2811773.7792772315</c:v>
                </c:pt>
                <c:pt idx="508">
                  <c:v>2883979.1045244448</c:v>
                </c:pt>
                <c:pt idx="509">
                  <c:v>2838083.8301474759</c:v>
                </c:pt>
                <c:pt idx="510">
                  <c:v>2834447.8481503208</c:v>
                </c:pt>
                <c:pt idx="511">
                  <c:v>2812361.4520858503</c:v>
                </c:pt>
                <c:pt idx="512">
                  <c:v>2919439.8015337177</c:v>
                </c:pt>
                <c:pt idx="513">
                  <c:v>2886772.0446286872</c:v>
                </c:pt>
                <c:pt idx="514">
                  <c:v>2822610.7752139615</c:v>
                </c:pt>
                <c:pt idx="515">
                  <c:v>2796651.3319093422</c:v>
                </c:pt>
                <c:pt idx="516">
                  <c:v>2735018.2486576736</c:v>
                </c:pt>
                <c:pt idx="517">
                  <c:v>2901780.5115959337</c:v>
                </c:pt>
                <c:pt idx="518">
                  <c:v>2990970.6409702236</c:v>
                </c:pt>
                <c:pt idx="519">
                  <c:v>2693142.9938267143</c:v>
                </c:pt>
                <c:pt idx="520">
                  <c:v>2839441.8413368994</c:v>
                </c:pt>
                <c:pt idx="521">
                  <c:v>2949981.404872681</c:v>
                </c:pt>
                <c:pt idx="522">
                  <c:v>2884361.2543979124</c:v>
                </c:pt>
                <c:pt idx="523">
                  <c:v>2874543.6298509976</c:v>
                </c:pt>
                <c:pt idx="524">
                  <c:v>2964501.1012612986</c:v>
                </c:pt>
                <c:pt idx="525">
                  <c:v>2631192.4345305166</c:v>
                </c:pt>
                <c:pt idx="526">
                  <c:v>2768159.9103164445</c:v>
                </c:pt>
                <c:pt idx="527">
                  <c:v>2795301.4696214786</c:v>
                </c:pt>
                <c:pt idx="528">
                  <c:v>2741387.7820842518</c:v>
                </c:pt>
                <c:pt idx="529">
                  <c:v>2832980.3309571287</c:v>
                </c:pt>
                <c:pt idx="530">
                  <c:v>2888909.7104822844</c:v>
                </c:pt>
                <c:pt idx="531">
                  <c:v>2839089.684516001</c:v>
                </c:pt>
                <c:pt idx="532">
                  <c:v>2784308.394002235</c:v>
                </c:pt>
                <c:pt idx="533">
                  <c:v>2572190.5870531281</c:v>
                </c:pt>
                <c:pt idx="534">
                  <c:v>2885580.5778278229</c:v>
                </c:pt>
                <c:pt idx="535">
                  <c:v>2771949.0318700611</c:v>
                </c:pt>
                <c:pt idx="536">
                  <c:v>2884970.4153338289</c:v>
                </c:pt>
                <c:pt idx="537">
                  <c:v>2823016.6448526424</c:v>
                </c:pt>
                <c:pt idx="538">
                  <c:v>2678640.8196976646</c:v>
                </c:pt>
                <c:pt idx="539">
                  <c:v>2851112.4332073303</c:v>
                </c:pt>
                <c:pt idx="540">
                  <c:v>2882916.6169848004</c:v>
                </c:pt>
                <c:pt idx="541">
                  <c:v>2710825.336422855</c:v>
                </c:pt>
                <c:pt idx="542">
                  <c:v>2597702.8315868666</c:v>
                </c:pt>
                <c:pt idx="543">
                  <c:v>2674030.9280716013</c:v>
                </c:pt>
                <c:pt idx="544">
                  <c:v>2825410.4020734322</c:v>
                </c:pt>
                <c:pt idx="545">
                  <c:v>2763230.5590601326</c:v>
                </c:pt>
                <c:pt idx="546">
                  <c:v>2792319.468332205</c:v>
                </c:pt>
                <c:pt idx="547">
                  <c:v>2913052.6695473241</c:v>
                </c:pt>
                <c:pt idx="548">
                  <c:v>2858777.0643778415</c:v>
                </c:pt>
                <c:pt idx="549">
                  <c:v>2792210.992599457</c:v>
                </c:pt>
                <c:pt idx="550">
                  <c:v>2764535.4462532774</c:v>
                </c:pt>
                <c:pt idx="551">
                  <c:v>2798068.6613749103</c:v>
                </c:pt>
                <c:pt idx="552">
                  <c:v>2909739.6986100576</c:v>
                </c:pt>
                <c:pt idx="553">
                  <c:v>2886519.0951213427</c:v>
                </c:pt>
                <c:pt idx="554">
                  <c:v>2845933.1494379179</c:v>
                </c:pt>
                <c:pt idx="555">
                  <c:v>2882320.2227863423</c:v>
                </c:pt>
                <c:pt idx="556">
                  <c:v>2847619.6139849573</c:v>
                </c:pt>
                <c:pt idx="557">
                  <c:v>3016953.565199065</c:v>
                </c:pt>
                <c:pt idx="558">
                  <c:v>2782739.7397348154</c:v>
                </c:pt>
                <c:pt idx="559">
                  <c:v>2782967.6888989625</c:v>
                </c:pt>
                <c:pt idx="560">
                  <c:v>2893576.3604879221</c:v>
                </c:pt>
                <c:pt idx="561">
                  <c:v>2785830.3851195108</c:v>
                </c:pt>
                <c:pt idx="562">
                  <c:v>2819967.8114044564</c:v>
                </c:pt>
                <c:pt idx="563">
                  <c:v>2757905.286499965</c:v>
                </c:pt>
                <c:pt idx="564">
                  <c:v>2617037.8289409024</c:v>
                </c:pt>
                <c:pt idx="565">
                  <c:v>2901975.992183255</c:v>
                </c:pt>
                <c:pt idx="566">
                  <c:v>2919989.8200651058</c:v>
                </c:pt>
                <c:pt idx="567">
                  <c:v>2785061.4545168364</c:v>
                </c:pt>
                <c:pt idx="568">
                  <c:v>2842324.0844652038</c:v>
                </c:pt>
                <c:pt idx="569">
                  <c:v>2857048.2647016756</c:v>
                </c:pt>
                <c:pt idx="570">
                  <c:v>2654483.4142392008</c:v>
                </c:pt>
                <c:pt idx="571">
                  <c:v>2928190.6526060919</c:v>
                </c:pt>
                <c:pt idx="572">
                  <c:v>2971202.4814079441</c:v>
                </c:pt>
                <c:pt idx="573">
                  <c:v>2881188.0247826432</c:v>
                </c:pt>
                <c:pt idx="574">
                  <c:v>2849932.4891679948</c:v>
                </c:pt>
                <c:pt idx="575">
                  <c:v>2730670.2725928319</c:v>
                </c:pt>
                <c:pt idx="576">
                  <c:v>2986786.9200184611</c:v>
                </c:pt>
                <c:pt idx="577">
                  <c:v>2766902.843968132</c:v>
                </c:pt>
                <c:pt idx="578">
                  <c:v>2892254.1384867318</c:v>
                </c:pt>
                <c:pt idx="579">
                  <c:v>2791779.4935607929</c:v>
                </c:pt>
                <c:pt idx="580">
                  <c:v>2811921.2541763755</c:v>
                </c:pt>
                <c:pt idx="581">
                  <c:v>2886055.8722281731</c:v>
                </c:pt>
                <c:pt idx="582">
                  <c:v>2874116.2342610001</c:v>
                </c:pt>
                <c:pt idx="583">
                  <c:v>2887387.7690538326</c:v>
                </c:pt>
                <c:pt idx="584">
                  <c:v>2754476.1766932383</c:v>
                </c:pt>
                <c:pt idx="585">
                  <c:v>2897201.6245256294</c:v>
                </c:pt>
                <c:pt idx="586">
                  <c:v>2802771.9974458166</c:v>
                </c:pt>
                <c:pt idx="587">
                  <c:v>2842989.7723260205</c:v>
                </c:pt>
                <c:pt idx="588">
                  <c:v>2817638.6991383606</c:v>
                </c:pt>
                <c:pt idx="589">
                  <c:v>2798576.9103235393</c:v>
                </c:pt>
                <c:pt idx="590">
                  <c:v>2830405.7169257728</c:v>
                </c:pt>
                <c:pt idx="591">
                  <c:v>2767619.6075301347</c:v>
                </c:pt>
                <c:pt idx="592">
                  <c:v>3026567.9045584039</c:v>
                </c:pt>
                <c:pt idx="593">
                  <c:v>3003535.8449193756</c:v>
                </c:pt>
                <c:pt idx="594">
                  <c:v>3082562.4021563288</c:v>
                </c:pt>
                <c:pt idx="595">
                  <c:v>3018826.4073902722</c:v>
                </c:pt>
                <c:pt idx="596">
                  <c:v>2998993.3478230285</c:v>
                </c:pt>
                <c:pt idx="597">
                  <c:v>2743632.9601441543</c:v>
                </c:pt>
                <c:pt idx="598">
                  <c:v>2833924.1048613084</c:v>
                </c:pt>
                <c:pt idx="599">
                  <c:v>2854166.050654016</c:v>
                </c:pt>
                <c:pt idx="600">
                  <c:v>2844343.2113317726</c:v>
                </c:pt>
                <c:pt idx="601">
                  <c:v>2873447.2150693987</c:v>
                </c:pt>
                <c:pt idx="602">
                  <c:v>2933166.9750950509</c:v>
                </c:pt>
                <c:pt idx="603">
                  <c:v>2945457.0294372872</c:v>
                </c:pt>
                <c:pt idx="604">
                  <c:v>2960260.3770352062</c:v>
                </c:pt>
                <c:pt idx="605">
                  <c:v>2948373.2994457036</c:v>
                </c:pt>
                <c:pt idx="606">
                  <c:v>2944873.9575439286</c:v>
                </c:pt>
                <c:pt idx="607">
                  <c:v>3003733.1212244616</c:v>
                </c:pt>
                <c:pt idx="608">
                  <c:v>2880751.9675845327</c:v>
                </c:pt>
                <c:pt idx="609">
                  <c:v>2897935.8877301388</c:v>
                </c:pt>
                <c:pt idx="610">
                  <c:v>2848284.9757145015</c:v>
                </c:pt>
                <c:pt idx="611">
                  <c:v>2882980.7583235847</c:v>
                </c:pt>
                <c:pt idx="612">
                  <c:v>2738730.0041619418</c:v>
                </c:pt>
                <c:pt idx="613">
                  <c:v>2969935.6243656022</c:v>
                </c:pt>
                <c:pt idx="614">
                  <c:v>2909528.9470174843</c:v>
                </c:pt>
                <c:pt idx="615">
                  <c:v>2844292.4634025414</c:v>
                </c:pt>
                <c:pt idx="616">
                  <c:v>2971767.1229409347</c:v>
                </c:pt>
                <c:pt idx="617">
                  <c:v>2992872.953996616</c:v>
                </c:pt>
                <c:pt idx="618">
                  <c:v>2794228.1846262207</c:v>
                </c:pt>
                <c:pt idx="619">
                  <c:v>2856299.0151514802</c:v>
                </c:pt>
                <c:pt idx="620">
                  <c:v>2836672.5582807306</c:v>
                </c:pt>
                <c:pt idx="621">
                  <c:v>3019225.3847934641</c:v>
                </c:pt>
                <c:pt idx="622">
                  <c:v>2881126.1508031185</c:v>
                </c:pt>
                <c:pt idx="623">
                  <c:v>2851484.2412140192</c:v>
                </c:pt>
                <c:pt idx="624">
                  <c:v>2773510.3433197965</c:v>
                </c:pt>
                <c:pt idx="625">
                  <c:v>2829146.8166259634</c:v>
                </c:pt>
                <c:pt idx="626">
                  <c:v>2846170.631151712</c:v>
                </c:pt>
                <c:pt idx="627">
                  <c:v>2809053.7665375243</c:v>
                </c:pt>
                <c:pt idx="628">
                  <c:v>2470940.2697095536</c:v>
                </c:pt>
                <c:pt idx="629">
                  <c:v>3036985.7248869929</c:v>
                </c:pt>
                <c:pt idx="630">
                  <c:v>2861557.0415526344</c:v>
                </c:pt>
                <c:pt idx="631">
                  <c:v>2880150.0342114535</c:v>
                </c:pt>
                <c:pt idx="632">
                  <c:v>2807526.0538559994</c:v>
                </c:pt>
                <c:pt idx="633">
                  <c:v>2743103.1543116048</c:v>
                </c:pt>
                <c:pt idx="634">
                  <c:v>2905355.5263567762</c:v>
                </c:pt>
                <c:pt idx="635">
                  <c:v>2838186.4995976151</c:v>
                </c:pt>
                <c:pt idx="636">
                  <c:v>2844396.605535944</c:v>
                </c:pt>
                <c:pt idx="637">
                  <c:v>2812236.3056784691</c:v>
                </c:pt>
                <c:pt idx="638">
                  <c:v>2863156.7488121274</c:v>
                </c:pt>
                <c:pt idx="639">
                  <c:v>2931627.8423204985</c:v>
                </c:pt>
                <c:pt idx="640">
                  <c:v>2795135.5434197262</c:v>
                </c:pt>
                <c:pt idx="641">
                  <c:v>2819811.782244374</c:v>
                </c:pt>
                <c:pt idx="642">
                  <c:v>2606784.5235334844</c:v>
                </c:pt>
                <c:pt idx="643">
                  <c:v>2927612.7112091649</c:v>
                </c:pt>
                <c:pt idx="644">
                  <c:v>2793473.3056663992</c:v>
                </c:pt>
                <c:pt idx="645">
                  <c:v>2863391.2592280945</c:v>
                </c:pt>
                <c:pt idx="646">
                  <c:v>2811200.2490227418</c:v>
                </c:pt>
                <c:pt idx="647">
                  <c:v>3003924.0818656366</c:v>
                </c:pt>
                <c:pt idx="648">
                  <c:v>2701834.8790965043</c:v>
                </c:pt>
                <c:pt idx="649">
                  <c:v>2748229.4995408319</c:v>
                </c:pt>
                <c:pt idx="650">
                  <c:v>2845395.5394031405</c:v>
                </c:pt>
                <c:pt idx="651">
                  <c:v>2774025.2222159752</c:v>
                </c:pt>
                <c:pt idx="652">
                  <c:v>2979891.176985519</c:v>
                </c:pt>
                <c:pt idx="653">
                  <c:v>2991233.2328500301</c:v>
                </c:pt>
                <c:pt idx="654">
                  <c:v>2748982.9247856033</c:v>
                </c:pt>
                <c:pt idx="655">
                  <c:v>2798283.6978139402</c:v>
                </c:pt>
                <c:pt idx="656">
                  <c:v>2803335.1614228077</c:v>
                </c:pt>
                <c:pt idx="657">
                  <c:v>2981510.2638117615</c:v>
                </c:pt>
                <c:pt idx="658">
                  <c:v>2930729.6601539394</c:v>
                </c:pt>
                <c:pt idx="659">
                  <c:v>2967799.7298019673</c:v>
                </c:pt>
                <c:pt idx="660">
                  <c:v>2822134.5731361108</c:v>
                </c:pt>
                <c:pt idx="661">
                  <c:v>2844160.8057274781</c:v>
                </c:pt>
                <c:pt idx="662">
                  <c:v>2810071.3872090271</c:v>
                </c:pt>
                <c:pt idx="663">
                  <c:v>2666972.2451071888</c:v>
                </c:pt>
                <c:pt idx="664">
                  <c:v>2714211.8432730334</c:v>
                </c:pt>
                <c:pt idx="665">
                  <c:v>2837216.2377264253</c:v>
                </c:pt>
                <c:pt idx="666">
                  <c:v>2850444.9066951191</c:v>
                </c:pt>
                <c:pt idx="667">
                  <c:v>2773661.2568887263</c:v>
                </c:pt>
                <c:pt idx="668">
                  <c:v>2778362.3797606342</c:v>
                </c:pt>
                <c:pt idx="669">
                  <c:v>2850961.7899075625</c:v>
                </c:pt>
                <c:pt idx="670">
                  <c:v>2887129.6651192191</c:v>
                </c:pt>
                <c:pt idx="671">
                  <c:v>2952843.8880690723</c:v>
                </c:pt>
                <c:pt idx="672">
                  <c:v>2961895.4367113281</c:v>
                </c:pt>
                <c:pt idx="673">
                  <c:v>2868118.4790812046</c:v>
                </c:pt>
                <c:pt idx="674">
                  <c:v>2918529.8217576547</c:v>
                </c:pt>
                <c:pt idx="675">
                  <c:v>2929193.4414725136</c:v>
                </c:pt>
                <c:pt idx="676">
                  <c:v>3021925.6395425703</c:v>
                </c:pt>
                <c:pt idx="677">
                  <c:v>2741127.9367675101</c:v>
                </c:pt>
                <c:pt idx="678">
                  <c:v>2772394.2595840143</c:v>
                </c:pt>
                <c:pt idx="679">
                  <c:v>2845528.2090943349</c:v>
                </c:pt>
                <c:pt idx="680">
                  <c:v>2868149.7858371614</c:v>
                </c:pt>
                <c:pt idx="681">
                  <c:v>2880606.5497652148</c:v>
                </c:pt>
                <c:pt idx="682">
                  <c:v>2846126.4974746695</c:v>
                </c:pt>
                <c:pt idx="683">
                  <c:v>2787065.1050529792</c:v>
                </c:pt>
                <c:pt idx="684">
                  <c:v>2936205.8324375721</c:v>
                </c:pt>
                <c:pt idx="685">
                  <c:v>2888063.6701862444</c:v>
                </c:pt>
                <c:pt idx="686">
                  <c:v>2923247.6235782858</c:v>
                </c:pt>
                <c:pt idx="687">
                  <c:v>2850550.9951425889</c:v>
                </c:pt>
                <c:pt idx="688">
                  <c:v>2892817.6903943322</c:v>
                </c:pt>
                <c:pt idx="689">
                  <c:v>2932022.5905838134</c:v>
                </c:pt>
                <c:pt idx="690">
                  <c:v>2822016.4874223256</c:v>
                </c:pt>
                <c:pt idx="691">
                  <c:v>2796370.9129748172</c:v>
                </c:pt>
                <c:pt idx="692">
                  <c:v>2891007.3379915152</c:v>
                </c:pt>
                <c:pt idx="693">
                  <c:v>3004107.3474040478</c:v>
                </c:pt>
                <c:pt idx="694">
                  <c:v>2835608.3187984261</c:v>
                </c:pt>
                <c:pt idx="695">
                  <c:v>2834487.0310195</c:v>
                </c:pt>
                <c:pt idx="696">
                  <c:v>2821317.5817249417</c:v>
                </c:pt>
                <c:pt idx="697">
                  <c:v>2823446.4625152233</c:v>
                </c:pt>
                <c:pt idx="698">
                  <c:v>2853237.8787256996</c:v>
                </c:pt>
                <c:pt idx="699">
                  <c:v>2925087.7879558685</c:v>
                </c:pt>
                <c:pt idx="700">
                  <c:v>2989022.0269605042</c:v>
                </c:pt>
                <c:pt idx="701">
                  <c:v>2830221.578526367</c:v>
                </c:pt>
                <c:pt idx="702">
                  <c:v>2862339.3004073454</c:v>
                </c:pt>
                <c:pt idx="703">
                  <c:v>2889215.4078809009</c:v>
                </c:pt>
                <c:pt idx="704">
                  <c:v>2914619.0531990766</c:v>
                </c:pt>
                <c:pt idx="705">
                  <c:v>2806663.73386177</c:v>
                </c:pt>
                <c:pt idx="706">
                  <c:v>2918439.4244259</c:v>
                </c:pt>
                <c:pt idx="707">
                  <c:v>2841280.8833175292</c:v>
                </c:pt>
                <c:pt idx="708">
                  <c:v>2815709.4594213073</c:v>
                </c:pt>
                <c:pt idx="709">
                  <c:v>2777064.4655196299</c:v>
                </c:pt>
                <c:pt idx="710">
                  <c:v>2942209.5758555522</c:v>
                </c:pt>
                <c:pt idx="711">
                  <c:v>2866799.8068316896</c:v>
                </c:pt>
                <c:pt idx="712">
                  <c:v>2831176.958566356</c:v>
                </c:pt>
                <c:pt idx="713">
                  <c:v>2822245.606078438</c:v>
                </c:pt>
                <c:pt idx="714">
                  <c:v>2904813.9109815331</c:v>
                </c:pt>
                <c:pt idx="715">
                  <c:v>2778248.5584661155</c:v>
                </c:pt>
                <c:pt idx="716">
                  <c:v>2823326.1518985964</c:v>
                </c:pt>
                <c:pt idx="717">
                  <c:v>2733589.6272284235</c:v>
                </c:pt>
                <c:pt idx="718">
                  <c:v>2783916.5530280275</c:v>
                </c:pt>
                <c:pt idx="719">
                  <c:v>2798136.9692457132</c:v>
                </c:pt>
                <c:pt idx="720">
                  <c:v>2926179.9193596952</c:v>
                </c:pt>
                <c:pt idx="721">
                  <c:v>2817208.2227343041</c:v>
                </c:pt>
                <c:pt idx="722">
                  <c:v>2788733.353079075</c:v>
                </c:pt>
                <c:pt idx="723">
                  <c:v>3030059.3431318835</c:v>
                </c:pt>
                <c:pt idx="724">
                  <c:v>2852642.4041684316</c:v>
                </c:pt>
                <c:pt idx="725">
                  <c:v>2834432.6863906686</c:v>
                </c:pt>
                <c:pt idx="726">
                  <c:v>2916210.9494970981</c:v>
                </c:pt>
                <c:pt idx="727">
                  <c:v>2869733.4059463907</c:v>
                </c:pt>
                <c:pt idx="728">
                  <c:v>2846697.804887522</c:v>
                </c:pt>
                <c:pt idx="729">
                  <c:v>3012066.6763024712</c:v>
                </c:pt>
                <c:pt idx="730">
                  <c:v>2781964.0382684008</c:v>
                </c:pt>
                <c:pt idx="731">
                  <c:v>2866675.6536974343</c:v>
                </c:pt>
                <c:pt idx="732">
                  <c:v>2681863.3188356967</c:v>
                </c:pt>
                <c:pt idx="733">
                  <c:v>2859097.2441836079</c:v>
                </c:pt>
                <c:pt idx="734">
                  <c:v>2786444.900427328</c:v>
                </c:pt>
                <c:pt idx="735">
                  <c:v>2944607.819250972</c:v>
                </c:pt>
                <c:pt idx="736">
                  <c:v>2804417.1215305841</c:v>
                </c:pt>
                <c:pt idx="737">
                  <c:v>2942126.7504756926</c:v>
                </c:pt>
                <c:pt idx="738">
                  <c:v>2940912.3332238114</c:v>
                </c:pt>
                <c:pt idx="739">
                  <c:v>2907755.5792754209</c:v>
                </c:pt>
                <c:pt idx="740">
                  <c:v>2991344.573633668</c:v>
                </c:pt>
                <c:pt idx="741">
                  <c:v>2825182.7531460337</c:v>
                </c:pt>
                <c:pt idx="742">
                  <c:v>2830993.1677217409</c:v>
                </c:pt>
                <c:pt idx="743">
                  <c:v>2853149.2585253958</c:v>
                </c:pt>
                <c:pt idx="744">
                  <c:v>2795549.2062738701</c:v>
                </c:pt>
                <c:pt idx="745">
                  <c:v>2977480.5850678785</c:v>
                </c:pt>
                <c:pt idx="746">
                  <c:v>2802130.0275357086</c:v>
                </c:pt>
                <c:pt idx="747">
                  <c:v>3024115.7582037705</c:v>
                </c:pt>
                <c:pt idx="748">
                  <c:v>3009920.5706435419</c:v>
                </c:pt>
                <c:pt idx="749">
                  <c:v>2873990.493227582</c:v>
                </c:pt>
                <c:pt idx="750">
                  <c:v>2919908.8169347043</c:v>
                </c:pt>
                <c:pt idx="751">
                  <c:v>2795614.4564521667</c:v>
                </c:pt>
                <c:pt idx="752">
                  <c:v>2951481.6183469938</c:v>
                </c:pt>
                <c:pt idx="753">
                  <c:v>2895707.4524681466</c:v>
                </c:pt>
                <c:pt idx="754">
                  <c:v>2758551.0784474192</c:v>
                </c:pt>
                <c:pt idx="755">
                  <c:v>2939833.0030555641</c:v>
                </c:pt>
                <c:pt idx="756">
                  <c:v>2879363.7263402389</c:v>
                </c:pt>
                <c:pt idx="757">
                  <c:v>2926206.9086608957</c:v>
                </c:pt>
                <c:pt idx="758">
                  <c:v>2945559.5513029043</c:v>
                </c:pt>
                <c:pt idx="759">
                  <c:v>2928173.6844505849</c:v>
                </c:pt>
                <c:pt idx="760">
                  <c:v>2888184.988411752</c:v>
                </c:pt>
                <c:pt idx="761">
                  <c:v>2896273.4984286837</c:v>
                </c:pt>
                <c:pt idx="762">
                  <c:v>2865117.8250745689</c:v>
                </c:pt>
                <c:pt idx="763">
                  <c:v>2906758.3741161446</c:v>
                </c:pt>
                <c:pt idx="764">
                  <c:v>2822361.9405906438</c:v>
                </c:pt>
                <c:pt idx="765">
                  <c:v>2846617.9604993984</c:v>
                </c:pt>
                <c:pt idx="766">
                  <c:v>2792790.3497956987</c:v>
                </c:pt>
                <c:pt idx="767">
                  <c:v>2694891.9112711954</c:v>
                </c:pt>
                <c:pt idx="768">
                  <c:v>2942831.2441796013</c:v>
                </c:pt>
                <c:pt idx="769">
                  <c:v>2859062.493567226</c:v>
                </c:pt>
                <c:pt idx="770">
                  <c:v>2907243.1215968421</c:v>
                </c:pt>
                <c:pt idx="771">
                  <c:v>2873311.5583430789</c:v>
                </c:pt>
                <c:pt idx="772">
                  <c:v>2706089.5505714249</c:v>
                </c:pt>
                <c:pt idx="773">
                  <c:v>2829827.4179217163</c:v>
                </c:pt>
                <c:pt idx="774">
                  <c:v>2739404.9055683957</c:v>
                </c:pt>
                <c:pt idx="775">
                  <c:v>2906257.3572881846</c:v>
                </c:pt>
                <c:pt idx="776">
                  <c:v>2927076.9156531263</c:v>
                </c:pt>
                <c:pt idx="777">
                  <c:v>2798468.2229951434</c:v>
                </c:pt>
                <c:pt idx="778">
                  <c:v>3021561.454341494</c:v>
                </c:pt>
                <c:pt idx="779">
                  <c:v>2837868.0638539116</c:v>
                </c:pt>
                <c:pt idx="780">
                  <c:v>2854895.6011446896</c:v>
                </c:pt>
                <c:pt idx="781">
                  <c:v>2869875.4150270252</c:v>
                </c:pt>
                <c:pt idx="782">
                  <c:v>2919579.9767894018</c:v>
                </c:pt>
                <c:pt idx="783">
                  <c:v>2830932.4167731707</c:v>
                </c:pt>
                <c:pt idx="784">
                  <c:v>2842863.1294016312</c:v>
                </c:pt>
                <c:pt idx="785">
                  <c:v>2902190.8993269941</c:v>
                </c:pt>
                <c:pt idx="786">
                  <c:v>2776737.5022375835</c:v>
                </c:pt>
                <c:pt idx="787">
                  <c:v>3077540.642335922</c:v>
                </c:pt>
                <c:pt idx="788">
                  <c:v>2950210.0324083213</c:v>
                </c:pt>
                <c:pt idx="789">
                  <c:v>2907496.7090882203</c:v>
                </c:pt>
                <c:pt idx="790">
                  <c:v>2796880.6172999465</c:v>
                </c:pt>
                <c:pt idx="791">
                  <c:v>2939466.9063221519</c:v>
                </c:pt>
                <c:pt idx="792">
                  <c:v>3080226.9356954629</c:v>
                </c:pt>
                <c:pt idx="793">
                  <c:v>2902584.3563090027</c:v>
                </c:pt>
                <c:pt idx="794">
                  <c:v>2878804.3197072367</c:v>
                </c:pt>
                <c:pt idx="795">
                  <c:v>3129412.9865471586</c:v>
                </c:pt>
                <c:pt idx="796">
                  <c:v>2723425.9492222341</c:v>
                </c:pt>
                <c:pt idx="797">
                  <c:v>3113584.0572852576</c:v>
                </c:pt>
                <c:pt idx="798">
                  <c:v>3004611.2893646583</c:v>
                </c:pt>
                <c:pt idx="799">
                  <c:v>2987984.7654876313</c:v>
                </c:pt>
                <c:pt idx="800">
                  <c:v>3077922.5668530548</c:v>
                </c:pt>
                <c:pt idx="801">
                  <c:v>2847961.4830941693</c:v>
                </c:pt>
                <c:pt idx="802">
                  <c:v>2897120.4118729848</c:v>
                </c:pt>
                <c:pt idx="803">
                  <c:v>2985804.8544586292</c:v>
                </c:pt>
                <c:pt idx="804">
                  <c:v>2878770.1542365872</c:v>
                </c:pt>
                <c:pt idx="805">
                  <c:v>2989892.4794236617</c:v>
                </c:pt>
                <c:pt idx="806">
                  <c:v>2777930.0329393493</c:v>
                </c:pt>
                <c:pt idx="807">
                  <c:v>3060998.5430717235</c:v>
                </c:pt>
                <c:pt idx="808">
                  <c:v>3036840.0698926998</c:v>
                </c:pt>
                <c:pt idx="809">
                  <c:v>2921437.2908442095</c:v>
                </c:pt>
                <c:pt idx="810">
                  <c:v>2748083.2134264563</c:v>
                </c:pt>
                <c:pt idx="811">
                  <c:v>2939142.623165139</c:v>
                </c:pt>
                <c:pt idx="812">
                  <c:v>2880064.2327308506</c:v>
                </c:pt>
                <c:pt idx="813">
                  <c:v>2965352.8593752594</c:v>
                </c:pt>
                <c:pt idx="814">
                  <c:v>2895609.3992476147</c:v>
                </c:pt>
                <c:pt idx="815">
                  <c:v>2933709.3823272786</c:v>
                </c:pt>
                <c:pt idx="816">
                  <c:v>2889528.8300591372</c:v>
                </c:pt>
                <c:pt idx="817">
                  <c:v>3004874.555437502</c:v>
                </c:pt>
                <c:pt idx="818">
                  <c:v>2925024.1346900007</c:v>
                </c:pt>
                <c:pt idx="819">
                  <c:v>2865861.4834620887</c:v>
                </c:pt>
                <c:pt idx="820">
                  <c:v>3000966.22153243</c:v>
                </c:pt>
                <c:pt idx="821">
                  <c:v>2999362.5519758007</c:v>
                </c:pt>
                <c:pt idx="822">
                  <c:v>2933640.8475993481</c:v>
                </c:pt>
                <c:pt idx="823">
                  <c:v>2952956.3599263057</c:v>
                </c:pt>
                <c:pt idx="824">
                  <c:v>2956481.435202674</c:v>
                </c:pt>
                <c:pt idx="825">
                  <c:v>2855266.0318373172</c:v>
                </c:pt>
                <c:pt idx="826">
                  <c:v>2969637.4693130809</c:v>
                </c:pt>
                <c:pt idx="827">
                  <c:v>2977107.6790477321</c:v>
                </c:pt>
                <c:pt idx="828">
                  <c:v>3002924.4086334016</c:v>
                </c:pt>
                <c:pt idx="829">
                  <c:v>2944104.3782274229</c:v>
                </c:pt>
                <c:pt idx="830">
                  <c:v>3720818.8454023548</c:v>
                </c:pt>
                <c:pt idx="831">
                  <c:v>3029243.0488366061</c:v>
                </c:pt>
                <c:pt idx="832">
                  <c:v>2922693.8625984541</c:v>
                </c:pt>
                <c:pt idx="833">
                  <c:v>2894363.314547488</c:v>
                </c:pt>
                <c:pt idx="834">
                  <c:v>2906110.1644703252</c:v>
                </c:pt>
                <c:pt idx="835">
                  <c:v>2993188.8216999928</c:v>
                </c:pt>
                <c:pt idx="836">
                  <c:v>2900640.4502865113</c:v>
                </c:pt>
                <c:pt idx="837">
                  <c:v>2910007.6190881184</c:v>
                </c:pt>
                <c:pt idx="838">
                  <c:v>3115257.7981507359</c:v>
                </c:pt>
                <c:pt idx="839">
                  <c:v>2851928.6083764834</c:v>
                </c:pt>
                <c:pt idx="840">
                  <c:v>2854985.7832680135</c:v>
                </c:pt>
                <c:pt idx="841">
                  <c:v>2943463.7222948982</c:v>
                </c:pt>
                <c:pt idx="842">
                  <c:v>3003068.1405309625</c:v>
                </c:pt>
                <c:pt idx="843">
                  <c:v>2825964.0877658119</c:v>
                </c:pt>
                <c:pt idx="844">
                  <c:v>2979317.603844794</c:v>
                </c:pt>
                <c:pt idx="845">
                  <c:v>3061965.6189836455</c:v>
                </c:pt>
                <c:pt idx="846">
                  <c:v>2956648.2532278765</c:v>
                </c:pt>
                <c:pt idx="847">
                  <c:v>2920362.9393806551</c:v>
                </c:pt>
                <c:pt idx="848">
                  <c:v>2855315.5967531046</c:v>
                </c:pt>
                <c:pt idx="849">
                  <c:v>2935168.5989797488</c:v>
                </c:pt>
                <c:pt idx="850">
                  <c:v>3020111.8015886224</c:v>
                </c:pt>
                <c:pt idx="851">
                  <c:v>2900101.3776248908</c:v>
                </c:pt>
                <c:pt idx="852">
                  <c:v>2994268.3818483544</c:v>
                </c:pt>
                <c:pt idx="853">
                  <c:v>3086006.3727463456</c:v>
                </c:pt>
                <c:pt idx="854">
                  <c:v>2892257.6671889299</c:v>
                </c:pt>
                <c:pt idx="855">
                  <c:v>2858416.9130576318</c:v>
                </c:pt>
                <c:pt idx="856">
                  <c:v>2933812.6866270574</c:v>
                </c:pt>
                <c:pt idx="857">
                  <c:v>2910589.5108473403</c:v>
                </c:pt>
                <c:pt idx="858">
                  <c:v>2983116.8581135478</c:v>
                </c:pt>
                <c:pt idx="859">
                  <c:v>3048636.7908442384</c:v>
                </c:pt>
                <c:pt idx="860">
                  <c:v>3038822.708537552</c:v>
                </c:pt>
                <c:pt idx="861">
                  <c:v>2909717.3832178037</c:v>
                </c:pt>
                <c:pt idx="862">
                  <c:v>2907931.6446710168</c:v>
                </c:pt>
                <c:pt idx="863">
                  <c:v>3732445.2716647787</c:v>
                </c:pt>
                <c:pt idx="864">
                  <c:v>2798240.446627357</c:v>
                </c:pt>
                <c:pt idx="865">
                  <c:v>3002378.9990280396</c:v>
                </c:pt>
                <c:pt idx="866">
                  <c:v>2657076.6555863013</c:v>
                </c:pt>
                <c:pt idx="867">
                  <c:v>2959084.3555454849</c:v>
                </c:pt>
                <c:pt idx="868">
                  <c:v>3109360.670074645</c:v>
                </c:pt>
                <c:pt idx="869">
                  <c:v>3057388.6051572412</c:v>
                </c:pt>
                <c:pt idx="870">
                  <c:v>2879576.9853111911</c:v>
                </c:pt>
                <c:pt idx="871">
                  <c:v>2888467.2600162379</c:v>
                </c:pt>
                <c:pt idx="872">
                  <c:v>3073565.6380892601</c:v>
                </c:pt>
                <c:pt idx="873">
                  <c:v>3131202.9891581531</c:v>
                </c:pt>
                <c:pt idx="874">
                  <c:v>2919104.7377757779</c:v>
                </c:pt>
                <c:pt idx="875">
                  <c:v>3002522.3339869808</c:v>
                </c:pt>
                <c:pt idx="876">
                  <c:v>3094982.6384782339</c:v>
                </c:pt>
                <c:pt idx="877">
                  <c:v>2876582.1861000136</c:v>
                </c:pt>
                <c:pt idx="878">
                  <c:v>2971775.9872528403</c:v>
                </c:pt>
                <c:pt idx="879">
                  <c:v>3183997.8257609131</c:v>
                </c:pt>
                <c:pt idx="880">
                  <c:v>3107865.8872793778</c:v>
                </c:pt>
                <c:pt idx="881">
                  <c:v>3002407.1913679042</c:v>
                </c:pt>
                <c:pt idx="882">
                  <c:v>3014300.8248145389</c:v>
                </c:pt>
                <c:pt idx="883">
                  <c:v>2989485.5371180638</c:v>
                </c:pt>
                <c:pt idx="884">
                  <c:v>3502202.2625378724</c:v>
                </c:pt>
                <c:pt idx="885">
                  <c:v>2953968.8419825677</c:v>
                </c:pt>
                <c:pt idx="886">
                  <c:v>2926610.1390874097</c:v>
                </c:pt>
                <c:pt idx="887">
                  <c:v>2968202.805663608</c:v>
                </c:pt>
                <c:pt idx="888">
                  <c:v>2916644.4339657607</c:v>
                </c:pt>
                <c:pt idx="889">
                  <c:v>2986208.7666437635</c:v>
                </c:pt>
                <c:pt idx="890">
                  <c:v>3088419.6717412947</c:v>
                </c:pt>
                <c:pt idx="891">
                  <c:v>2914212.3200280601</c:v>
                </c:pt>
                <c:pt idx="892">
                  <c:v>3222004.2075800854</c:v>
                </c:pt>
                <c:pt idx="893">
                  <c:v>2971495.4507190292</c:v>
                </c:pt>
                <c:pt idx="894">
                  <c:v>2356645.8339247294</c:v>
                </c:pt>
                <c:pt idx="895">
                  <c:v>2891741.8592259423</c:v>
                </c:pt>
                <c:pt idx="896">
                  <c:v>3031618.3461665944</c:v>
                </c:pt>
                <c:pt idx="897">
                  <c:v>3361289.3597604563</c:v>
                </c:pt>
                <c:pt idx="898">
                  <c:v>3005405.0844904361</c:v>
                </c:pt>
                <c:pt idx="899">
                  <c:v>2953188.7690395447</c:v>
                </c:pt>
                <c:pt idx="900">
                  <c:v>2988309.4223815096</c:v>
                </c:pt>
                <c:pt idx="901">
                  <c:v>2960550.3892205358</c:v>
                </c:pt>
                <c:pt idx="902">
                  <c:v>2751573.5689659668</c:v>
                </c:pt>
                <c:pt idx="903">
                  <c:v>2946760.0913723637</c:v>
                </c:pt>
                <c:pt idx="904">
                  <c:v>2861033.0015897993</c:v>
                </c:pt>
                <c:pt idx="905">
                  <c:v>2943976.6382109113</c:v>
                </c:pt>
                <c:pt idx="906">
                  <c:v>2924240.0055575734</c:v>
                </c:pt>
                <c:pt idx="907">
                  <c:v>3036438.0873548556</c:v>
                </c:pt>
                <c:pt idx="908">
                  <c:v>2970953.6136240736</c:v>
                </c:pt>
                <c:pt idx="909">
                  <c:v>2983259.1797081907</c:v>
                </c:pt>
                <c:pt idx="910">
                  <c:v>2983064.5244538705</c:v>
                </c:pt>
                <c:pt idx="911">
                  <c:v>2889019.3636814076</c:v>
                </c:pt>
                <c:pt idx="912">
                  <c:v>2937641.3749642628</c:v>
                </c:pt>
                <c:pt idx="913">
                  <c:v>3008322.092756792</c:v>
                </c:pt>
                <c:pt idx="914">
                  <c:v>2961553.7892858293</c:v>
                </c:pt>
                <c:pt idx="915">
                  <c:v>3252798.2777737682</c:v>
                </c:pt>
                <c:pt idx="916">
                  <c:v>2932984.7416923679</c:v>
                </c:pt>
                <c:pt idx="917">
                  <c:v>3015234.0145772425</c:v>
                </c:pt>
                <c:pt idx="918">
                  <c:v>3013923.0067374716</c:v>
                </c:pt>
                <c:pt idx="919">
                  <c:v>2842362.2444032654</c:v>
                </c:pt>
                <c:pt idx="920">
                  <c:v>3484723.398412453</c:v>
                </c:pt>
                <c:pt idx="921">
                  <c:v>3076536.8267186363</c:v>
                </c:pt>
                <c:pt idx="922">
                  <c:v>3082877.815696375</c:v>
                </c:pt>
                <c:pt idx="923">
                  <c:v>2929761.8837252059</c:v>
                </c:pt>
                <c:pt idx="924">
                  <c:v>2966670.7860539076</c:v>
                </c:pt>
                <c:pt idx="925">
                  <c:v>3168691.0994290654</c:v>
                </c:pt>
                <c:pt idx="926">
                  <c:v>2874646.9317452544</c:v>
                </c:pt>
                <c:pt idx="927">
                  <c:v>3034677.4313081661</c:v>
                </c:pt>
                <c:pt idx="928">
                  <c:v>3089963.3395889634</c:v>
                </c:pt>
                <c:pt idx="929">
                  <c:v>3113274.0305199991</c:v>
                </c:pt>
                <c:pt idx="930">
                  <c:v>3085989.5217391239</c:v>
                </c:pt>
                <c:pt idx="931">
                  <c:v>3454962.3379848492</c:v>
                </c:pt>
                <c:pt idx="932">
                  <c:v>3689777.7239816757</c:v>
                </c:pt>
                <c:pt idx="933">
                  <c:v>2927609.9924463546</c:v>
                </c:pt>
                <c:pt idx="934">
                  <c:v>3251706.6588954702</c:v>
                </c:pt>
                <c:pt idx="935">
                  <c:v>3334798.9720782707</c:v>
                </c:pt>
                <c:pt idx="936">
                  <c:v>3723151.0639255531</c:v>
                </c:pt>
                <c:pt idx="937">
                  <c:v>3549026.1930149323</c:v>
                </c:pt>
                <c:pt idx="938">
                  <c:v>2992226.6621036162</c:v>
                </c:pt>
                <c:pt idx="939">
                  <c:v>3434046.141267803</c:v>
                </c:pt>
                <c:pt idx="940">
                  <c:v>3077818.1306593618</c:v>
                </c:pt>
                <c:pt idx="941">
                  <c:v>5665689.2316397931</c:v>
                </c:pt>
                <c:pt idx="942">
                  <c:v>3060427.0022299229</c:v>
                </c:pt>
                <c:pt idx="943">
                  <c:v>3390347.7656713268</c:v>
                </c:pt>
                <c:pt idx="944">
                  <c:v>3705830.541084093</c:v>
                </c:pt>
                <c:pt idx="945">
                  <c:v>3448910.3937624278</c:v>
                </c:pt>
                <c:pt idx="946">
                  <c:v>3130785.9844801188</c:v>
                </c:pt>
                <c:pt idx="947">
                  <c:v>3121211.8454190576</c:v>
                </c:pt>
                <c:pt idx="948">
                  <c:v>3303056.560335679</c:v>
                </c:pt>
              </c:numCache>
            </c:numRef>
          </c:val>
          <c:smooth val="0"/>
          <c:extLst>
            <c:ext xmlns:c16="http://schemas.microsoft.com/office/drawing/2014/chart" uri="{C3380CC4-5D6E-409C-BE32-E72D297353CC}">
              <c16:uniqueId val="{00000001-4CA6-4C69-81CE-AC6447C88D41}"/>
            </c:ext>
          </c:extLst>
        </c:ser>
        <c:dLbls>
          <c:showLegendKey val="0"/>
          <c:showVal val="0"/>
          <c:showCatName val="0"/>
          <c:showSerName val="0"/>
          <c:showPercent val="0"/>
          <c:showBubbleSize val="0"/>
        </c:dLbls>
        <c:smooth val="0"/>
        <c:axId val="1586694368"/>
        <c:axId val="1586701856"/>
      </c:lineChart>
      <c:catAx>
        <c:axId val="1586694368"/>
        <c:scaling>
          <c:orientation val="minMax"/>
        </c:scaling>
        <c:delete val="0"/>
        <c:axPos val="b"/>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86701856"/>
        <c:crosses val="autoZero"/>
        <c:auto val="1"/>
        <c:lblAlgn val="ctr"/>
        <c:lblOffset val="100"/>
        <c:noMultiLvlLbl val="0"/>
      </c:catAx>
      <c:valAx>
        <c:axId val="15867018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866943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solidFill>
        <a:schemeClr val="accent1">
          <a:shade val="50000"/>
        </a:schemeClr>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0" i="0" baseline="0">
                <a:effectLst/>
              </a:rPr>
              <a:t>Coke (kg) v/s Hot Metal Production tons/day</a:t>
            </a:r>
            <a:endParaRPr lang="en-US">
              <a:effectLst/>
            </a:endParaRPr>
          </a:p>
        </c:rich>
      </c:tx>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2!$D$3:$D$1098</c:f>
              <c:numCache>
                <c:formatCode>0</c:formatCode>
                <c:ptCount val="1096"/>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Sheet2!$F$3:$F$1098</c:f>
              <c:numCache>
                <c:formatCode>General</c:formatCode>
                <c:ptCount val="1096"/>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N/A</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N/A</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N/A</c:v>
                </c:pt>
                <c:pt idx="28">
                  <c:v>321.99861002954611</c:v>
                </c:pt>
                <c:pt idx="29">
                  <c:v>320.95747258053484</c:v>
                </c:pt>
                <c:pt idx="30">
                  <c:v>327.66673615498394</c:v>
                </c:pt>
                <c:pt idx="31">
                  <c:v>313.46570329571915</c:v>
                </c:pt>
                <c:pt idx="32">
                  <c:v>#N/A</c:v>
                </c:pt>
                <c:pt idx="33">
                  <c:v>328.82618267854872</c:v>
                </c:pt>
                <c:pt idx="34">
                  <c:v>348.10495342262442</c:v>
                </c:pt>
                <c:pt idx="35">
                  <c:v>341.28146249310817</c:v>
                </c:pt>
                <c:pt idx="36">
                  <c:v>331.3983381867933</c:v>
                </c:pt>
                <c:pt idx="37">
                  <c:v>#N/A</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N/A</c:v>
                </c:pt>
                <c:pt idx="51">
                  <c:v>335.52875809093149</c:v>
                </c:pt>
                <c:pt idx="52">
                  <c:v>334.58874258599309</c:v>
                </c:pt>
                <c:pt idx="53">
                  <c:v>318.02931924876447</c:v>
                </c:pt>
                <c:pt idx="54">
                  <c:v>#N/A</c:v>
                </c:pt>
                <c:pt idx="55">
                  <c:v>320.25120076963969</c:v>
                </c:pt>
                <c:pt idx="56">
                  <c:v>313.35240736514118</c:v>
                </c:pt>
                <c:pt idx="57">
                  <c:v>328.8608730893763</c:v>
                </c:pt>
                <c:pt idx="58">
                  <c:v>325.68842389334611</c:v>
                </c:pt>
                <c:pt idx="59">
                  <c:v>328.00983483047673</c:v>
                </c:pt>
                <c:pt idx="60">
                  <c:v>#N/A</c:v>
                </c:pt>
                <c:pt idx="61">
                  <c:v>317.7817483222637</c:v>
                </c:pt>
                <c:pt idx="62">
                  <c:v>320.3107889527152</c:v>
                </c:pt>
                <c:pt idx="63">
                  <c:v>314.07674731811966</c:v>
                </c:pt>
                <c:pt idx="64">
                  <c:v>309.10775694536147</c:v>
                </c:pt>
                <c:pt idx="65">
                  <c:v>317.66522659276092</c:v>
                </c:pt>
                <c:pt idx="66">
                  <c:v>316.1875597670886</c:v>
                </c:pt>
                <c:pt idx="67">
                  <c:v>328.3129893324504</c:v>
                </c:pt>
                <c:pt idx="68">
                  <c:v>#N/A</c:v>
                </c:pt>
                <c:pt idx="69">
                  <c:v>#N/A</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N/A</c:v>
                </c:pt>
                <c:pt idx="116">
                  <c:v>322.34680747192402</c:v>
                </c:pt>
                <c:pt idx="117">
                  <c:v>#N/A</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N/A</c:v>
                </c:pt>
                <c:pt idx="145">
                  <c:v>#N/A</c:v>
                </c:pt>
                <c:pt idx="146">
                  <c:v>#N/A</c:v>
                </c:pt>
                <c:pt idx="147">
                  <c:v>#N/A</c:v>
                </c:pt>
                <c:pt idx="148">
                  <c:v>#N/A</c:v>
                </c:pt>
                <c:pt idx="149">
                  <c:v>#N/A</c:v>
                </c:pt>
                <c:pt idx="150">
                  <c:v>#N/A</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N/A</c:v>
                </c:pt>
                <c:pt idx="160">
                  <c:v>#N/A</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N/A</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N/A</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N/A</c:v>
                </c:pt>
                <c:pt idx="218">
                  <c:v>327.29307991113097</c:v>
                </c:pt>
                <c:pt idx="219">
                  <c:v>#N/A</c:v>
                </c:pt>
                <c:pt idx="220">
                  <c:v>312.42925506017798</c:v>
                </c:pt>
                <c:pt idx="221">
                  <c:v>318.19970673388701</c:v>
                </c:pt>
                <c:pt idx="222">
                  <c:v>323.57573683888899</c:v>
                </c:pt>
                <c:pt idx="223">
                  <c:v>#N/A</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N/A</c:v>
                </c:pt>
                <c:pt idx="233">
                  <c:v>331.85880609668902</c:v>
                </c:pt>
                <c:pt idx="234">
                  <c:v>321.76254188779097</c:v>
                </c:pt>
                <c:pt idx="235">
                  <c:v>#N/A</c:v>
                </c:pt>
                <c:pt idx="236">
                  <c:v>#N/A</c:v>
                </c:pt>
                <c:pt idx="237">
                  <c:v>330.08522026962299</c:v>
                </c:pt>
                <c:pt idx="238">
                  <c:v>325.74425234078802</c:v>
                </c:pt>
                <c:pt idx="239">
                  <c:v>338.60152162625798</c:v>
                </c:pt>
                <c:pt idx="240">
                  <c:v>#N/A</c:v>
                </c:pt>
                <c:pt idx="241">
                  <c:v>#N/A</c:v>
                </c:pt>
                <c:pt idx="242">
                  <c:v>362.04070426256698</c:v>
                </c:pt>
                <c:pt idx="243">
                  <c:v>362.776355234373</c:v>
                </c:pt>
                <c:pt idx="244">
                  <c:v>365.10704820643099</c:v>
                </c:pt>
                <c:pt idx="245">
                  <c:v>421.56297591179498</c:v>
                </c:pt>
                <c:pt idx="246">
                  <c:v>419.37320932385302</c:v>
                </c:pt>
                <c:pt idx="247">
                  <c:v>435.05910903021902</c:v>
                </c:pt>
                <c:pt idx="248">
                  <c:v>#N/A</c:v>
                </c:pt>
                <c:pt idx="249">
                  <c:v>385.95309696167197</c:v>
                </c:pt>
                <c:pt idx="250">
                  <c:v>385.03601752360697</c:v>
                </c:pt>
                <c:pt idx="251">
                  <c:v>375.25896736175099</c:v>
                </c:pt>
                <c:pt idx="252">
                  <c:v>360.390360058738</c:v>
                </c:pt>
                <c:pt idx="253">
                  <c:v>364.68058703493898</c:v>
                </c:pt>
                <c:pt idx="254">
                  <c:v>349.28731702461903</c:v>
                </c:pt>
                <c:pt idx="255">
                  <c:v>359.32329715198699</c:v>
                </c:pt>
                <c:pt idx="256">
                  <c:v>#N/A</c:v>
                </c:pt>
                <c:pt idx="257">
                  <c:v>314.81158570599098</c:v>
                </c:pt>
                <c:pt idx="258">
                  <c:v>351.80198103419201</c:v>
                </c:pt>
                <c:pt idx="259">
                  <c:v>473.16824585154802</c:v>
                </c:pt>
                <c:pt idx="260">
                  <c:v>#N/A</c:v>
                </c:pt>
                <c:pt idx="261">
                  <c:v>#N/A</c:v>
                </c:pt>
                <c:pt idx="262">
                  <c:v>354.30427381673701</c:v>
                </c:pt>
                <c:pt idx="263">
                  <c:v>360.58366318272601</c:v>
                </c:pt>
                <c:pt idx="264">
                  <c:v>341.84967443437898</c:v>
                </c:pt>
                <c:pt idx="265">
                  <c:v>346.65324472884498</c:v>
                </c:pt>
                <c:pt idx="266">
                  <c:v>347.22410243016998</c:v>
                </c:pt>
                <c:pt idx="267">
                  <c:v>#N/A</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N/A</c:v>
                </c:pt>
                <c:pt idx="294">
                  <c:v>#N/A</c:v>
                </c:pt>
                <c:pt idx="295">
                  <c:v>340.49514659784103</c:v>
                </c:pt>
                <c:pt idx="296">
                  <c:v>339.93567129670799</c:v>
                </c:pt>
                <c:pt idx="297">
                  <c:v>341.97971700350098</c:v>
                </c:pt>
                <c:pt idx="298">
                  <c:v>#N/A</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N/A</c:v>
                </c:pt>
                <c:pt idx="336">
                  <c:v>#N/A</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N/A</c:v>
                </c:pt>
                <c:pt idx="357">
                  <c:v>#N/A</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c:v>#N/A</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N/A</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N/A</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N/A</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N/A</c:v>
                </c:pt>
                <c:pt idx="456">
                  <c:v>#N/A</c:v>
                </c:pt>
                <c:pt idx="457">
                  <c:v>314.48239256563397</c:v>
                </c:pt>
                <c:pt idx="458">
                  <c:v>311.48692196015702</c:v>
                </c:pt>
                <c:pt idx="459">
                  <c:v>#N/A</c:v>
                </c:pt>
                <c:pt idx="460">
                  <c:v>#N/A</c:v>
                </c:pt>
                <c:pt idx="461">
                  <c:v>#N/A</c:v>
                </c:pt>
                <c:pt idx="462">
                  <c:v>#N/A</c:v>
                </c:pt>
                <c:pt idx="463">
                  <c:v>#N/A</c:v>
                </c:pt>
                <c:pt idx="464">
                  <c:v>310.454165951449</c:v>
                </c:pt>
                <c:pt idx="465">
                  <c:v>311.52208531027202</c:v>
                </c:pt>
                <c:pt idx="466">
                  <c:v>322.19591128932899</c:v>
                </c:pt>
                <c:pt idx="467">
                  <c:v>412.82721945799</c:v>
                </c:pt>
                <c:pt idx="468">
                  <c:v>609.38380791153497</c:v>
                </c:pt>
                <c:pt idx="469">
                  <c:v>#N/A</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7">
                  <c:v>#N/A</c:v>
                </c:pt>
                <c:pt idx="498">
                  <c:v>#N/A</c:v>
                </c:pt>
                <c:pt idx="499">
                  <c:v>#N/A</c:v>
                </c:pt>
                <c:pt idx="500">
                  <c:v>312.07996479633601</c:v>
                </c:pt>
                <c:pt idx="501">
                  <c:v>319.97306717480399</c:v>
                </c:pt>
                <c:pt idx="502">
                  <c:v>321.439479877633</c:v>
                </c:pt>
                <c:pt idx="503">
                  <c:v>324.17536956196301</c:v>
                </c:pt>
                <c:pt idx="504">
                  <c:v>330.90906156137299</c:v>
                </c:pt>
                <c:pt idx="505">
                  <c:v>323.59973608442698</c:v>
                </c:pt>
                <c:pt idx="506">
                  <c:v>#N/A</c:v>
                </c:pt>
                <c:pt idx="507">
                  <c:v>328.79389443008603</c:v>
                </c:pt>
                <c:pt idx="508">
                  <c:v>326.99348832417002</c:v>
                </c:pt>
                <c:pt idx="509">
                  <c:v>317.78521970650098</c:v>
                </c:pt>
                <c:pt idx="510">
                  <c:v>317.50748363236698</c:v>
                </c:pt>
                <c:pt idx="511">
                  <c:v>318.457762005706</c:v>
                </c:pt>
                <c:pt idx="512">
                  <c:v>319.10751635077202</c:v>
                </c:pt>
                <c:pt idx="513">
                  <c:v>#N/A</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N/A</c:v>
                </c:pt>
                <c:pt idx="523">
                  <c:v>#N/A</c:v>
                </c:pt>
                <c:pt idx="524">
                  <c:v>#N/A</c:v>
                </c:pt>
                <c:pt idx="525">
                  <c:v>318.40501555290803</c:v>
                </c:pt>
                <c:pt idx="526">
                  <c:v>332.64397949796199</c:v>
                </c:pt>
                <c:pt idx="527">
                  <c:v>349.90620809152398</c:v>
                </c:pt>
                <c:pt idx="528">
                  <c:v>344.88001614199601</c:v>
                </c:pt>
                <c:pt idx="529">
                  <c:v>#N/A</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N/A</c:v>
                </c:pt>
                <c:pt idx="571">
                  <c:v>#N/A</c:v>
                </c:pt>
                <c:pt idx="572">
                  <c:v>#N/A</c:v>
                </c:pt>
                <c:pt idx="573">
                  <c:v>#N/A</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N/A</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N/A</c:v>
                </c:pt>
                <c:pt idx="607">
                  <c:v>#N/A</c:v>
                </c:pt>
                <c:pt idx="608">
                  <c:v>325.76070001360898</c:v>
                </c:pt>
                <c:pt idx="609">
                  <c:v>327.66351813619701</c:v>
                </c:pt>
                <c:pt idx="610">
                  <c:v>348.03888514141403</c:v>
                </c:pt>
                <c:pt idx="611">
                  <c:v>#N/A</c:v>
                </c:pt>
                <c:pt idx="612">
                  <c:v>#N/A</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2">
                  <c:v>#N/A</c:v>
                </c:pt>
                <c:pt idx="643">
                  <c:v>#N/A</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N/A</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N/A</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N/A</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N/A</c:v>
                </c:pt>
                <c:pt idx="719">
                  <c:v>324.77705518667801</c:v>
                </c:pt>
                <c:pt idx="720">
                  <c:v>325.00218155725003</c:v>
                </c:pt>
                <c:pt idx="721">
                  <c:v>323.64730670914003</c:v>
                </c:pt>
                <c:pt idx="722">
                  <c:v>326.67519612125199</c:v>
                </c:pt>
                <c:pt idx="723">
                  <c:v>331.171647625898</c:v>
                </c:pt>
                <c:pt idx="724">
                  <c:v>383.85692345414998</c:v>
                </c:pt>
                <c:pt idx="725">
                  <c:v>#N/A</c:v>
                </c:pt>
                <c:pt idx="726">
                  <c:v>#N/A</c:v>
                </c:pt>
                <c:pt idx="727">
                  <c:v>#N/A</c:v>
                </c:pt>
                <c:pt idx="728">
                  <c:v>328.00880830653898</c:v>
                </c:pt>
                <c:pt idx="729">
                  <c:v>325.92545019233103</c:v>
                </c:pt>
                <c:pt idx="730">
                  <c:v>327.02947503205201</c:v>
                </c:pt>
                <c:pt idx="731">
                  <c:v>327.98615324554419</c:v>
                </c:pt>
                <c:pt idx="732">
                  <c:v>331.91309908129693</c:v>
                </c:pt>
                <c:pt idx="733">
                  <c:v>329.6986942958232</c:v>
                </c:pt>
                <c:pt idx="734">
                  <c:v>329.24764649261476</c:v>
                </c:pt>
                <c:pt idx="735">
                  <c:v>#N/A</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N/A</c:v>
                </c:pt>
                <c:pt idx="790">
                  <c:v>#N/A</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N/A</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N/A</c:v>
                </c:pt>
                <c:pt idx="822">
                  <c:v>#N/A</c:v>
                </c:pt>
                <c:pt idx="823">
                  <c:v>341.92197502049447</c:v>
                </c:pt>
                <c:pt idx="824">
                  <c:v>343.38293211347377</c:v>
                </c:pt>
                <c:pt idx="825">
                  <c:v>363.58016395842861</c:v>
                </c:pt>
                <c:pt idx="826">
                  <c:v>355.25297275573467</c:v>
                </c:pt>
                <c:pt idx="827">
                  <c:v>361.94962313714211</c:v>
                </c:pt>
                <c:pt idx="828">
                  <c:v>#N/A</c:v>
                </c:pt>
                <c:pt idx="829">
                  <c:v>368.69039623856355</c:v>
                </c:pt>
                <c:pt idx="830">
                  <c:v>372.28030575262954</c:v>
                </c:pt>
                <c:pt idx="831">
                  <c:v>371.95859079410673</c:v>
                </c:pt>
                <c:pt idx="832">
                  <c:v>#N/A</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N/A</c:v>
                </c:pt>
                <c:pt idx="863">
                  <c:v>326.29273330156695</c:v>
                </c:pt>
                <c:pt idx="864">
                  <c:v>395.2899164046629</c:v>
                </c:pt>
                <c:pt idx="865">
                  <c:v>414.88814777455678</c:v>
                </c:pt>
                <c:pt idx="866">
                  <c:v>320.60833294332588</c:v>
                </c:pt>
                <c:pt idx="867">
                  <c:v>326.80509471935807</c:v>
                </c:pt>
                <c:pt idx="868">
                  <c:v>330.47581519905521</c:v>
                </c:pt>
                <c:pt idx="869">
                  <c:v>#N/A</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N/A</c:v>
                </c:pt>
                <c:pt idx="895">
                  <c:v>333.41031652830816</c:v>
                </c:pt>
                <c:pt idx="896">
                  <c:v>326.7529679040133</c:v>
                </c:pt>
                <c:pt idx="897">
                  <c:v>334.11796074721224</c:v>
                </c:pt>
                <c:pt idx="898">
                  <c:v>#N/A</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N/A</c:v>
                </c:pt>
                <c:pt idx="912">
                  <c:v>#N/A</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N/A</c:v>
                </c:pt>
                <c:pt idx="930">
                  <c:v>326.87332932214554</c:v>
                </c:pt>
                <c:pt idx="931">
                  <c:v>337.72147928552641</c:v>
                </c:pt>
                <c:pt idx="932">
                  <c:v>338.93044935057816</c:v>
                </c:pt>
                <c:pt idx="933">
                  <c:v>330.64095321197073</c:v>
                </c:pt>
                <c:pt idx="934">
                  <c:v>330.63106979033455</c:v>
                </c:pt>
                <c:pt idx="935">
                  <c:v>329.33624238794351</c:v>
                </c:pt>
                <c:pt idx="936">
                  <c:v>#N/A</c:v>
                </c:pt>
                <c:pt idx="937">
                  <c:v>#N/A</c:v>
                </c:pt>
                <c:pt idx="938">
                  <c:v>#N/A</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N/A</c:v>
                </c:pt>
                <c:pt idx="956">
                  <c:v>#N/A</c:v>
                </c:pt>
                <c:pt idx="957">
                  <c:v>656.68215345676424</c:v>
                </c:pt>
                <c:pt idx="958">
                  <c:v>#N/A</c:v>
                </c:pt>
                <c:pt idx="959">
                  <c:v>333.93752689854387</c:v>
                </c:pt>
                <c:pt idx="960">
                  <c:v>#N/A</c:v>
                </c:pt>
                <c:pt idx="961">
                  <c:v>327.78756702676435</c:v>
                </c:pt>
                <c:pt idx="962">
                  <c:v>#N/A</c:v>
                </c:pt>
                <c:pt idx="963">
                  <c:v>#N/A</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N/A</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N/A</c:v>
                </c:pt>
                <c:pt idx="1021">
                  <c:v>#N/A</c:v>
                </c:pt>
                <c:pt idx="1022">
                  <c:v>#N/A</c:v>
                </c:pt>
                <c:pt idx="1023">
                  <c:v>331.16903810579339</c:v>
                </c:pt>
                <c:pt idx="1024">
                  <c:v>335.83703901038825</c:v>
                </c:pt>
                <c:pt idx="1025">
                  <c:v>336.48519496856159</c:v>
                </c:pt>
                <c:pt idx="1026">
                  <c:v>348.24742261529042</c:v>
                </c:pt>
                <c:pt idx="1027">
                  <c:v>361.50285620174219</c:v>
                </c:pt>
                <c:pt idx="1028">
                  <c:v>#N/A</c:v>
                </c:pt>
                <c:pt idx="1029">
                  <c:v>374.12804840324281</c:v>
                </c:pt>
                <c:pt idx="1030">
                  <c:v>540.57366857199781</c:v>
                </c:pt>
                <c:pt idx="1031">
                  <c:v>#N/A</c:v>
                </c:pt>
                <c:pt idx="1032">
                  <c:v>361.79238092835726</c:v>
                </c:pt>
                <c:pt idx="1033">
                  <c:v>336.01052771939192</c:v>
                </c:pt>
                <c:pt idx="1034">
                  <c:v>333.51737568989569</c:v>
                </c:pt>
                <c:pt idx="1035">
                  <c:v>338.16422492104437</c:v>
                </c:pt>
                <c:pt idx="1036">
                  <c:v>350.44286895935409</c:v>
                </c:pt>
                <c:pt idx="1037">
                  <c:v>#N/A</c:v>
                </c:pt>
                <c:pt idx="1038">
                  <c:v>#N/A</c:v>
                </c:pt>
                <c:pt idx="1039">
                  <c:v>#N/A</c:v>
                </c:pt>
                <c:pt idx="1040">
                  <c:v>#N/A</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N/A</c:v>
                </c:pt>
                <c:pt idx="1055">
                  <c:v>353.04299201971264</c:v>
                </c:pt>
                <c:pt idx="1056">
                  <c:v>337.21069877279018</c:v>
                </c:pt>
                <c:pt idx="1057">
                  <c:v>331.21521874770593</c:v>
                </c:pt>
                <c:pt idx="1058">
                  <c:v>#N/A</c:v>
                </c:pt>
                <c:pt idx="1059">
                  <c:v>#N/A</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N/A</c:v>
                </c:pt>
                <c:pt idx="1078">
                  <c:v>350.72047525203755</c:v>
                </c:pt>
                <c:pt idx="1079">
                  <c:v>351.69506062914365</c:v>
                </c:pt>
                <c:pt idx="1080">
                  <c:v>#N/A</c:v>
                </c:pt>
                <c:pt idx="1081">
                  <c:v>#N/A</c:v>
                </c:pt>
                <c:pt idx="1082">
                  <c:v>#N/A</c:v>
                </c:pt>
                <c:pt idx="1083">
                  <c:v>#N/A</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AEC4-49F4-B433-99852CE35ADD}"/>
            </c:ext>
          </c:extLst>
        </c:ser>
        <c:dLbls>
          <c:showLegendKey val="0"/>
          <c:showVal val="0"/>
          <c:showCatName val="0"/>
          <c:showSerName val="0"/>
          <c:showPercent val="0"/>
          <c:showBubbleSize val="0"/>
        </c:dLbls>
        <c:axId val="1271908127"/>
        <c:axId val="1271904383"/>
      </c:scatterChart>
      <c:valAx>
        <c:axId val="1271908127"/>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4383"/>
        <c:crosses val="autoZero"/>
        <c:crossBetween val="midCat"/>
      </c:valAx>
      <c:valAx>
        <c:axId val="1271904383"/>
        <c:scaling>
          <c:orientation val="minMax"/>
          <c:max val="370"/>
          <c:min val="2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8127"/>
        <c:crosses val="autoZero"/>
        <c:crossBetween val="midCat"/>
      </c:valAx>
      <c:spPr>
        <a:noFill/>
        <a:ln>
          <a:noFill/>
        </a:ln>
        <a:effectLst/>
      </c:spPr>
    </c:plotArea>
    <c:plotVisOnly val="1"/>
    <c:dispBlanksAs val="gap"/>
    <c:showDLblsOverMax val="0"/>
  </c:chart>
  <c:spPr>
    <a:noFill/>
    <a:ln w="19050">
      <a:solidFill>
        <a:schemeClr val="tx2"/>
      </a:solid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0" i="0" baseline="0">
                <a:effectLst/>
              </a:rPr>
              <a:t>CDI (kg) v/s Hot Metal Production tons/day </a:t>
            </a:r>
            <a:endParaRPr lang="en-US">
              <a:effectLst/>
            </a:endParaRPr>
          </a:p>
        </c:rich>
      </c:tx>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2!$D$3:$D$1098</c:f>
              <c:numCache>
                <c:formatCode>0</c:formatCode>
                <c:ptCount val="1096"/>
                <c:pt idx="0">
                  <c:v>9758.2776000000013</c:v>
                </c:pt>
                <c:pt idx="1">
                  <c:v>9714.6906000000017</c:v>
                </c:pt>
                <c:pt idx="2">
                  <c:v>10113.687</c:v>
                </c:pt>
                <c:pt idx="3">
                  <c:v>10094.849400000001</c:v>
                </c:pt>
                <c:pt idx="4">
                  <c:v>10002.2646</c:v>
                </c:pt>
                <c:pt idx="5">
                  <c:v>9863.8894020000007</c:v>
                </c:pt>
                <c:pt idx="6">
                  <c:v>9449.2608</c:v>
                </c:pt>
                <c:pt idx="7">
                  <c:v>9872.5056000000004</c:v>
                </c:pt>
                <c:pt idx="8">
                  <c:v>9449.8619999999992</c:v>
                </c:pt>
                <c:pt idx="9">
                  <c:v>9873.2070000000003</c:v>
                </c:pt>
                <c:pt idx="10">
                  <c:v>9958.6776000000009</c:v>
                </c:pt>
                <c:pt idx="11">
                  <c:v>10051.663200000001</c:v>
                </c:pt>
                <c:pt idx="12">
                  <c:v>9962.8860000000004</c:v>
                </c:pt>
                <c:pt idx="13">
                  <c:v>9408.6797999999999</c:v>
                </c:pt>
                <c:pt idx="14">
                  <c:v>9827.8164000000015</c:v>
                </c:pt>
                <c:pt idx="15">
                  <c:v>10046.953799999999</c:v>
                </c:pt>
                <c:pt idx="16">
                  <c:v>10021.302600000001</c:v>
                </c:pt>
                <c:pt idx="17">
                  <c:v>9602.1659999999993</c:v>
                </c:pt>
                <c:pt idx="18">
                  <c:v>9113.9916000000012</c:v>
                </c:pt>
                <c:pt idx="19">
                  <c:v>10064.689200000001</c:v>
                </c:pt>
                <c:pt idx="20">
                  <c:v>10012.1844</c:v>
                </c:pt>
                <c:pt idx="21">
                  <c:v>9815.4917999999998</c:v>
                </c:pt>
                <c:pt idx="22">
                  <c:v>9913.4874</c:v>
                </c:pt>
                <c:pt idx="23">
                  <c:v>9818.4977999999992</c:v>
                </c:pt>
                <c:pt idx="24">
                  <c:v>9985.9320000000007</c:v>
                </c:pt>
                <c:pt idx="25">
                  <c:v>9789.8406000000014</c:v>
                </c:pt>
                <c:pt idx="26">
                  <c:v>9308.9807999999994</c:v>
                </c:pt>
                <c:pt idx="27">
                  <c:v>9877.5156000000006</c:v>
                </c:pt>
                <c:pt idx="28">
                  <c:v>9821.7042000000001</c:v>
                </c:pt>
                <c:pt idx="29">
                  <c:v>9800.7624000000014</c:v>
                </c:pt>
                <c:pt idx="30">
                  <c:v>9655.2720000000008</c:v>
                </c:pt>
                <c:pt idx="31">
                  <c:v>9853.5377400000016</c:v>
                </c:pt>
                <c:pt idx="32">
                  <c:v>9448.0583999999999</c:v>
                </c:pt>
                <c:pt idx="33">
                  <c:v>9587.2362000000012</c:v>
                </c:pt>
                <c:pt idx="34">
                  <c:v>9618.2982000000011</c:v>
                </c:pt>
                <c:pt idx="35">
                  <c:v>9029.7234000000008</c:v>
                </c:pt>
                <c:pt idx="36">
                  <c:v>9672.4062000000013</c:v>
                </c:pt>
                <c:pt idx="37">
                  <c:v>9397.5576000000019</c:v>
                </c:pt>
                <c:pt idx="38">
                  <c:v>9731.1244020000013</c:v>
                </c:pt>
                <c:pt idx="39">
                  <c:v>9752.3657999999996</c:v>
                </c:pt>
                <c:pt idx="40">
                  <c:v>9737.9369999999999</c:v>
                </c:pt>
                <c:pt idx="41">
                  <c:v>9475.4130000000005</c:v>
                </c:pt>
                <c:pt idx="42">
                  <c:v>8978.3207999999995</c:v>
                </c:pt>
                <c:pt idx="43">
                  <c:v>8586.3384000000005</c:v>
                </c:pt>
                <c:pt idx="44">
                  <c:v>7791.1512000000002</c:v>
                </c:pt>
                <c:pt idx="45">
                  <c:v>3799.3836000000001</c:v>
                </c:pt>
                <c:pt idx="46">
                  <c:v>2043.7794000000001</c:v>
                </c:pt>
                <c:pt idx="47">
                  <c:v>8437.641599999999</c:v>
                </c:pt>
                <c:pt idx="48">
                  <c:v>9041.2464</c:v>
                </c:pt>
                <c:pt idx="49">
                  <c:v>9655.6728000000003</c:v>
                </c:pt>
                <c:pt idx="50">
                  <c:v>8848.2612000000008</c:v>
                </c:pt>
                <c:pt idx="51">
                  <c:v>9586.2342000000008</c:v>
                </c:pt>
                <c:pt idx="52">
                  <c:v>9773.5079999999998</c:v>
                </c:pt>
                <c:pt idx="53">
                  <c:v>9703.2677999999996</c:v>
                </c:pt>
                <c:pt idx="54">
                  <c:v>9530.5229999999992</c:v>
                </c:pt>
                <c:pt idx="55">
                  <c:v>9961.0824000000011</c:v>
                </c:pt>
                <c:pt idx="56">
                  <c:v>10050.6612</c:v>
                </c:pt>
                <c:pt idx="57">
                  <c:v>9645.0516000000007</c:v>
                </c:pt>
                <c:pt idx="58">
                  <c:v>9673.9092000000001</c:v>
                </c:pt>
                <c:pt idx="59">
                  <c:v>9810.1912200000006</c:v>
                </c:pt>
                <c:pt idx="60">
                  <c:v>10051.663200000001</c:v>
                </c:pt>
                <c:pt idx="61">
                  <c:v>9953.3670000000002</c:v>
                </c:pt>
                <c:pt idx="62">
                  <c:v>10017.8958</c:v>
                </c:pt>
                <c:pt idx="63">
                  <c:v>9931.0223999999998</c:v>
                </c:pt>
                <c:pt idx="64">
                  <c:v>10089.939600000002</c:v>
                </c:pt>
                <c:pt idx="65">
                  <c:v>9853.8684000000012</c:v>
                </c:pt>
                <c:pt idx="66">
                  <c:v>9912.4854000000014</c:v>
                </c:pt>
                <c:pt idx="67">
                  <c:v>9649.9614000000001</c:v>
                </c:pt>
                <c:pt idx="68">
                  <c:v>8804.7744000000002</c:v>
                </c:pt>
                <c:pt idx="69">
                  <c:v>6368.4114</c:v>
                </c:pt>
                <c:pt idx="70">
                  <c:v>9747.8567999999996</c:v>
                </c:pt>
                <c:pt idx="71">
                  <c:v>9645.4524000000001</c:v>
                </c:pt>
                <c:pt idx="72">
                  <c:v>9764.2896000000019</c:v>
                </c:pt>
                <c:pt idx="73">
                  <c:v>10054.969799999999</c:v>
                </c:pt>
                <c:pt idx="74">
                  <c:v>9844.5497999999989</c:v>
                </c:pt>
                <c:pt idx="75">
                  <c:v>9767.5962</c:v>
                </c:pt>
                <c:pt idx="76">
                  <c:v>9873.6077999999998</c:v>
                </c:pt>
                <c:pt idx="77">
                  <c:v>10075.811400000001</c:v>
                </c:pt>
                <c:pt idx="78">
                  <c:v>9957.4752000000008</c:v>
                </c:pt>
                <c:pt idx="79">
                  <c:v>9921.0024000000012</c:v>
                </c:pt>
                <c:pt idx="80">
                  <c:v>9920.9022000000004</c:v>
                </c:pt>
                <c:pt idx="81">
                  <c:v>9849.7602000000006</c:v>
                </c:pt>
                <c:pt idx="82">
                  <c:v>9892.4454000000005</c:v>
                </c:pt>
                <c:pt idx="83">
                  <c:v>9993.8477999999996</c:v>
                </c:pt>
                <c:pt idx="84">
                  <c:v>9900.5616000000009</c:v>
                </c:pt>
                <c:pt idx="85">
                  <c:v>9644.3502000000008</c:v>
                </c:pt>
                <c:pt idx="86">
                  <c:v>9821.5038000000004</c:v>
                </c:pt>
                <c:pt idx="87">
                  <c:v>9906.1728000000003</c:v>
                </c:pt>
                <c:pt idx="88">
                  <c:v>9891.9343800000006</c:v>
                </c:pt>
                <c:pt idx="89">
                  <c:v>9746.7546000000002</c:v>
                </c:pt>
                <c:pt idx="90">
                  <c:v>9888.0366000000013</c:v>
                </c:pt>
                <c:pt idx="91">
                  <c:v>9864.1890000000003</c:v>
                </c:pt>
                <c:pt idx="92">
                  <c:v>9818.2974000000013</c:v>
                </c:pt>
                <c:pt idx="93">
                  <c:v>10030.120200000001</c:v>
                </c:pt>
                <c:pt idx="94">
                  <c:v>9798.3576000000012</c:v>
                </c:pt>
                <c:pt idx="95">
                  <c:v>9772.6062000000002</c:v>
                </c:pt>
                <c:pt idx="96">
                  <c:v>9911.0826000000015</c:v>
                </c:pt>
                <c:pt idx="97">
                  <c:v>9875.0106000000014</c:v>
                </c:pt>
                <c:pt idx="98">
                  <c:v>10075.3104</c:v>
                </c:pt>
                <c:pt idx="99">
                  <c:v>9616.8954000000012</c:v>
                </c:pt>
                <c:pt idx="100">
                  <c:v>9055.0740000000005</c:v>
                </c:pt>
                <c:pt idx="101">
                  <c:v>9695.1516000000011</c:v>
                </c:pt>
                <c:pt idx="102">
                  <c:v>9737.6364000000012</c:v>
                </c:pt>
                <c:pt idx="103">
                  <c:v>9848.0568000000003</c:v>
                </c:pt>
                <c:pt idx="104">
                  <c:v>9501.3239176041607</c:v>
                </c:pt>
                <c:pt idx="105">
                  <c:v>9417.7980000000007</c:v>
                </c:pt>
                <c:pt idx="106">
                  <c:v>9585.1319999999996</c:v>
                </c:pt>
                <c:pt idx="107">
                  <c:v>9808.0769999999993</c:v>
                </c:pt>
                <c:pt idx="108">
                  <c:v>9835.8324000000011</c:v>
                </c:pt>
                <c:pt idx="109">
                  <c:v>9376.5156000000006</c:v>
                </c:pt>
                <c:pt idx="110">
                  <c:v>9802.0650000000005</c:v>
                </c:pt>
                <c:pt idx="111">
                  <c:v>9770.8026000000009</c:v>
                </c:pt>
                <c:pt idx="112">
                  <c:v>9520.1022000000012</c:v>
                </c:pt>
                <c:pt idx="113">
                  <c:v>8992.0482000000011</c:v>
                </c:pt>
                <c:pt idx="114">
                  <c:v>9422.106600000001</c:v>
                </c:pt>
                <c:pt idx="115">
                  <c:v>9787.1352000000006</c:v>
                </c:pt>
                <c:pt idx="116">
                  <c:v>9700.0614000000005</c:v>
                </c:pt>
                <c:pt idx="117">
                  <c:v>9149.0616000000009</c:v>
                </c:pt>
                <c:pt idx="118">
                  <c:v>9626.0136000000002</c:v>
                </c:pt>
                <c:pt idx="119">
                  <c:v>9488.94</c:v>
                </c:pt>
                <c:pt idx="120">
                  <c:v>9910.1808000000001</c:v>
                </c:pt>
                <c:pt idx="121">
                  <c:v>9489.0401999999995</c:v>
                </c:pt>
                <c:pt idx="122">
                  <c:v>9334.0308000000005</c:v>
                </c:pt>
                <c:pt idx="123">
                  <c:v>9130.1237999999994</c:v>
                </c:pt>
                <c:pt idx="124">
                  <c:v>9240.9449999999997</c:v>
                </c:pt>
                <c:pt idx="125">
                  <c:v>9570.7031999999999</c:v>
                </c:pt>
                <c:pt idx="126">
                  <c:v>9674.0094000000008</c:v>
                </c:pt>
                <c:pt idx="127">
                  <c:v>9877.0146000000004</c:v>
                </c:pt>
                <c:pt idx="128">
                  <c:v>9937.7358000000004</c:v>
                </c:pt>
                <c:pt idx="129">
                  <c:v>9833.5277999999998</c:v>
                </c:pt>
                <c:pt idx="130">
                  <c:v>9763.9889999999996</c:v>
                </c:pt>
                <c:pt idx="131">
                  <c:v>9597.5568000000003</c:v>
                </c:pt>
                <c:pt idx="132">
                  <c:v>9522.8076000000001</c:v>
                </c:pt>
                <c:pt idx="133">
                  <c:v>9464.0903999999991</c:v>
                </c:pt>
                <c:pt idx="134">
                  <c:v>9126.6167999999998</c:v>
                </c:pt>
                <c:pt idx="135">
                  <c:v>9072.3083999999999</c:v>
                </c:pt>
                <c:pt idx="136">
                  <c:v>9560.4827999999998</c:v>
                </c:pt>
                <c:pt idx="137">
                  <c:v>9634.4303999999993</c:v>
                </c:pt>
                <c:pt idx="138">
                  <c:v>9683.3279999999995</c:v>
                </c:pt>
                <c:pt idx="139">
                  <c:v>9885.3312000000005</c:v>
                </c:pt>
                <c:pt idx="140">
                  <c:v>9464.6916000000001</c:v>
                </c:pt>
                <c:pt idx="141">
                  <c:v>8747.8608000000004</c:v>
                </c:pt>
                <c:pt idx="142">
                  <c:v>7399.1688000000004</c:v>
                </c:pt>
                <c:pt idx="143">
                  <c:v>6507.99</c:v>
                </c:pt>
                <c:pt idx="144">
                  <c:v>3375.1368000000002</c:v>
                </c:pt>
                <c:pt idx="145">
                  <c:v>80.16</c:v>
                </c:pt>
                <c:pt idx="149">
                  <c:v>1737.8688</c:v>
                </c:pt>
                <c:pt idx="150">
                  <c:v>8183.3339999999998</c:v>
                </c:pt>
                <c:pt idx="151">
                  <c:v>9642.1458000000002</c:v>
                </c:pt>
                <c:pt idx="152">
                  <c:v>10073.106</c:v>
                </c:pt>
                <c:pt idx="153">
                  <c:v>10187.634599999999</c:v>
                </c:pt>
                <c:pt idx="154">
                  <c:v>10144.5486</c:v>
                </c:pt>
                <c:pt idx="155">
                  <c:v>10030.120199999999</c:v>
                </c:pt>
                <c:pt idx="156">
                  <c:v>10039.138199999999</c:v>
                </c:pt>
                <c:pt idx="157">
                  <c:v>10085.2302</c:v>
                </c:pt>
                <c:pt idx="158">
                  <c:v>9854.4696000000004</c:v>
                </c:pt>
                <c:pt idx="159">
                  <c:v>9901.2630000000008</c:v>
                </c:pt>
                <c:pt idx="160">
                  <c:v>9762.7865999999995</c:v>
                </c:pt>
                <c:pt idx="161">
                  <c:v>9478.8197999999993</c:v>
                </c:pt>
                <c:pt idx="162">
                  <c:v>9303.0689999999995</c:v>
                </c:pt>
                <c:pt idx="163">
                  <c:v>9923.7078000000001</c:v>
                </c:pt>
                <c:pt idx="164">
                  <c:v>9955.9722000000002</c:v>
                </c:pt>
                <c:pt idx="165">
                  <c:v>9951.0624000000007</c:v>
                </c:pt>
                <c:pt idx="166">
                  <c:v>9804.8706000000002</c:v>
                </c:pt>
                <c:pt idx="167">
                  <c:v>9875.6118000000006</c:v>
                </c:pt>
                <c:pt idx="168">
                  <c:v>9792.5059199999996</c:v>
                </c:pt>
                <c:pt idx="169">
                  <c:v>9909.4192800000001</c:v>
                </c:pt>
                <c:pt idx="170">
                  <c:v>9679.6206000000002</c:v>
                </c:pt>
                <c:pt idx="171">
                  <c:v>9444.8520000000008</c:v>
                </c:pt>
                <c:pt idx="172">
                  <c:v>9654.7710000000006</c:v>
                </c:pt>
                <c:pt idx="173">
                  <c:v>9518.4989999999998</c:v>
                </c:pt>
                <c:pt idx="174">
                  <c:v>9466.2947999999997</c:v>
                </c:pt>
                <c:pt idx="175">
                  <c:v>9616.3943999999992</c:v>
                </c:pt>
                <c:pt idx="176">
                  <c:v>9152.3682000000008</c:v>
                </c:pt>
                <c:pt idx="177">
                  <c:v>8835.4356000000007</c:v>
                </c:pt>
                <c:pt idx="178">
                  <c:v>9634.23</c:v>
                </c:pt>
                <c:pt idx="179">
                  <c:v>9342.5478000000003</c:v>
                </c:pt>
                <c:pt idx="180">
                  <c:v>9714.2898000000005</c:v>
                </c:pt>
                <c:pt idx="181">
                  <c:v>10003.5672</c:v>
                </c:pt>
                <c:pt idx="182">
                  <c:v>9753.0671999999995</c:v>
                </c:pt>
                <c:pt idx="183">
                  <c:v>9968.6975999999995</c:v>
                </c:pt>
                <c:pt idx="184">
                  <c:v>9800.2613999999994</c:v>
                </c:pt>
                <c:pt idx="185">
                  <c:v>9795.5519999999997</c:v>
                </c:pt>
                <c:pt idx="186">
                  <c:v>9674.2098000000005</c:v>
                </c:pt>
                <c:pt idx="187">
                  <c:v>9710.8829999999998</c:v>
                </c:pt>
                <c:pt idx="188">
                  <c:v>9857.0748000000003</c:v>
                </c:pt>
                <c:pt idx="189">
                  <c:v>9837.7361999999994</c:v>
                </c:pt>
                <c:pt idx="190">
                  <c:v>9875.6118000000006</c:v>
                </c:pt>
                <c:pt idx="191">
                  <c:v>9800.4617999999991</c:v>
                </c:pt>
                <c:pt idx="192">
                  <c:v>9805.5720000000001</c:v>
                </c:pt>
                <c:pt idx="193">
                  <c:v>9823.107</c:v>
                </c:pt>
                <c:pt idx="194">
                  <c:v>9744.6504000000004</c:v>
                </c:pt>
                <c:pt idx="195">
                  <c:v>9618.0977999999996</c:v>
                </c:pt>
                <c:pt idx="196">
                  <c:v>9881.8241999999991</c:v>
                </c:pt>
                <c:pt idx="197">
                  <c:v>9953.7677999999996</c:v>
                </c:pt>
                <c:pt idx="198">
                  <c:v>9917.1947999999993</c:v>
                </c:pt>
                <c:pt idx="199">
                  <c:v>9971.7036000000007</c:v>
                </c:pt>
                <c:pt idx="200">
                  <c:v>9811.5840000000007</c:v>
                </c:pt>
                <c:pt idx="201">
                  <c:v>9882.1247999999996</c:v>
                </c:pt>
                <c:pt idx="202">
                  <c:v>9861.5838000000003</c:v>
                </c:pt>
                <c:pt idx="203">
                  <c:v>9875.1108000000004</c:v>
                </c:pt>
                <c:pt idx="204">
                  <c:v>9902.7659999999996</c:v>
                </c:pt>
                <c:pt idx="205">
                  <c:v>9843.4475999999995</c:v>
                </c:pt>
                <c:pt idx="206">
                  <c:v>9465.7937999999995</c:v>
                </c:pt>
                <c:pt idx="207">
                  <c:v>9631.8251999999993</c:v>
                </c:pt>
                <c:pt idx="208">
                  <c:v>9965.9922000000006</c:v>
                </c:pt>
                <c:pt idx="209">
                  <c:v>9748.6584000000003</c:v>
                </c:pt>
                <c:pt idx="210">
                  <c:v>10105.3704</c:v>
                </c:pt>
                <c:pt idx="211">
                  <c:v>9973.7075999999997</c:v>
                </c:pt>
                <c:pt idx="212">
                  <c:v>9940.3410000000003</c:v>
                </c:pt>
                <c:pt idx="213">
                  <c:v>9795.5519999999997</c:v>
                </c:pt>
                <c:pt idx="214">
                  <c:v>9441.5454000000009</c:v>
                </c:pt>
                <c:pt idx="215">
                  <c:v>9823.4076000000005</c:v>
                </c:pt>
                <c:pt idx="216">
                  <c:v>10054.469802</c:v>
                </c:pt>
                <c:pt idx="217">
                  <c:v>9885.3312000000005</c:v>
                </c:pt>
                <c:pt idx="218">
                  <c:v>9848.6579999999994</c:v>
                </c:pt>
                <c:pt idx="219">
                  <c:v>7767.8046000000004</c:v>
                </c:pt>
                <c:pt idx="220">
                  <c:v>9950.6615999999995</c:v>
                </c:pt>
                <c:pt idx="221">
                  <c:v>9845.652</c:v>
                </c:pt>
                <c:pt idx="222">
                  <c:v>9818.9987999999994</c:v>
                </c:pt>
                <c:pt idx="223">
                  <c:v>9643.0475999999999</c:v>
                </c:pt>
                <c:pt idx="224">
                  <c:v>10003.968000000001</c:v>
                </c:pt>
                <c:pt idx="225">
                  <c:v>10003.8678</c:v>
                </c:pt>
                <c:pt idx="226">
                  <c:v>9457.0763999999999</c:v>
                </c:pt>
                <c:pt idx="227">
                  <c:v>9986.1324000000004</c:v>
                </c:pt>
                <c:pt idx="228">
                  <c:v>9983.0262000000002</c:v>
                </c:pt>
                <c:pt idx="229">
                  <c:v>10016.6934</c:v>
                </c:pt>
                <c:pt idx="230">
                  <c:v>9517.9979999999996</c:v>
                </c:pt>
                <c:pt idx="231">
                  <c:v>9980.7216000000008</c:v>
                </c:pt>
                <c:pt idx="232">
                  <c:v>9904.2690000000002</c:v>
                </c:pt>
                <c:pt idx="233">
                  <c:v>9805.3716000000004</c:v>
                </c:pt>
                <c:pt idx="234">
                  <c:v>9984.7296000000006</c:v>
                </c:pt>
                <c:pt idx="235">
                  <c:v>9778.6182000000008</c:v>
                </c:pt>
                <c:pt idx="236">
                  <c:v>9823.3073999999997</c:v>
                </c:pt>
                <c:pt idx="237">
                  <c:v>9806.1731999999993</c:v>
                </c:pt>
                <c:pt idx="238">
                  <c:v>9787.2353499000001</c:v>
                </c:pt>
                <c:pt idx="239">
                  <c:v>9860.6820000000007</c:v>
                </c:pt>
                <c:pt idx="240">
                  <c:v>9209.2818000000007</c:v>
                </c:pt>
                <c:pt idx="241">
                  <c:v>9146.7569999999996</c:v>
                </c:pt>
                <c:pt idx="242">
                  <c:v>9054.2723999999998</c:v>
                </c:pt>
                <c:pt idx="243">
                  <c:v>9212.9892</c:v>
                </c:pt>
                <c:pt idx="244">
                  <c:v>9183.8310000000001</c:v>
                </c:pt>
                <c:pt idx="245">
                  <c:v>7552.0739999999996</c:v>
                </c:pt>
                <c:pt idx="246">
                  <c:v>5963.7035999999998</c:v>
                </c:pt>
                <c:pt idx="247">
                  <c:v>6292.7604000000001</c:v>
                </c:pt>
                <c:pt idx="248">
                  <c:v>6201.2777999999998</c:v>
                </c:pt>
                <c:pt idx="249">
                  <c:v>7379.1288000000004</c:v>
                </c:pt>
                <c:pt idx="250">
                  <c:v>7475.4210000000003</c:v>
                </c:pt>
                <c:pt idx="251">
                  <c:v>8539.6452000000008</c:v>
                </c:pt>
                <c:pt idx="252">
                  <c:v>9051.1661999999997</c:v>
                </c:pt>
                <c:pt idx="253">
                  <c:v>8604.9755999999998</c:v>
                </c:pt>
                <c:pt idx="254">
                  <c:v>8571.7091999999993</c:v>
                </c:pt>
                <c:pt idx="255">
                  <c:v>8140.4484000000002</c:v>
                </c:pt>
                <c:pt idx="256">
                  <c:v>9428.5193999999992</c:v>
                </c:pt>
                <c:pt idx="257">
                  <c:v>9895.4513999999999</c:v>
                </c:pt>
                <c:pt idx="258">
                  <c:v>9335.634</c:v>
                </c:pt>
                <c:pt idx="259">
                  <c:v>6272.52</c:v>
                </c:pt>
                <c:pt idx="260">
                  <c:v>1875.1428000000001</c:v>
                </c:pt>
                <c:pt idx="261">
                  <c:v>9026.2163999999993</c:v>
                </c:pt>
                <c:pt idx="262">
                  <c:v>9004.9740000000002</c:v>
                </c:pt>
                <c:pt idx="263">
                  <c:v>8594.0537999999997</c:v>
                </c:pt>
                <c:pt idx="264">
                  <c:v>9053.1702000000005</c:v>
                </c:pt>
                <c:pt idx="265">
                  <c:v>9688.1376</c:v>
                </c:pt>
                <c:pt idx="266">
                  <c:v>9420.7037999999993</c:v>
                </c:pt>
                <c:pt idx="267">
                  <c:v>6210.2957999999999</c:v>
                </c:pt>
                <c:pt idx="268">
                  <c:v>9978.1164000000008</c:v>
                </c:pt>
                <c:pt idx="269">
                  <c:v>9740.0411999999997</c:v>
                </c:pt>
                <c:pt idx="270">
                  <c:v>9631.8251999999993</c:v>
                </c:pt>
                <c:pt idx="271">
                  <c:v>9354.4716000000008</c:v>
                </c:pt>
                <c:pt idx="272">
                  <c:v>9779.8205999999991</c:v>
                </c:pt>
                <c:pt idx="273">
                  <c:v>9948.357</c:v>
                </c:pt>
                <c:pt idx="274">
                  <c:v>9800.1612000000005</c:v>
                </c:pt>
                <c:pt idx="275">
                  <c:v>9603.4686000000002</c:v>
                </c:pt>
                <c:pt idx="276">
                  <c:v>9828.0167999999994</c:v>
                </c:pt>
                <c:pt idx="277">
                  <c:v>9620.7029999999995</c:v>
                </c:pt>
                <c:pt idx="278">
                  <c:v>9177.7188000000006</c:v>
                </c:pt>
                <c:pt idx="279">
                  <c:v>9739.7405999999992</c:v>
                </c:pt>
                <c:pt idx="280">
                  <c:v>10037.8356</c:v>
                </c:pt>
                <c:pt idx="281">
                  <c:v>9923.9081999999999</c:v>
                </c:pt>
                <c:pt idx="282">
                  <c:v>9999.6594000000005</c:v>
                </c:pt>
                <c:pt idx="283">
                  <c:v>10037.234399999999</c:v>
                </c:pt>
                <c:pt idx="284">
                  <c:v>10072.304400000001</c:v>
                </c:pt>
                <c:pt idx="285">
                  <c:v>9930.4212000000007</c:v>
                </c:pt>
                <c:pt idx="286">
                  <c:v>9935.4312000000009</c:v>
                </c:pt>
                <c:pt idx="287">
                  <c:v>9906.7739999999994</c:v>
                </c:pt>
                <c:pt idx="288">
                  <c:v>9757.5761999999995</c:v>
                </c:pt>
                <c:pt idx="289">
                  <c:v>9791.6442000000006</c:v>
                </c:pt>
                <c:pt idx="290">
                  <c:v>9790.0409999999993</c:v>
                </c:pt>
                <c:pt idx="291">
                  <c:v>9041.2464</c:v>
                </c:pt>
                <c:pt idx="292">
                  <c:v>9376.7160000000003</c:v>
                </c:pt>
                <c:pt idx="293">
                  <c:v>9678.3179999999993</c:v>
                </c:pt>
                <c:pt idx="294">
                  <c:v>9726.9150000000009</c:v>
                </c:pt>
                <c:pt idx="295">
                  <c:v>9580.2222000000002</c:v>
                </c:pt>
                <c:pt idx="296">
                  <c:v>9636.5346000000009</c:v>
                </c:pt>
                <c:pt idx="297">
                  <c:v>9445.7538000000004</c:v>
                </c:pt>
                <c:pt idx="298">
                  <c:v>9861.3834000000006</c:v>
                </c:pt>
                <c:pt idx="299">
                  <c:v>9396.5555999999997</c:v>
                </c:pt>
                <c:pt idx="300">
                  <c:v>9302.7684000000008</c:v>
                </c:pt>
                <c:pt idx="301">
                  <c:v>9503.1684000000005</c:v>
                </c:pt>
                <c:pt idx="302">
                  <c:v>9790.3415999999997</c:v>
                </c:pt>
                <c:pt idx="303">
                  <c:v>9935.4312000000009</c:v>
                </c:pt>
                <c:pt idx="304">
                  <c:v>9611.8853999999992</c:v>
                </c:pt>
                <c:pt idx="305">
                  <c:v>9801.9647999999997</c:v>
                </c:pt>
                <c:pt idx="306">
                  <c:v>9785.9328000000005</c:v>
                </c:pt>
                <c:pt idx="307">
                  <c:v>9799.2594000000008</c:v>
                </c:pt>
                <c:pt idx="308">
                  <c:v>9693.1476000000002</c:v>
                </c:pt>
                <c:pt idx="309">
                  <c:v>9649.6607999999997</c:v>
                </c:pt>
                <c:pt idx="310">
                  <c:v>9826.9146000000001</c:v>
                </c:pt>
                <c:pt idx="311">
                  <c:v>9844.0488000000005</c:v>
                </c:pt>
                <c:pt idx="312">
                  <c:v>9720.7026000000005</c:v>
                </c:pt>
                <c:pt idx="313">
                  <c:v>9638.4383999999991</c:v>
                </c:pt>
                <c:pt idx="314">
                  <c:v>9558.7793999999994</c:v>
                </c:pt>
                <c:pt idx="315">
                  <c:v>9808.8786</c:v>
                </c:pt>
                <c:pt idx="316">
                  <c:v>9663.5885999999991</c:v>
                </c:pt>
                <c:pt idx="317">
                  <c:v>9443.7497999999996</c:v>
                </c:pt>
                <c:pt idx="318">
                  <c:v>9775.3116000000009</c:v>
                </c:pt>
                <c:pt idx="319">
                  <c:v>9930.4212000000007</c:v>
                </c:pt>
                <c:pt idx="320">
                  <c:v>9830.4215999999997</c:v>
                </c:pt>
                <c:pt idx="321">
                  <c:v>9864.69</c:v>
                </c:pt>
                <c:pt idx="322">
                  <c:v>9875.3112000000001</c:v>
                </c:pt>
                <c:pt idx="323">
                  <c:v>9801.5640000000003</c:v>
                </c:pt>
                <c:pt idx="324">
                  <c:v>9931.0223999999998</c:v>
                </c:pt>
                <c:pt idx="325">
                  <c:v>9934.7297999999992</c:v>
                </c:pt>
                <c:pt idx="326">
                  <c:v>10037.7354</c:v>
                </c:pt>
                <c:pt idx="327">
                  <c:v>9935.4312000000009</c:v>
                </c:pt>
                <c:pt idx="328">
                  <c:v>10023.707399999999</c:v>
                </c:pt>
                <c:pt idx="329">
                  <c:v>9950.3610000000008</c:v>
                </c:pt>
                <c:pt idx="330">
                  <c:v>9910.5815999999995</c:v>
                </c:pt>
                <c:pt idx="331">
                  <c:v>9816.9948000000004</c:v>
                </c:pt>
                <c:pt idx="332">
                  <c:v>9775.4117999999999</c:v>
                </c:pt>
                <c:pt idx="333">
                  <c:v>9903.5676000000003</c:v>
                </c:pt>
                <c:pt idx="334">
                  <c:v>7969.5072</c:v>
                </c:pt>
                <c:pt idx="335">
                  <c:v>6596.2662</c:v>
                </c:pt>
                <c:pt idx="336">
                  <c:v>9775.9128000000001</c:v>
                </c:pt>
                <c:pt idx="337">
                  <c:v>9993.9480000000003</c:v>
                </c:pt>
                <c:pt idx="338">
                  <c:v>10009.98</c:v>
                </c:pt>
                <c:pt idx="339">
                  <c:v>10098.5568</c:v>
                </c:pt>
                <c:pt idx="340">
                  <c:v>10116.893400000001</c:v>
                </c:pt>
                <c:pt idx="341">
                  <c:v>10186.833000000001</c:v>
                </c:pt>
                <c:pt idx="342">
                  <c:v>10153.5666</c:v>
                </c:pt>
                <c:pt idx="343">
                  <c:v>10096.8534</c:v>
                </c:pt>
                <c:pt idx="344">
                  <c:v>10047.354600000001</c:v>
                </c:pt>
                <c:pt idx="345">
                  <c:v>9969.6995999999999</c:v>
                </c:pt>
                <c:pt idx="346">
                  <c:v>10003.5672</c:v>
                </c:pt>
                <c:pt idx="347">
                  <c:v>10100.8614</c:v>
                </c:pt>
                <c:pt idx="348">
                  <c:v>9925.1106</c:v>
                </c:pt>
                <c:pt idx="349">
                  <c:v>10025.811600000001</c:v>
                </c:pt>
                <c:pt idx="350">
                  <c:v>9991.5432000000001</c:v>
                </c:pt>
                <c:pt idx="351">
                  <c:v>10204.7688</c:v>
                </c:pt>
                <c:pt idx="352">
                  <c:v>10040.040000000001</c:v>
                </c:pt>
                <c:pt idx="353">
                  <c:v>9950.1605999999992</c:v>
                </c:pt>
                <c:pt idx="354">
                  <c:v>10005.471</c:v>
                </c:pt>
                <c:pt idx="355">
                  <c:v>10026.1122</c:v>
                </c:pt>
                <c:pt idx="356">
                  <c:v>8911.7880000000005</c:v>
                </c:pt>
                <c:pt idx="357">
                  <c:v>8052.8735999999999</c:v>
                </c:pt>
                <c:pt idx="358">
                  <c:v>10066.6932</c:v>
                </c:pt>
                <c:pt idx="359">
                  <c:v>10022.8056</c:v>
                </c:pt>
                <c:pt idx="360">
                  <c:v>10100.761200000001</c:v>
                </c:pt>
                <c:pt idx="361">
                  <c:v>10115.691000000001</c:v>
                </c:pt>
                <c:pt idx="362">
                  <c:v>10066.092000000001</c:v>
                </c:pt>
                <c:pt idx="363">
                  <c:v>8340.0468000000001</c:v>
                </c:pt>
                <c:pt idx="364">
                  <c:v>6242.6603999999998</c:v>
                </c:pt>
                <c:pt idx="365">
                  <c:v>1959.912</c:v>
                </c:pt>
                <c:pt idx="366" formatCode="General">
                  <c:v>10079.8194</c:v>
                </c:pt>
                <c:pt idx="367">
                  <c:v>9947.4552000000003</c:v>
                </c:pt>
                <c:pt idx="368">
                  <c:v>10069.9998</c:v>
                </c:pt>
                <c:pt idx="369">
                  <c:v>10174.0074</c:v>
                </c:pt>
                <c:pt idx="370">
                  <c:v>10174.308000000001</c:v>
                </c:pt>
                <c:pt idx="371">
                  <c:v>10180.32</c:v>
                </c:pt>
                <c:pt idx="372">
                  <c:v>10295.950800000001</c:v>
                </c:pt>
                <c:pt idx="373">
                  <c:v>10187.5344</c:v>
                </c:pt>
                <c:pt idx="374">
                  <c:v>10178.816999999999</c:v>
                </c:pt>
                <c:pt idx="375">
                  <c:v>9872.4053999999996</c:v>
                </c:pt>
                <c:pt idx="376">
                  <c:v>10000.460999999999</c:v>
                </c:pt>
                <c:pt idx="377">
                  <c:v>10052.364600000001</c:v>
                </c:pt>
                <c:pt idx="378">
                  <c:v>10046.052</c:v>
                </c:pt>
                <c:pt idx="379">
                  <c:v>10004.1684</c:v>
                </c:pt>
                <c:pt idx="380">
                  <c:v>10111.0818</c:v>
                </c:pt>
                <c:pt idx="381">
                  <c:v>10313.585999999999</c:v>
                </c:pt>
                <c:pt idx="382">
                  <c:v>10172.604600000001</c:v>
                </c:pt>
                <c:pt idx="383">
                  <c:v>10053.566999999999</c:v>
                </c:pt>
                <c:pt idx="384">
                  <c:v>10030.9218</c:v>
                </c:pt>
                <c:pt idx="385">
                  <c:v>10139.0376</c:v>
                </c:pt>
                <c:pt idx="386">
                  <c:v>10129.518599999999</c:v>
                </c:pt>
                <c:pt idx="387">
                  <c:v>10053.366599999999</c:v>
                </c:pt>
                <c:pt idx="388">
                  <c:v>10029.9198</c:v>
                </c:pt>
                <c:pt idx="389">
                  <c:v>9824.9105999999992</c:v>
                </c:pt>
                <c:pt idx="390">
                  <c:v>10047.855600000001</c:v>
                </c:pt>
                <c:pt idx="391">
                  <c:v>10096.252200000001</c:v>
                </c:pt>
                <c:pt idx="392">
                  <c:v>10115.3904</c:v>
                </c:pt>
                <c:pt idx="393">
                  <c:v>10191.9432</c:v>
                </c:pt>
                <c:pt idx="394">
                  <c:v>10205.570400000001</c:v>
                </c:pt>
                <c:pt idx="395">
                  <c:v>10207.774799999999</c:v>
                </c:pt>
                <c:pt idx="396">
                  <c:v>10108.376399999999</c:v>
                </c:pt>
                <c:pt idx="397">
                  <c:v>10190.440199999999</c:v>
                </c:pt>
                <c:pt idx="398">
                  <c:v>10062.4848</c:v>
                </c:pt>
                <c:pt idx="399">
                  <c:v>10168.2459</c:v>
                </c:pt>
                <c:pt idx="400">
                  <c:v>9996.7536</c:v>
                </c:pt>
                <c:pt idx="401">
                  <c:v>10091.142</c:v>
                </c:pt>
                <c:pt idx="402">
                  <c:v>9957.5753999999997</c:v>
                </c:pt>
                <c:pt idx="403">
                  <c:v>9986.8338000000003</c:v>
                </c:pt>
                <c:pt idx="404">
                  <c:v>9923.9081999999999</c:v>
                </c:pt>
                <c:pt idx="405">
                  <c:v>9872.2049999999999</c:v>
                </c:pt>
                <c:pt idx="406">
                  <c:v>10058.777400000001</c:v>
                </c:pt>
                <c:pt idx="407">
                  <c:v>10032.8256</c:v>
                </c:pt>
                <c:pt idx="408">
                  <c:v>9764.7906000000003</c:v>
                </c:pt>
                <c:pt idx="409">
                  <c:v>10021.102199999999</c:v>
                </c:pt>
                <c:pt idx="410">
                  <c:v>9931.2227999999996</c:v>
                </c:pt>
                <c:pt idx="411">
                  <c:v>9989.7396000000008</c:v>
                </c:pt>
                <c:pt idx="412">
                  <c:v>10000.7616</c:v>
                </c:pt>
                <c:pt idx="413">
                  <c:v>10091.3424</c:v>
                </c:pt>
                <c:pt idx="414">
                  <c:v>10043.647199999999</c:v>
                </c:pt>
                <c:pt idx="415">
                  <c:v>9903.2669999999998</c:v>
                </c:pt>
                <c:pt idx="416">
                  <c:v>9806.2734</c:v>
                </c:pt>
                <c:pt idx="417">
                  <c:v>10001.563200000001</c:v>
                </c:pt>
                <c:pt idx="418">
                  <c:v>10176.5124</c:v>
                </c:pt>
                <c:pt idx="419">
                  <c:v>9920.2008000000005</c:v>
                </c:pt>
                <c:pt idx="420">
                  <c:v>9952.2648000000008</c:v>
                </c:pt>
                <c:pt idx="421">
                  <c:v>9898.7579999999998</c:v>
                </c:pt>
                <c:pt idx="422">
                  <c:v>9813.7883999999995</c:v>
                </c:pt>
                <c:pt idx="423">
                  <c:v>9833.2271999999994</c:v>
                </c:pt>
                <c:pt idx="424">
                  <c:v>9988.7376000000004</c:v>
                </c:pt>
                <c:pt idx="425">
                  <c:v>9846.2531999999992</c:v>
                </c:pt>
                <c:pt idx="426">
                  <c:v>10066.6932</c:v>
                </c:pt>
                <c:pt idx="427">
                  <c:v>10163.286</c:v>
                </c:pt>
                <c:pt idx="428">
                  <c:v>10160.3802</c:v>
                </c:pt>
                <c:pt idx="429">
                  <c:v>9975.9120000000003</c:v>
                </c:pt>
                <c:pt idx="430">
                  <c:v>10027.013999999999</c:v>
                </c:pt>
                <c:pt idx="431">
                  <c:v>10021.4028</c:v>
                </c:pt>
                <c:pt idx="432">
                  <c:v>10186.131600000001</c:v>
                </c:pt>
                <c:pt idx="433">
                  <c:v>9942.7458000000006</c:v>
                </c:pt>
                <c:pt idx="434">
                  <c:v>10027.214400000001</c:v>
                </c:pt>
                <c:pt idx="435">
                  <c:v>10104.568799999999</c:v>
                </c:pt>
                <c:pt idx="436">
                  <c:v>9996.3528000000006</c:v>
                </c:pt>
                <c:pt idx="437">
                  <c:v>9878.2170000000006</c:v>
                </c:pt>
                <c:pt idx="438">
                  <c:v>9908.7780000000002</c:v>
                </c:pt>
                <c:pt idx="439">
                  <c:v>9774.9107999999997</c:v>
                </c:pt>
                <c:pt idx="440">
                  <c:v>9968.2968000000001</c:v>
                </c:pt>
                <c:pt idx="441">
                  <c:v>9664.6908000000003</c:v>
                </c:pt>
                <c:pt idx="442">
                  <c:v>9920.1005999999998</c:v>
                </c:pt>
                <c:pt idx="443">
                  <c:v>9883.5275999999994</c:v>
                </c:pt>
                <c:pt idx="444">
                  <c:v>9996.3528000000006</c:v>
                </c:pt>
                <c:pt idx="445">
                  <c:v>10058.075999999999</c:v>
                </c:pt>
                <c:pt idx="446">
                  <c:v>10025.611199999999</c:v>
                </c:pt>
                <c:pt idx="447">
                  <c:v>9880.5216</c:v>
                </c:pt>
                <c:pt idx="448">
                  <c:v>9851.9645999999993</c:v>
                </c:pt>
                <c:pt idx="449">
                  <c:v>9743.0472000000009</c:v>
                </c:pt>
                <c:pt idx="450">
                  <c:v>9864.3894</c:v>
                </c:pt>
                <c:pt idx="451">
                  <c:v>9981.5231999999996</c:v>
                </c:pt>
                <c:pt idx="452">
                  <c:v>10144.248</c:v>
                </c:pt>
                <c:pt idx="453">
                  <c:v>9945.5514000000003</c:v>
                </c:pt>
                <c:pt idx="454">
                  <c:v>9990.0401999999995</c:v>
                </c:pt>
                <c:pt idx="455">
                  <c:v>10170.1998</c:v>
                </c:pt>
                <c:pt idx="456">
                  <c:v>10048.356599999999</c:v>
                </c:pt>
                <c:pt idx="457">
                  <c:v>9741.8448000000008</c:v>
                </c:pt>
                <c:pt idx="458">
                  <c:v>10034.028</c:v>
                </c:pt>
                <c:pt idx="459">
                  <c:v>9872.4053999999996</c:v>
                </c:pt>
                <c:pt idx="460">
                  <c:v>10032.725399999999</c:v>
                </c:pt>
                <c:pt idx="461">
                  <c:v>9961.9842000000008</c:v>
                </c:pt>
                <c:pt idx="462">
                  <c:v>10098.5568</c:v>
                </c:pt>
                <c:pt idx="463">
                  <c:v>10218.195599999999</c:v>
                </c:pt>
                <c:pt idx="464">
                  <c:v>10148.456399999999</c:v>
                </c:pt>
                <c:pt idx="465">
                  <c:v>10169.3982</c:v>
                </c:pt>
                <c:pt idx="466">
                  <c:v>9897.2549999999992</c:v>
                </c:pt>
                <c:pt idx="467">
                  <c:v>7662.7950000000001</c:v>
                </c:pt>
                <c:pt idx="468">
                  <c:v>2020.7334000000001</c:v>
                </c:pt>
                <c:pt idx="469">
                  <c:v>9959.3790000000008</c:v>
                </c:pt>
                <c:pt idx="470">
                  <c:v>10001.0622</c:v>
                </c:pt>
                <c:pt idx="471">
                  <c:v>10071.9036</c:v>
                </c:pt>
                <c:pt idx="472">
                  <c:v>9938.8379999999997</c:v>
                </c:pt>
                <c:pt idx="473">
                  <c:v>9924.9102000000003</c:v>
                </c:pt>
                <c:pt idx="474">
                  <c:v>9955.6715999999997</c:v>
                </c:pt>
                <c:pt idx="475">
                  <c:v>9903.768</c:v>
                </c:pt>
                <c:pt idx="476">
                  <c:v>9943.1466</c:v>
                </c:pt>
                <c:pt idx="477">
                  <c:v>9811.7844000000005</c:v>
                </c:pt>
                <c:pt idx="478">
                  <c:v>10007.274600000001</c:v>
                </c:pt>
                <c:pt idx="479">
                  <c:v>9965.4912000000004</c:v>
                </c:pt>
                <c:pt idx="480">
                  <c:v>9762.8868000000002</c:v>
                </c:pt>
                <c:pt idx="481">
                  <c:v>9673.0074000000004</c:v>
                </c:pt>
                <c:pt idx="482">
                  <c:v>9628.5185999999994</c:v>
                </c:pt>
                <c:pt idx="483">
                  <c:v>9605.0717999999997</c:v>
                </c:pt>
                <c:pt idx="484">
                  <c:v>9744.4500000000007</c:v>
                </c:pt>
                <c:pt idx="485">
                  <c:v>9716.8950000000004</c:v>
                </c:pt>
                <c:pt idx="486">
                  <c:v>9980.8217999999997</c:v>
                </c:pt>
                <c:pt idx="487">
                  <c:v>9774.2093999999997</c:v>
                </c:pt>
                <c:pt idx="488">
                  <c:v>9862.4856</c:v>
                </c:pt>
                <c:pt idx="489">
                  <c:v>9798.7584000000006</c:v>
                </c:pt>
                <c:pt idx="490">
                  <c:v>9856.4735999999994</c:v>
                </c:pt>
                <c:pt idx="491">
                  <c:v>9691.4441999999999</c:v>
                </c:pt>
                <c:pt idx="492">
                  <c:v>9054.8736000000008</c:v>
                </c:pt>
                <c:pt idx="493">
                  <c:v>6872.4174000000003</c:v>
                </c:pt>
                <c:pt idx="494">
                  <c:v>5916.5093999999999</c:v>
                </c:pt>
                <c:pt idx="495">
                  <c:v>2896.6817999999998</c:v>
                </c:pt>
                <c:pt idx="496">
                  <c:v>2384.8602000000001</c:v>
                </c:pt>
                <c:pt idx="498">
                  <c:v>313.92660000000001</c:v>
                </c:pt>
                <c:pt idx="499">
                  <c:v>9533.9297999999999</c:v>
                </c:pt>
                <c:pt idx="500">
                  <c:v>9898.3572000000004</c:v>
                </c:pt>
                <c:pt idx="501">
                  <c:v>9844.2492000000002</c:v>
                </c:pt>
                <c:pt idx="502">
                  <c:v>9808.9788000000008</c:v>
                </c:pt>
                <c:pt idx="503">
                  <c:v>10034.629199999999</c:v>
                </c:pt>
                <c:pt idx="504">
                  <c:v>9837.8364000000001</c:v>
                </c:pt>
                <c:pt idx="505">
                  <c:v>9965.3909999999996</c:v>
                </c:pt>
                <c:pt idx="506">
                  <c:v>5406.0906000000004</c:v>
                </c:pt>
                <c:pt idx="507">
                  <c:v>9803.0669999999991</c:v>
                </c:pt>
                <c:pt idx="508">
                  <c:v>9597.3564000000006</c:v>
                </c:pt>
                <c:pt idx="509">
                  <c:v>9885.8322000000007</c:v>
                </c:pt>
                <c:pt idx="510">
                  <c:v>9969.1985999999997</c:v>
                </c:pt>
                <c:pt idx="511">
                  <c:v>9850.0607999999993</c:v>
                </c:pt>
                <c:pt idx="512">
                  <c:v>9705.5723999999991</c:v>
                </c:pt>
                <c:pt idx="513">
                  <c:v>9863.5877999999993</c:v>
                </c:pt>
                <c:pt idx="514">
                  <c:v>9857.9766</c:v>
                </c:pt>
                <c:pt idx="515">
                  <c:v>9817.3955999999998</c:v>
                </c:pt>
                <c:pt idx="516">
                  <c:v>9861.8844000000008</c:v>
                </c:pt>
                <c:pt idx="517">
                  <c:v>10002.966</c:v>
                </c:pt>
                <c:pt idx="518">
                  <c:v>9787.6362000000008</c:v>
                </c:pt>
                <c:pt idx="519">
                  <c:v>9984.5292000000009</c:v>
                </c:pt>
                <c:pt idx="520">
                  <c:v>9931.2227999999996</c:v>
                </c:pt>
                <c:pt idx="521">
                  <c:v>10115.490599999999</c:v>
                </c:pt>
                <c:pt idx="522">
                  <c:v>9937.0344000000005</c:v>
                </c:pt>
                <c:pt idx="523">
                  <c:v>9811.3835999999992</c:v>
                </c:pt>
                <c:pt idx="524">
                  <c:v>9774.9107999999997</c:v>
                </c:pt>
                <c:pt idx="525">
                  <c:v>9660.3822</c:v>
                </c:pt>
                <c:pt idx="526">
                  <c:v>9678.9192000000003</c:v>
                </c:pt>
                <c:pt idx="527">
                  <c:v>9484.8317999999999</c:v>
                </c:pt>
                <c:pt idx="528">
                  <c:v>9572.7072000000007</c:v>
                </c:pt>
                <c:pt idx="529">
                  <c:v>9569.3705399999999</c:v>
                </c:pt>
                <c:pt idx="530">
                  <c:v>9618.2981999999993</c:v>
                </c:pt>
                <c:pt idx="531">
                  <c:v>9498.9599999999991</c:v>
                </c:pt>
                <c:pt idx="532">
                  <c:v>9598.1579999999994</c:v>
                </c:pt>
                <c:pt idx="533">
                  <c:v>9305.8745999999992</c:v>
                </c:pt>
                <c:pt idx="534">
                  <c:v>9618.6990000000005</c:v>
                </c:pt>
                <c:pt idx="535">
                  <c:v>9815.6921999999995</c:v>
                </c:pt>
                <c:pt idx="536">
                  <c:v>9810.4817999999996</c:v>
                </c:pt>
                <c:pt idx="537">
                  <c:v>9545.5529999999999</c:v>
                </c:pt>
                <c:pt idx="538">
                  <c:v>9404.1707999999999</c:v>
                </c:pt>
                <c:pt idx="539">
                  <c:v>9505.1824199999992</c:v>
                </c:pt>
                <c:pt idx="540">
                  <c:v>9540.6432000000004</c:v>
                </c:pt>
                <c:pt idx="541">
                  <c:v>9288.5400000000009</c:v>
                </c:pt>
                <c:pt idx="542">
                  <c:v>8730.1254000000008</c:v>
                </c:pt>
                <c:pt idx="543">
                  <c:v>9077.3184000000001</c:v>
                </c:pt>
                <c:pt idx="544">
                  <c:v>8795.7564000000002</c:v>
                </c:pt>
                <c:pt idx="545">
                  <c:v>9383.2289999999994</c:v>
                </c:pt>
                <c:pt idx="546">
                  <c:v>9384.6317999999992</c:v>
                </c:pt>
                <c:pt idx="547">
                  <c:v>9537.0360000000001</c:v>
                </c:pt>
                <c:pt idx="548">
                  <c:v>9823.8083999999999</c:v>
                </c:pt>
                <c:pt idx="549">
                  <c:v>9686.0334000000003</c:v>
                </c:pt>
                <c:pt idx="550">
                  <c:v>9803.0669999999991</c:v>
                </c:pt>
                <c:pt idx="551">
                  <c:v>10009.178400000001</c:v>
                </c:pt>
                <c:pt idx="552">
                  <c:v>9912.9863999999998</c:v>
                </c:pt>
                <c:pt idx="553">
                  <c:v>9869.2991999999995</c:v>
                </c:pt>
                <c:pt idx="554">
                  <c:v>9857.9766</c:v>
                </c:pt>
                <c:pt idx="555">
                  <c:v>9700.8629999999994</c:v>
                </c:pt>
                <c:pt idx="556">
                  <c:v>9752.0651999999991</c:v>
                </c:pt>
                <c:pt idx="557">
                  <c:v>9741.6443999999992</c:v>
                </c:pt>
                <c:pt idx="558">
                  <c:v>9897.7559999999994</c:v>
                </c:pt>
                <c:pt idx="559">
                  <c:v>9998.5571999999993</c:v>
                </c:pt>
                <c:pt idx="560">
                  <c:v>9869.5998</c:v>
                </c:pt>
                <c:pt idx="561">
                  <c:v>9821.8044000000009</c:v>
                </c:pt>
                <c:pt idx="562">
                  <c:v>9532.8276000000005</c:v>
                </c:pt>
                <c:pt idx="563">
                  <c:v>9742.1453999999994</c:v>
                </c:pt>
                <c:pt idx="564">
                  <c:v>9331.9266000000007</c:v>
                </c:pt>
                <c:pt idx="565">
                  <c:v>9649.6607999999997</c:v>
                </c:pt>
                <c:pt idx="566">
                  <c:v>9794.7504000000008</c:v>
                </c:pt>
                <c:pt idx="567">
                  <c:v>9492.9480000000003</c:v>
                </c:pt>
                <c:pt idx="568">
                  <c:v>8828.4215999999997</c:v>
                </c:pt>
                <c:pt idx="569">
                  <c:v>8891.3472000000002</c:v>
                </c:pt>
                <c:pt idx="570">
                  <c:v>6971.5151999999998</c:v>
                </c:pt>
                <c:pt idx="571">
                  <c:v>8668.7528999999995</c:v>
                </c:pt>
                <c:pt idx="572">
                  <c:v>8332.1309999999994</c:v>
                </c:pt>
                <c:pt idx="573">
                  <c:v>9215.3940000000002</c:v>
                </c:pt>
                <c:pt idx="574">
                  <c:v>9364.1910000000007</c:v>
                </c:pt>
                <c:pt idx="575">
                  <c:v>9832.5257999999994</c:v>
                </c:pt>
                <c:pt idx="576">
                  <c:v>9623.9094000000005</c:v>
                </c:pt>
                <c:pt idx="577">
                  <c:v>9636.6347999999998</c:v>
                </c:pt>
                <c:pt idx="578">
                  <c:v>9779.7204000000002</c:v>
                </c:pt>
                <c:pt idx="579">
                  <c:v>9621.8052000000007</c:v>
                </c:pt>
                <c:pt idx="580">
                  <c:v>9351.8664000000008</c:v>
                </c:pt>
                <c:pt idx="581">
                  <c:v>9150.7649999999994</c:v>
                </c:pt>
                <c:pt idx="582">
                  <c:v>9744.6504000000004</c:v>
                </c:pt>
                <c:pt idx="583">
                  <c:v>9891.2430000000004</c:v>
                </c:pt>
                <c:pt idx="584">
                  <c:v>9573.8094000000001</c:v>
                </c:pt>
                <c:pt idx="585">
                  <c:v>9333.3294000000005</c:v>
                </c:pt>
                <c:pt idx="586">
                  <c:v>9077.3184000000001</c:v>
                </c:pt>
                <c:pt idx="587">
                  <c:v>9518.4989999999998</c:v>
                </c:pt>
                <c:pt idx="588">
                  <c:v>9687.4362000000001</c:v>
                </c:pt>
                <c:pt idx="589">
                  <c:v>9720.2016000000003</c:v>
                </c:pt>
                <c:pt idx="590">
                  <c:v>9580.0218000000004</c:v>
                </c:pt>
                <c:pt idx="591">
                  <c:v>9568.6991999999991</c:v>
                </c:pt>
                <c:pt idx="592">
                  <c:v>9546.0540000000001</c:v>
                </c:pt>
                <c:pt idx="593">
                  <c:v>9692.8469999999998</c:v>
                </c:pt>
                <c:pt idx="594">
                  <c:v>9926.9141999999993</c:v>
                </c:pt>
                <c:pt idx="595">
                  <c:v>9820.7021999999997</c:v>
                </c:pt>
                <c:pt idx="596">
                  <c:v>9800.4117000000006</c:v>
                </c:pt>
                <c:pt idx="597">
                  <c:v>9827.5157999999992</c:v>
                </c:pt>
                <c:pt idx="598">
                  <c:v>9799.6602000000003</c:v>
                </c:pt>
                <c:pt idx="599">
                  <c:v>9510.8837999999996</c:v>
                </c:pt>
                <c:pt idx="600">
                  <c:v>9467.1965999999993</c:v>
                </c:pt>
                <c:pt idx="601">
                  <c:v>9000.3147000000008</c:v>
                </c:pt>
                <c:pt idx="602">
                  <c:v>9673.7088000000003</c:v>
                </c:pt>
                <c:pt idx="603">
                  <c:v>9256.3757999999998</c:v>
                </c:pt>
                <c:pt idx="604">
                  <c:v>9424.5113999999994</c:v>
                </c:pt>
                <c:pt idx="605">
                  <c:v>9798.7584000000006</c:v>
                </c:pt>
                <c:pt idx="606">
                  <c:v>9829.2191999999995</c:v>
                </c:pt>
                <c:pt idx="607">
                  <c:v>8741.8487999999998</c:v>
                </c:pt>
                <c:pt idx="608">
                  <c:v>9703.0673999999999</c:v>
                </c:pt>
                <c:pt idx="609">
                  <c:v>9762.5861999999997</c:v>
                </c:pt>
                <c:pt idx="610">
                  <c:v>9434.4312000000009</c:v>
                </c:pt>
                <c:pt idx="611">
                  <c:v>9772.4559000000008</c:v>
                </c:pt>
                <c:pt idx="612">
                  <c:v>9589.9416000000001</c:v>
                </c:pt>
                <c:pt idx="613">
                  <c:v>9835.1309999999994</c:v>
                </c:pt>
                <c:pt idx="614">
                  <c:v>9932.5254000000004</c:v>
                </c:pt>
                <c:pt idx="615">
                  <c:v>9673.2078000000001</c:v>
                </c:pt>
                <c:pt idx="616">
                  <c:v>9533.8295999999991</c:v>
                </c:pt>
                <c:pt idx="617">
                  <c:v>9345.8544000000002</c:v>
                </c:pt>
                <c:pt idx="618">
                  <c:v>9750.8628000000008</c:v>
                </c:pt>
                <c:pt idx="619">
                  <c:v>9806.5740000000005</c:v>
                </c:pt>
                <c:pt idx="620">
                  <c:v>9806.0730000000003</c:v>
                </c:pt>
                <c:pt idx="621">
                  <c:v>9218.8008000000009</c:v>
                </c:pt>
                <c:pt idx="622">
                  <c:v>9513.0882000000001</c:v>
                </c:pt>
                <c:pt idx="623">
                  <c:v>9032.7294000000002</c:v>
                </c:pt>
                <c:pt idx="624">
                  <c:v>9006.9779999999992</c:v>
                </c:pt>
                <c:pt idx="625">
                  <c:v>8261.991</c:v>
                </c:pt>
                <c:pt idx="626">
                  <c:v>7901.4714000000004</c:v>
                </c:pt>
                <c:pt idx="627">
                  <c:v>7778.9268000000002</c:v>
                </c:pt>
                <c:pt idx="628">
                  <c:v>7672.2138000000004</c:v>
                </c:pt>
                <c:pt idx="629">
                  <c:v>8984.1324000000004</c:v>
                </c:pt>
                <c:pt idx="630">
                  <c:v>9522.1062000000002</c:v>
                </c:pt>
                <c:pt idx="631">
                  <c:v>9589.14</c:v>
                </c:pt>
                <c:pt idx="632">
                  <c:v>9833.1270000000004</c:v>
                </c:pt>
                <c:pt idx="633">
                  <c:v>9753.3678</c:v>
                </c:pt>
                <c:pt idx="634">
                  <c:v>9936.7338</c:v>
                </c:pt>
                <c:pt idx="635">
                  <c:v>9788.1371999999992</c:v>
                </c:pt>
                <c:pt idx="636">
                  <c:v>9677.0154000000002</c:v>
                </c:pt>
                <c:pt idx="637">
                  <c:v>9707.2757999999994</c:v>
                </c:pt>
                <c:pt idx="638">
                  <c:v>9416.3952000000008</c:v>
                </c:pt>
                <c:pt idx="639">
                  <c:v>8157.3822</c:v>
                </c:pt>
                <c:pt idx="640">
                  <c:v>7422.2147999999997</c:v>
                </c:pt>
                <c:pt idx="641">
                  <c:v>2558.2062000000001</c:v>
                </c:pt>
                <c:pt idx="642">
                  <c:v>0</c:v>
                </c:pt>
                <c:pt idx="643">
                  <c:v>1892.277</c:v>
                </c:pt>
                <c:pt idx="644">
                  <c:v>8853.9725999999991</c:v>
                </c:pt>
                <c:pt idx="645">
                  <c:v>9113.4905999999992</c:v>
                </c:pt>
                <c:pt idx="646">
                  <c:v>9044.6532000000007</c:v>
                </c:pt>
                <c:pt idx="647">
                  <c:v>9143.5506000000005</c:v>
                </c:pt>
                <c:pt idx="648">
                  <c:v>9165.6947999999993</c:v>
                </c:pt>
                <c:pt idx="649">
                  <c:v>9552.0660000000007</c:v>
                </c:pt>
                <c:pt idx="650">
                  <c:v>9262.3878000000004</c:v>
                </c:pt>
                <c:pt idx="651">
                  <c:v>9544.8516</c:v>
                </c:pt>
                <c:pt idx="652">
                  <c:v>9615.4925999999996</c:v>
                </c:pt>
                <c:pt idx="653">
                  <c:v>9724.41</c:v>
                </c:pt>
                <c:pt idx="654">
                  <c:v>9831.9246000000003</c:v>
                </c:pt>
                <c:pt idx="655">
                  <c:v>6172.5204000000003</c:v>
                </c:pt>
                <c:pt idx="656">
                  <c:v>9579.7212</c:v>
                </c:pt>
                <c:pt idx="657">
                  <c:v>9495.6533999999992</c:v>
                </c:pt>
                <c:pt idx="658">
                  <c:v>9736.3338000000003</c:v>
                </c:pt>
                <c:pt idx="659">
                  <c:v>9361.4856</c:v>
                </c:pt>
                <c:pt idx="660">
                  <c:v>9841.3433999999997</c:v>
                </c:pt>
                <c:pt idx="661">
                  <c:v>9530.7234000000008</c:v>
                </c:pt>
                <c:pt idx="662">
                  <c:v>9971.2026000000005</c:v>
                </c:pt>
                <c:pt idx="663">
                  <c:v>9893.3472000000002</c:v>
                </c:pt>
                <c:pt idx="664">
                  <c:v>9887.1347999999998</c:v>
                </c:pt>
                <c:pt idx="665">
                  <c:v>9955.6715999999997</c:v>
                </c:pt>
                <c:pt idx="666">
                  <c:v>9573.4086000000007</c:v>
                </c:pt>
                <c:pt idx="667">
                  <c:v>9650.3621999999996</c:v>
                </c:pt>
                <c:pt idx="668">
                  <c:v>9750.8628000000008</c:v>
                </c:pt>
                <c:pt idx="669">
                  <c:v>9262.8888000000006</c:v>
                </c:pt>
                <c:pt idx="670">
                  <c:v>10164.338100000001</c:v>
                </c:pt>
                <c:pt idx="671">
                  <c:v>9711.8850000000002</c:v>
                </c:pt>
                <c:pt idx="672">
                  <c:v>9837.2351999999992</c:v>
                </c:pt>
                <c:pt idx="673">
                  <c:v>9921.7037999999993</c:v>
                </c:pt>
                <c:pt idx="674">
                  <c:v>9773.6082000000006</c:v>
                </c:pt>
                <c:pt idx="675">
                  <c:v>9916.9943999999996</c:v>
                </c:pt>
                <c:pt idx="676">
                  <c:v>9830.6219999999994</c:v>
                </c:pt>
                <c:pt idx="677">
                  <c:v>9748.8588</c:v>
                </c:pt>
                <c:pt idx="678">
                  <c:v>9961.2828000000009</c:v>
                </c:pt>
                <c:pt idx="679">
                  <c:v>9529.9218000000001</c:v>
                </c:pt>
                <c:pt idx="680">
                  <c:v>9788.6381999999994</c:v>
                </c:pt>
                <c:pt idx="681">
                  <c:v>9527.3166000000001</c:v>
                </c:pt>
                <c:pt idx="682">
                  <c:v>9411.9863999999998</c:v>
                </c:pt>
                <c:pt idx="683">
                  <c:v>9907.1748000000007</c:v>
                </c:pt>
                <c:pt idx="684">
                  <c:v>9006.7775999999994</c:v>
                </c:pt>
                <c:pt idx="685">
                  <c:v>9954.7698</c:v>
                </c:pt>
                <c:pt idx="686">
                  <c:v>9736.0331999999999</c:v>
                </c:pt>
                <c:pt idx="687">
                  <c:v>9767.0951999999997</c:v>
                </c:pt>
                <c:pt idx="688">
                  <c:v>9845.7522000000008</c:v>
                </c:pt>
                <c:pt idx="689">
                  <c:v>9731.9249999999993</c:v>
                </c:pt>
                <c:pt idx="690">
                  <c:v>9787.2353999999996</c:v>
                </c:pt>
                <c:pt idx="691">
                  <c:v>10008.977999999999</c:v>
                </c:pt>
                <c:pt idx="692">
                  <c:v>9722.5061999999998</c:v>
                </c:pt>
                <c:pt idx="693">
                  <c:v>9675.8130000000001</c:v>
                </c:pt>
                <c:pt idx="694">
                  <c:v>9721.1034</c:v>
                </c:pt>
                <c:pt idx="695">
                  <c:v>9718.3979999999992</c:v>
                </c:pt>
                <c:pt idx="696">
                  <c:v>9815.0910000000003</c:v>
                </c:pt>
                <c:pt idx="697">
                  <c:v>9710.0813999999991</c:v>
                </c:pt>
                <c:pt idx="698">
                  <c:v>9927.8160000000007</c:v>
                </c:pt>
                <c:pt idx="699">
                  <c:v>9931.6236000000008</c:v>
                </c:pt>
                <c:pt idx="700">
                  <c:v>9922.0043999999998</c:v>
                </c:pt>
                <c:pt idx="701">
                  <c:v>9378.3191999999999</c:v>
                </c:pt>
                <c:pt idx="702">
                  <c:v>9203.2698</c:v>
                </c:pt>
                <c:pt idx="703">
                  <c:v>9923.4071999999996</c:v>
                </c:pt>
                <c:pt idx="704">
                  <c:v>9997.7556000000004</c:v>
                </c:pt>
                <c:pt idx="705">
                  <c:v>9837.8364000000001</c:v>
                </c:pt>
                <c:pt idx="706">
                  <c:v>9505.3727999999992</c:v>
                </c:pt>
                <c:pt idx="707">
                  <c:v>9910.7819999999992</c:v>
                </c:pt>
                <c:pt idx="708">
                  <c:v>9289.2414000000008</c:v>
                </c:pt>
                <c:pt idx="709">
                  <c:v>9443.9501999999993</c:v>
                </c:pt>
                <c:pt idx="710">
                  <c:v>9868.3973999999998</c:v>
                </c:pt>
                <c:pt idx="711">
                  <c:v>9932.9261999999999</c:v>
                </c:pt>
                <c:pt idx="712">
                  <c:v>9373.8101999999999</c:v>
                </c:pt>
                <c:pt idx="713">
                  <c:v>9777.7163999999993</c:v>
                </c:pt>
                <c:pt idx="714">
                  <c:v>9868.2972000000009</c:v>
                </c:pt>
                <c:pt idx="715">
                  <c:v>9955.3709999999992</c:v>
                </c:pt>
                <c:pt idx="716">
                  <c:v>10123.707</c:v>
                </c:pt>
                <c:pt idx="717">
                  <c:v>9920.0004000000008</c:v>
                </c:pt>
                <c:pt idx="718">
                  <c:v>10261.482</c:v>
                </c:pt>
                <c:pt idx="719">
                  <c:v>10078.717199999999</c:v>
                </c:pt>
                <c:pt idx="720">
                  <c:v>10076.111999999999</c:v>
                </c:pt>
                <c:pt idx="721">
                  <c:v>10113.586799999999</c:v>
                </c:pt>
                <c:pt idx="722">
                  <c:v>9940.9432020000004</c:v>
                </c:pt>
                <c:pt idx="723">
                  <c:v>9928.8179999999993</c:v>
                </c:pt>
                <c:pt idx="724">
                  <c:v>8777.52</c:v>
                </c:pt>
                <c:pt idx="725">
                  <c:v>1307.1089999999999</c:v>
                </c:pt>
                <c:pt idx="726">
                  <c:v>1980.954</c:v>
                </c:pt>
                <c:pt idx="727">
                  <c:v>9701.8649999999998</c:v>
                </c:pt>
                <c:pt idx="728">
                  <c:v>9860.9825999999994</c:v>
                </c:pt>
                <c:pt idx="729">
                  <c:v>9937.8359999999993</c:v>
                </c:pt>
                <c:pt idx="730">
                  <c:v>10076.312400000001</c:v>
                </c:pt>
                <c:pt idx="731">
                  <c:v>9784.5300200400015</c:v>
                </c:pt>
                <c:pt idx="732">
                  <c:v>9762.5860000000011</c:v>
                </c:pt>
                <c:pt idx="733">
                  <c:v>9918.2969499000028</c:v>
                </c:pt>
                <c:pt idx="734">
                  <c:v>9983.6272597200004</c:v>
                </c:pt>
                <c:pt idx="735">
                  <c:v>10097.254200000001</c:v>
                </c:pt>
                <c:pt idx="736">
                  <c:v>9828.0167198399977</c:v>
                </c:pt>
                <c:pt idx="737">
                  <c:v>9836.7341398799999</c:v>
                </c:pt>
                <c:pt idx="738">
                  <c:v>9926.8140100199998</c:v>
                </c:pt>
                <c:pt idx="739">
                  <c:v>9725.3119999999999</c:v>
                </c:pt>
                <c:pt idx="740">
                  <c:v>9853.8680000000004</c:v>
                </c:pt>
                <c:pt idx="741">
                  <c:v>9765.492040080002</c:v>
                </c:pt>
                <c:pt idx="742">
                  <c:v>9535.1322</c:v>
                </c:pt>
                <c:pt idx="743">
                  <c:v>9849.6599799600008</c:v>
                </c:pt>
                <c:pt idx="744">
                  <c:v>9953.1665799599996</c:v>
                </c:pt>
                <c:pt idx="745">
                  <c:v>10060.581070140001</c:v>
                </c:pt>
                <c:pt idx="746">
                  <c:v>10116.994000000001</c:v>
                </c:pt>
                <c:pt idx="747">
                  <c:v>9991.4430000000011</c:v>
                </c:pt>
                <c:pt idx="748">
                  <c:v>9890.4414200400024</c:v>
                </c:pt>
                <c:pt idx="749">
                  <c:v>9857.074900200003</c:v>
                </c:pt>
                <c:pt idx="750">
                  <c:v>9950.0602998000013</c:v>
                </c:pt>
                <c:pt idx="751">
                  <c:v>9713.7887398800012</c:v>
                </c:pt>
                <c:pt idx="752">
                  <c:v>9902.9664601200002</c:v>
                </c:pt>
                <c:pt idx="753">
                  <c:v>9661.1837098199976</c:v>
                </c:pt>
                <c:pt idx="754">
                  <c:v>9735.2316200400001</c:v>
                </c:pt>
                <c:pt idx="755">
                  <c:v>9894.4493999999995</c:v>
                </c:pt>
                <c:pt idx="756">
                  <c:v>9963.1866400800009</c:v>
                </c:pt>
                <c:pt idx="757">
                  <c:v>9874.6097799599993</c:v>
                </c:pt>
                <c:pt idx="758">
                  <c:v>9749.0592400799997</c:v>
                </c:pt>
                <c:pt idx="759">
                  <c:v>9817.5959799599987</c:v>
                </c:pt>
                <c:pt idx="760">
                  <c:v>9861.1829499000014</c:v>
                </c:pt>
                <c:pt idx="761">
                  <c:v>9647.1560000000009</c:v>
                </c:pt>
                <c:pt idx="762">
                  <c:v>9613.4886000000006</c:v>
                </c:pt>
                <c:pt idx="763">
                  <c:v>9837.0347999999994</c:v>
                </c:pt>
                <c:pt idx="764">
                  <c:v>9879.5196000000014</c:v>
                </c:pt>
                <c:pt idx="765">
                  <c:v>9448.9601999999995</c:v>
                </c:pt>
                <c:pt idx="766">
                  <c:v>9755.6724000000013</c:v>
                </c:pt>
                <c:pt idx="767">
                  <c:v>9677.9171999999999</c:v>
                </c:pt>
                <c:pt idx="768">
                  <c:v>9935.2307999999994</c:v>
                </c:pt>
                <c:pt idx="769">
                  <c:v>9775.0941660000008</c:v>
                </c:pt>
                <c:pt idx="770">
                  <c:v>9593.0478000000003</c:v>
                </c:pt>
                <c:pt idx="771">
                  <c:v>9788.9387999999999</c:v>
                </c:pt>
                <c:pt idx="772">
                  <c:v>9845.7522000000008</c:v>
                </c:pt>
                <c:pt idx="773">
                  <c:v>9994.4490000000005</c:v>
                </c:pt>
                <c:pt idx="774">
                  <c:v>9981.1224000000002</c:v>
                </c:pt>
                <c:pt idx="775">
                  <c:v>10026.4128</c:v>
                </c:pt>
                <c:pt idx="776">
                  <c:v>9999.5591999999997</c:v>
                </c:pt>
                <c:pt idx="777">
                  <c:v>9964.4892</c:v>
                </c:pt>
                <c:pt idx="778">
                  <c:v>9987.8357999999989</c:v>
                </c:pt>
                <c:pt idx="779">
                  <c:v>10100.260200000001</c:v>
                </c:pt>
                <c:pt idx="780">
                  <c:v>10096.302299999999</c:v>
                </c:pt>
                <c:pt idx="781">
                  <c:v>10015.7916</c:v>
                </c:pt>
                <c:pt idx="782">
                  <c:v>10068.1962</c:v>
                </c:pt>
                <c:pt idx="783">
                  <c:v>10084.829400000001</c:v>
                </c:pt>
                <c:pt idx="784">
                  <c:v>9832.6260000000002</c:v>
                </c:pt>
                <c:pt idx="785">
                  <c:v>9723.608400000001</c:v>
                </c:pt>
                <c:pt idx="786">
                  <c:v>9873.8081999999995</c:v>
                </c:pt>
                <c:pt idx="787">
                  <c:v>9888.0366000000013</c:v>
                </c:pt>
                <c:pt idx="788">
                  <c:v>8886.9384000000009</c:v>
                </c:pt>
                <c:pt idx="789">
                  <c:v>3083.4546</c:v>
                </c:pt>
                <c:pt idx="790">
                  <c:v>9819.9006000000008</c:v>
                </c:pt>
                <c:pt idx="791">
                  <c:v>9897.4554000000007</c:v>
                </c:pt>
                <c:pt idx="792">
                  <c:v>9797.4557999999997</c:v>
                </c:pt>
                <c:pt idx="793">
                  <c:v>9746.6544000000013</c:v>
                </c:pt>
                <c:pt idx="794">
                  <c:v>9799.2594000000008</c:v>
                </c:pt>
                <c:pt idx="795">
                  <c:v>9889.639799999999</c:v>
                </c:pt>
                <c:pt idx="796">
                  <c:v>9808.5779999999995</c:v>
                </c:pt>
                <c:pt idx="797">
                  <c:v>9866.2932000000001</c:v>
                </c:pt>
                <c:pt idx="798">
                  <c:v>9925.2609000000011</c:v>
                </c:pt>
                <c:pt idx="799">
                  <c:v>9845.0507999999991</c:v>
                </c:pt>
                <c:pt idx="800">
                  <c:v>9595.0517999999993</c:v>
                </c:pt>
                <c:pt idx="801">
                  <c:v>9876.5136000000002</c:v>
                </c:pt>
                <c:pt idx="802">
                  <c:v>9516.1944000000003</c:v>
                </c:pt>
                <c:pt idx="803">
                  <c:v>9519.8016000000007</c:v>
                </c:pt>
                <c:pt idx="804">
                  <c:v>9807.3756000000012</c:v>
                </c:pt>
                <c:pt idx="805">
                  <c:v>9507.0142764000047</c:v>
                </c:pt>
                <c:pt idx="806">
                  <c:v>9494.3508000000002</c:v>
                </c:pt>
                <c:pt idx="807">
                  <c:v>9808.4777999999988</c:v>
                </c:pt>
                <c:pt idx="808">
                  <c:v>9721.6044000000002</c:v>
                </c:pt>
                <c:pt idx="809">
                  <c:v>9630.2219999999998</c:v>
                </c:pt>
                <c:pt idx="810">
                  <c:v>9445.4531999999999</c:v>
                </c:pt>
                <c:pt idx="811">
                  <c:v>9556.7253000000001</c:v>
                </c:pt>
                <c:pt idx="812">
                  <c:v>9524.3106000000007</c:v>
                </c:pt>
                <c:pt idx="813">
                  <c:v>9309.8826000000008</c:v>
                </c:pt>
                <c:pt idx="814">
                  <c:v>9379.0206000000017</c:v>
                </c:pt>
                <c:pt idx="815">
                  <c:v>9413.8901999999998</c:v>
                </c:pt>
                <c:pt idx="816">
                  <c:v>9506.4750000000004</c:v>
                </c:pt>
                <c:pt idx="817">
                  <c:v>9789.1391999999996</c:v>
                </c:pt>
                <c:pt idx="818">
                  <c:v>9725.512200000001</c:v>
                </c:pt>
                <c:pt idx="819">
                  <c:v>9741.9449999999997</c:v>
                </c:pt>
                <c:pt idx="820">
                  <c:v>9715.7927999999993</c:v>
                </c:pt>
                <c:pt idx="821">
                  <c:v>9702.9120899999998</c:v>
                </c:pt>
                <c:pt idx="822">
                  <c:v>9706.1936399999995</c:v>
                </c:pt>
                <c:pt idx="823">
                  <c:v>9460.4832000000006</c:v>
                </c:pt>
                <c:pt idx="824">
                  <c:v>9384.2309999999998</c:v>
                </c:pt>
                <c:pt idx="825">
                  <c:v>9068.3004000000001</c:v>
                </c:pt>
                <c:pt idx="826">
                  <c:v>9210.5844000000016</c:v>
                </c:pt>
                <c:pt idx="827">
                  <c:v>9237.6383999999998</c:v>
                </c:pt>
                <c:pt idx="828">
                  <c:v>9103.771200000001</c:v>
                </c:pt>
                <c:pt idx="829">
                  <c:v>8937.1385098199989</c:v>
                </c:pt>
                <c:pt idx="830">
                  <c:v>8697.36</c:v>
                </c:pt>
                <c:pt idx="831">
                  <c:v>8582.4305999999997</c:v>
                </c:pt>
                <c:pt idx="832">
                  <c:v>9299.9998739999992</c:v>
                </c:pt>
                <c:pt idx="833">
                  <c:v>8782.1292000000012</c:v>
                </c:pt>
                <c:pt idx="834">
                  <c:v>9056.7774000000009</c:v>
                </c:pt>
                <c:pt idx="835">
                  <c:v>9607.5767999999989</c:v>
                </c:pt>
                <c:pt idx="836">
                  <c:v>9569.6010000000006</c:v>
                </c:pt>
                <c:pt idx="837">
                  <c:v>9692.6466000000019</c:v>
                </c:pt>
                <c:pt idx="838">
                  <c:v>9777.0149999999994</c:v>
                </c:pt>
                <c:pt idx="839">
                  <c:v>9706.875</c:v>
                </c:pt>
                <c:pt idx="840">
                  <c:v>9794.9508000000005</c:v>
                </c:pt>
                <c:pt idx="841">
                  <c:v>9676.1136000000006</c:v>
                </c:pt>
                <c:pt idx="842">
                  <c:v>9758.6784000000007</c:v>
                </c:pt>
                <c:pt idx="843">
                  <c:v>9705.4722000000002</c:v>
                </c:pt>
                <c:pt idx="844">
                  <c:v>9615.0918000000001</c:v>
                </c:pt>
                <c:pt idx="845">
                  <c:v>9699.9611999999997</c:v>
                </c:pt>
                <c:pt idx="846">
                  <c:v>9125.0136000000002</c:v>
                </c:pt>
                <c:pt idx="847">
                  <c:v>9622.1057999999994</c:v>
                </c:pt>
                <c:pt idx="848">
                  <c:v>9803.1671999999999</c:v>
                </c:pt>
                <c:pt idx="849">
                  <c:v>9438.9402000000009</c:v>
                </c:pt>
                <c:pt idx="850">
                  <c:v>9517.5972000000002</c:v>
                </c:pt>
                <c:pt idx="851">
                  <c:v>9743.2476000000006</c:v>
                </c:pt>
                <c:pt idx="852">
                  <c:v>9247.5581999999995</c:v>
                </c:pt>
                <c:pt idx="853">
                  <c:v>9622.3062000000009</c:v>
                </c:pt>
                <c:pt idx="854">
                  <c:v>9502.0662000000011</c:v>
                </c:pt>
                <c:pt idx="855">
                  <c:v>9587.2362000000012</c:v>
                </c:pt>
                <c:pt idx="856">
                  <c:v>9300.6642000000011</c:v>
                </c:pt>
                <c:pt idx="857">
                  <c:v>9360.2831999999999</c:v>
                </c:pt>
                <c:pt idx="858">
                  <c:v>9221.3058000000001</c:v>
                </c:pt>
                <c:pt idx="859">
                  <c:v>9046.1562000000013</c:v>
                </c:pt>
                <c:pt idx="860">
                  <c:v>7547.6652000000004</c:v>
                </c:pt>
                <c:pt idx="861">
                  <c:v>4119.6227999999992</c:v>
                </c:pt>
                <c:pt idx="862">
                  <c:v>3399.9864000000002</c:v>
                </c:pt>
                <c:pt idx="863">
                  <c:v>9782.9267999999993</c:v>
                </c:pt>
                <c:pt idx="864">
                  <c:v>7567.0038000000004</c:v>
                </c:pt>
                <c:pt idx="865">
                  <c:v>5795.9688000000006</c:v>
                </c:pt>
                <c:pt idx="866">
                  <c:v>9720.7026000000005</c:v>
                </c:pt>
                <c:pt idx="867">
                  <c:v>9455.773799999999</c:v>
                </c:pt>
                <c:pt idx="868">
                  <c:v>9210.5844000000016</c:v>
                </c:pt>
                <c:pt idx="869">
                  <c:v>9223.209600000002</c:v>
                </c:pt>
                <c:pt idx="870">
                  <c:v>9854.2692000000006</c:v>
                </c:pt>
                <c:pt idx="871">
                  <c:v>9695.5524000000005</c:v>
                </c:pt>
                <c:pt idx="872">
                  <c:v>9900.3612000000012</c:v>
                </c:pt>
                <c:pt idx="873">
                  <c:v>9822.0047999999988</c:v>
                </c:pt>
                <c:pt idx="874">
                  <c:v>9771.2034000000003</c:v>
                </c:pt>
                <c:pt idx="875">
                  <c:v>9833.4276000000009</c:v>
                </c:pt>
                <c:pt idx="876">
                  <c:v>9929.2187999999987</c:v>
                </c:pt>
                <c:pt idx="877">
                  <c:v>9883.9284000000007</c:v>
                </c:pt>
                <c:pt idx="878">
                  <c:v>9795.5519999999997</c:v>
                </c:pt>
                <c:pt idx="879">
                  <c:v>9641.7450000000008</c:v>
                </c:pt>
                <c:pt idx="880">
                  <c:v>9771.7044000000005</c:v>
                </c:pt>
                <c:pt idx="881">
                  <c:v>9689.7407999999996</c:v>
                </c:pt>
                <c:pt idx="882">
                  <c:v>9628.4184000000005</c:v>
                </c:pt>
                <c:pt idx="883">
                  <c:v>9763.2876000000015</c:v>
                </c:pt>
                <c:pt idx="884">
                  <c:v>9559.1802000000007</c:v>
                </c:pt>
                <c:pt idx="885">
                  <c:v>9511.1844000000001</c:v>
                </c:pt>
                <c:pt idx="886">
                  <c:v>9231.626400000001</c:v>
                </c:pt>
                <c:pt idx="887">
                  <c:v>9456.375</c:v>
                </c:pt>
                <c:pt idx="888">
                  <c:v>9691.1436000000012</c:v>
                </c:pt>
                <c:pt idx="889">
                  <c:v>9793.9488000000001</c:v>
                </c:pt>
                <c:pt idx="890">
                  <c:v>9724.3097999999991</c:v>
                </c:pt>
                <c:pt idx="891">
                  <c:v>9810.9827999999998</c:v>
                </c:pt>
                <c:pt idx="892">
                  <c:v>9775.4117999999999</c:v>
                </c:pt>
                <c:pt idx="893">
                  <c:v>9866.5937999999987</c:v>
                </c:pt>
                <c:pt idx="894">
                  <c:v>10008.5772</c:v>
                </c:pt>
                <c:pt idx="895">
                  <c:v>9919.0986000000012</c:v>
                </c:pt>
                <c:pt idx="896">
                  <c:v>9929.4192000000003</c:v>
                </c:pt>
                <c:pt idx="897">
                  <c:v>9923.0064000000002</c:v>
                </c:pt>
                <c:pt idx="898">
                  <c:v>9935.8320000000003</c:v>
                </c:pt>
                <c:pt idx="899">
                  <c:v>9874.1088</c:v>
                </c:pt>
                <c:pt idx="900">
                  <c:v>9636.1337999999996</c:v>
                </c:pt>
                <c:pt idx="901">
                  <c:v>9532.9277999999995</c:v>
                </c:pt>
                <c:pt idx="902">
                  <c:v>9549.9617999999991</c:v>
                </c:pt>
                <c:pt idx="903">
                  <c:v>9693.6486000000004</c:v>
                </c:pt>
                <c:pt idx="904">
                  <c:v>9842.7461999999996</c:v>
                </c:pt>
                <c:pt idx="905">
                  <c:v>9702.7667999999994</c:v>
                </c:pt>
                <c:pt idx="906">
                  <c:v>9711.0834000000013</c:v>
                </c:pt>
                <c:pt idx="907">
                  <c:v>9694.4502000000011</c:v>
                </c:pt>
                <c:pt idx="908">
                  <c:v>9642.5466000000015</c:v>
                </c:pt>
                <c:pt idx="909">
                  <c:v>8731.4279999999981</c:v>
                </c:pt>
                <c:pt idx="910">
                  <c:v>9950.2608</c:v>
                </c:pt>
                <c:pt idx="911">
                  <c:v>9919.6998000000003</c:v>
                </c:pt>
                <c:pt idx="912">
                  <c:v>9927.2147999999997</c:v>
                </c:pt>
                <c:pt idx="913">
                  <c:v>9918.1967999999997</c:v>
                </c:pt>
                <c:pt idx="914">
                  <c:v>9804.57</c:v>
                </c:pt>
                <c:pt idx="915">
                  <c:v>9860.8824000000004</c:v>
                </c:pt>
                <c:pt idx="916">
                  <c:v>9769.2996000000003</c:v>
                </c:pt>
                <c:pt idx="917">
                  <c:v>9789.4398000000001</c:v>
                </c:pt>
                <c:pt idx="918">
                  <c:v>9579.1200000000008</c:v>
                </c:pt>
                <c:pt idx="919">
                  <c:v>9200.1636000000017</c:v>
                </c:pt>
                <c:pt idx="920">
                  <c:v>9355.8744000000006</c:v>
                </c:pt>
                <c:pt idx="921">
                  <c:v>9620.6027999999988</c:v>
                </c:pt>
                <c:pt idx="922">
                  <c:v>9085.4346000000005</c:v>
                </c:pt>
                <c:pt idx="923">
                  <c:v>8929.9241999999995</c:v>
                </c:pt>
                <c:pt idx="924">
                  <c:v>9225.0132000000012</c:v>
                </c:pt>
                <c:pt idx="925">
                  <c:v>8916.6977999999999</c:v>
                </c:pt>
                <c:pt idx="926">
                  <c:v>9540.3426000000018</c:v>
                </c:pt>
                <c:pt idx="927">
                  <c:v>9728.5182000000004</c:v>
                </c:pt>
                <c:pt idx="928">
                  <c:v>9817.3956000000017</c:v>
                </c:pt>
                <c:pt idx="929">
                  <c:v>9937.6356000000014</c:v>
                </c:pt>
                <c:pt idx="930">
                  <c:v>9796.4537999999993</c:v>
                </c:pt>
                <c:pt idx="931">
                  <c:v>9519.8016000000007</c:v>
                </c:pt>
                <c:pt idx="932">
                  <c:v>9735.8328000000001</c:v>
                </c:pt>
                <c:pt idx="933">
                  <c:v>9833.2272000000012</c:v>
                </c:pt>
                <c:pt idx="934">
                  <c:v>9748.5581999999995</c:v>
                </c:pt>
                <c:pt idx="935">
                  <c:v>9621.0036000000018</c:v>
                </c:pt>
                <c:pt idx="936">
                  <c:v>9623.6088</c:v>
                </c:pt>
                <c:pt idx="937">
                  <c:v>9417.3972000000012</c:v>
                </c:pt>
                <c:pt idx="938">
                  <c:v>9288.6401999999998</c:v>
                </c:pt>
                <c:pt idx="939">
                  <c:v>9802.5660000000007</c:v>
                </c:pt>
                <c:pt idx="940">
                  <c:v>9896.1527999999998</c:v>
                </c:pt>
                <c:pt idx="941">
                  <c:v>9889.4394000000011</c:v>
                </c:pt>
                <c:pt idx="942">
                  <c:v>9952.5654000000013</c:v>
                </c:pt>
                <c:pt idx="943">
                  <c:v>9937.8359999999993</c:v>
                </c:pt>
                <c:pt idx="944">
                  <c:v>9968.5974000000006</c:v>
                </c:pt>
                <c:pt idx="945">
                  <c:v>9891.2430000000004</c:v>
                </c:pt>
                <c:pt idx="946">
                  <c:v>9866.4936000000016</c:v>
                </c:pt>
                <c:pt idx="947">
                  <c:v>9771.7044000000005</c:v>
                </c:pt>
                <c:pt idx="948">
                  <c:v>9802.365600000001</c:v>
                </c:pt>
                <c:pt idx="949">
                  <c:v>9817.5959999999995</c:v>
                </c:pt>
                <c:pt idx="950">
                  <c:v>9796.6542000000009</c:v>
                </c:pt>
                <c:pt idx="951">
                  <c:v>9775.1112000000012</c:v>
                </c:pt>
                <c:pt idx="952">
                  <c:v>9994.2486000000008</c:v>
                </c:pt>
                <c:pt idx="953">
                  <c:v>9901.3631999999998</c:v>
                </c:pt>
                <c:pt idx="954">
                  <c:v>9422.4071999999996</c:v>
                </c:pt>
                <c:pt idx="955">
                  <c:v>8104.0758000000005</c:v>
                </c:pt>
                <c:pt idx="956">
                  <c:v>1299.4938000000002</c:v>
                </c:pt>
                <c:pt idx="957">
                  <c:v>1806.2052000000001</c:v>
                </c:pt>
                <c:pt idx="958">
                  <c:v>9440.0424000000003</c:v>
                </c:pt>
                <c:pt idx="959">
                  <c:v>9945.6516000000011</c:v>
                </c:pt>
                <c:pt idx="960">
                  <c:v>9950.2608</c:v>
                </c:pt>
                <c:pt idx="961">
                  <c:v>10000.962</c:v>
                </c:pt>
                <c:pt idx="962">
                  <c:v>10152.564600000002</c:v>
                </c:pt>
                <c:pt idx="963">
                  <c:v>9839.4396000000015</c:v>
                </c:pt>
                <c:pt idx="964">
                  <c:v>9921.7037999999993</c:v>
                </c:pt>
                <c:pt idx="965">
                  <c:v>9921.8040000000001</c:v>
                </c:pt>
                <c:pt idx="966">
                  <c:v>10052.164200000001</c:v>
                </c:pt>
                <c:pt idx="967">
                  <c:v>10109.4786</c:v>
                </c:pt>
                <c:pt idx="968">
                  <c:v>10015.591200000001</c:v>
                </c:pt>
                <c:pt idx="969">
                  <c:v>9945.8520000000008</c:v>
                </c:pt>
                <c:pt idx="970">
                  <c:v>10004.5692</c:v>
                </c:pt>
                <c:pt idx="971">
                  <c:v>9842.9466000000011</c:v>
                </c:pt>
                <c:pt idx="972">
                  <c:v>10001.262600000002</c:v>
                </c:pt>
                <c:pt idx="973">
                  <c:v>10023.807600000002</c:v>
                </c:pt>
                <c:pt idx="974">
                  <c:v>9807.4758000000002</c:v>
                </c:pt>
                <c:pt idx="975">
                  <c:v>9936.0324000000001</c:v>
                </c:pt>
                <c:pt idx="976">
                  <c:v>9877.8162000000011</c:v>
                </c:pt>
                <c:pt idx="977">
                  <c:v>9916.593600000002</c:v>
                </c:pt>
                <c:pt idx="978">
                  <c:v>9805.1712000000007</c:v>
                </c:pt>
                <c:pt idx="979">
                  <c:v>9888.2369999999992</c:v>
                </c:pt>
                <c:pt idx="980">
                  <c:v>9844.5497999999989</c:v>
                </c:pt>
                <c:pt idx="981">
                  <c:v>9854.2692000000006</c:v>
                </c:pt>
                <c:pt idx="982">
                  <c:v>9871.3532999999989</c:v>
                </c:pt>
                <c:pt idx="983">
                  <c:v>9824.7602999999999</c:v>
                </c:pt>
                <c:pt idx="984">
                  <c:v>9631.6247999999996</c:v>
                </c:pt>
                <c:pt idx="985">
                  <c:v>9527.4167999999991</c:v>
                </c:pt>
                <c:pt idx="986">
                  <c:v>9434.97228</c:v>
                </c:pt>
                <c:pt idx="987">
                  <c:v>9628.8191999999999</c:v>
                </c:pt>
                <c:pt idx="988">
                  <c:v>9967.0944</c:v>
                </c:pt>
                <c:pt idx="989">
                  <c:v>9864.7901999999995</c:v>
                </c:pt>
                <c:pt idx="990">
                  <c:v>9820.5018</c:v>
                </c:pt>
                <c:pt idx="991">
                  <c:v>9791.7444000000014</c:v>
                </c:pt>
                <c:pt idx="992">
                  <c:v>9814.8906000000006</c:v>
                </c:pt>
                <c:pt idx="993">
                  <c:v>9874.1088</c:v>
                </c:pt>
                <c:pt idx="994">
                  <c:v>9649.4603999999999</c:v>
                </c:pt>
                <c:pt idx="995">
                  <c:v>9754.7706000000017</c:v>
                </c:pt>
                <c:pt idx="996">
                  <c:v>9739.1394</c:v>
                </c:pt>
                <c:pt idx="997">
                  <c:v>8960.1846000000005</c:v>
                </c:pt>
                <c:pt idx="998">
                  <c:v>6495.9660000000003</c:v>
                </c:pt>
                <c:pt idx="999">
                  <c:v>9106.4766000000018</c:v>
                </c:pt>
                <c:pt idx="1000">
                  <c:v>9312.6882000000005</c:v>
                </c:pt>
                <c:pt idx="1001">
                  <c:v>9193.8510000000006</c:v>
                </c:pt>
                <c:pt idx="1002">
                  <c:v>9810.3816000000006</c:v>
                </c:pt>
                <c:pt idx="1003">
                  <c:v>9826.0128000000004</c:v>
                </c:pt>
                <c:pt idx="1004">
                  <c:v>9745.2516000000014</c:v>
                </c:pt>
                <c:pt idx="1005">
                  <c:v>9785.8326000000015</c:v>
                </c:pt>
                <c:pt idx="1006">
                  <c:v>9615.6929999999993</c:v>
                </c:pt>
                <c:pt idx="1007">
                  <c:v>9802.2654000000002</c:v>
                </c:pt>
                <c:pt idx="1008">
                  <c:v>9390.8441999999995</c:v>
                </c:pt>
                <c:pt idx="1009">
                  <c:v>9792.646200000001</c:v>
                </c:pt>
                <c:pt idx="1010">
                  <c:v>9795.852600000002</c:v>
                </c:pt>
                <c:pt idx="1011">
                  <c:v>9541.1442000000006</c:v>
                </c:pt>
                <c:pt idx="1012">
                  <c:v>9482.4269999999997</c:v>
                </c:pt>
                <c:pt idx="1013">
                  <c:v>9683.3279999999995</c:v>
                </c:pt>
                <c:pt idx="1014">
                  <c:v>9907.1747999999989</c:v>
                </c:pt>
                <c:pt idx="1015">
                  <c:v>9584.2302</c:v>
                </c:pt>
                <c:pt idx="1016">
                  <c:v>9586.2342000000008</c:v>
                </c:pt>
                <c:pt idx="1017">
                  <c:v>9567.5969999999998</c:v>
                </c:pt>
                <c:pt idx="1018">
                  <c:v>9682.5264000000006</c:v>
                </c:pt>
                <c:pt idx="1019">
                  <c:v>9899.5596000000005</c:v>
                </c:pt>
                <c:pt idx="1020">
                  <c:v>9782.8266000000003</c:v>
                </c:pt>
                <c:pt idx="1021">
                  <c:v>9872.7060000000001</c:v>
                </c:pt>
                <c:pt idx="1022">
                  <c:v>9789.5400000000009</c:v>
                </c:pt>
                <c:pt idx="1023">
                  <c:v>9823.7082000000009</c:v>
                </c:pt>
                <c:pt idx="1024">
                  <c:v>9704.0694000000003</c:v>
                </c:pt>
                <c:pt idx="1025">
                  <c:v>9753.5181000000011</c:v>
                </c:pt>
                <c:pt idx="1026">
                  <c:v>9275.8146000000015</c:v>
                </c:pt>
                <c:pt idx="1027">
                  <c:v>8823.3114000000005</c:v>
                </c:pt>
                <c:pt idx="1028">
                  <c:v>8975.9159999999993</c:v>
                </c:pt>
                <c:pt idx="1029">
                  <c:v>9022.2084000000013</c:v>
                </c:pt>
                <c:pt idx="1030">
                  <c:v>3703.9931999999999</c:v>
                </c:pt>
                <c:pt idx="1031">
                  <c:v>1800.3935999999999</c:v>
                </c:pt>
                <c:pt idx="1032">
                  <c:v>9332.9290000000001</c:v>
                </c:pt>
                <c:pt idx="1033">
                  <c:v>9715.1916000000019</c:v>
                </c:pt>
                <c:pt idx="1034">
                  <c:v>9630.6227999999992</c:v>
                </c:pt>
                <c:pt idx="1035">
                  <c:v>9650.3621999999996</c:v>
                </c:pt>
                <c:pt idx="1036">
                  <c:v>9095.3544000000002</c:v>
                </c:pt>
                <c:pt idx="1037">
                  <c:v>9846.1530000000002</c:v>
                </c:pt>
                <c:pt idx="1038">
                  <c:v>9833.6280000000006</c:v>
                </c:pt>
                <c:pt idx="1039">
                  <c:v>9820.3014000000003</c:v>
                </c:pt>
                <c:pt idx="1040">
                  <c:v>9404.0706000000009</c:v>
                </c:pt>
                <c:pt idx="1041">
                  <c:v>8992.0482000000011</c:v>
                </c:pt>
                <c:pt idx="1042">
                  <c:v>9185.0334000000003</c:v>
                </c:pt>
                <c:pt idx="1043">
                  <c:v>8070.6090000000004</c:v>
                </c:pt>
                <c:pt idx="1044">
                  <c:v>9409.4814000000006</c:v>
                </c:pt>
                <c:pt idx="1045">
                  <c:v>9717.5964000000004</c:v>
                </c:pt>
                <c:pt idx="1046">
                  <c:v>9675.4122000000007</c:v>
                </c:pt>
                <c:pt idx="1047">
                  <c:v>9809.2794000000013</c:v>
                </c:pt>
                <c:pt idx="1048">
                  <c:v>9640.9434000000001</c:v>
                </c:pt>
                <c:pt idx="1049">
                  <c:v>9749.0591999999997</c:v>
                </c:pt>
                <c:pt idx="1050">
                  <c:v>9624.8112000000001</c:v>
                </c:pt>
                <c:pt idx="1051">
                  <c:v>9878.3171999999995</c:v>
                </c:pt>
                <c:pt idx="1052">
                  <c:v>9706.0734000000011</c:v>
                </c:pt>
                <c:pt idx="1053">
                  <c:v>9663.6887999999999</c:v>
                </c:pt>
                <c:pt idx="1054">
                  <c:v>9416.7960000000003</c:v>
                </c:pt>
                <c:pt idx="1055">
                  <c:v>9510.0822000000007</c:v>
                </c:pt>
                <c:pt idx="1056">
                  <c:v>9592.1460000000006</c:v>
                </c:pt>
                <c:pt idx="1057">
                  <c:v>9916.8942000000006</c:v>
                </c:pt>
                <c:pt idx="1058">
                  <c:v>9694.2497999999996</c:v>
                </c:pt>
                <c:pt idx="1059">
                  <c:v>9820.6020000000008</c:v>
                </c:pt>
                <c:pt idx="1060">
                  <c:v>9920.501400000001</c:v>
                </c:pt>
                <c:pt idx="1061">
                  <c:v>9819.0990000000002</c:v>
                </c:pt>
                <c:pt idx="1062">
                  <c:v>9885.2309999999998</c:v>
                </c:pt>
                <c:pt idx="1063">
                  <c:v>9657.777</c:v>
                </c:pt>
                <c:pt idx="1064">
                  <c:v>9607.376400000001</c:v>
                </c:pt>
                <c:pt idx="1065">
                  <c:v>9434.2307999999994</c:v>
                </c:pt>
                <c:pt idx="1066">
                  <c:v>9365.3753640000014</c:v>
                </c:pt>
                <c:pt idx="1067">
                  <c:v>9519.9017999999996</c:v>
                </c:pt>
                <c:pt idx="1068">
                  <c:v>9508.2786000000015</c:v>
                </c:pt>
                <c:pt idx="1069">
                  <c:v>9362.2872000000007</c:v>
                </c:pt>
                <c:pt idx="1070">
                  <c:v>9584.0298000000003</c:v>
                </c:pt>
                <c:pt idx="1071">
                  <c:v>9087.6891000000014</c:v>
                </c:pt>
                <c:pt idx="1072">
                  <c:v>9392.1468000000004</c:v>
                </c:pt>
                <c:pt idx="1073">
                  <c:v>9499.9619999999995</c:v>
                </c:pt>
                <c:pt idx="1074">
                  <c:v>9463.3889999999992</c:v>
                </c:pt>
                <c:pt idx="1075">
                  <c:v>9044.2524000000012</c:v>
                </c:pt>
                <c:pt idx="1076">
                  <c:v>8724.8148000000001</c:v>
                </c:pt>
                <c:pt idx="1077">
                  <c:v>9526.715400000001</c:v>
                </c:pt>
                <c:pt idx="1078">
                  <c:v>9309.7824000000001</c:v>
                </c:pt>
                <c:pt idx="1079">
                  <c:v>9503.0681999999997</c:v>
                </c:pt>
                <c:pt idx="1080">
                  <c:v>9552.6671999999999</c:v>
                </c:pt>
                <c:pt idx="1081">
                  <c:v>9342.6981000000014</c:v>
                </c:pt>
                <c:pt idx="1082">
                  <c:v>9502.2666000000008</c:v>
                </c:pt>
                <c:pt idx="1083">
                  <c:v>9264.0912000000008</c:v>
                </c:pt>
                <c:pt idx="1084">
                  <c:v>7564.8995999999997</c:v>
                </c:pt>
                <c:pt idx="1085">
                  <c:v>7266.403800000001</c:v>
                </c:pt>
                <c:pt idx="1086">
                  <c:v>8950.0644000000011</c:v>
                </c:pt>
                <c:pt idx="1087">
                  <c:v>9066.6972000000005</c:v>
                </c:pt>
                <c:pt idx="1088">
                  <c:v>9619.8011999999999</c:v>
                </c:pt>
                <c:pt idx="1089">
                  <c:v>9708.6786000000011</c:v>
                </c:pt>
                <c:pt idx="1090">
                  <c:v>9842.2452000000012</c:v>
                </c:pt>
                <c:pt idx="1091">
                  <c:v>9800.4617999999991</c:v>
                </c:pt>
                <c:pt idx="1092">
                  <c:v>9693.0474000000013</c:v>
                </c:pt>
                <c:pt idx="1093">
                  <c:v>9745.2516000000014</c:v>
                </c:pt>
                <c:pt idx="1094">
                  <c:v>9762.1854000000003</c:v>
                </c:pt>
                <c:pt idx="1095">
                  <c:v>9722.6174220000012</c:v>
                </c:pt>
              </c:numCache>
            </c:numRef>
          </c:xVal>
          <c:yVal>
            <c:numRef>
              <c:f>Sheet2!$G$3:$G$1098</c:f>
              <c:numCache>
                <c:formatCode>General</c:formatCode>
                <c:ptCount val="1096"/>
                <c:pt idx="0">
                  <c:v>189.41452494658</c:v>
                </c:pt>
                <c:pt idx="1">
                  <c:v>190.47756211014146</c:v>
                </c:pt>
                <c:pt idx="2">
                  <c:v>203.03754951087564</c:v>
                </c:pt>
                <c:pt idx="3">
                  <c:v>206.32705270447002</c:v>
                </c:pt>
                <c:pt idx="4">
                  <c:v>205.11716262933106</c:v>
                </c:pt>
                <c:pt idx="5">
                  <c:v>199.77895468555866</c:v>
                </c:pt>
                <c:pt idx="6">
                  <c:v>174.00805029444447</c:v>
                </c:pt>
                <c:pt idx="7">
                  <c:v>202.1596777123921</c:v>
                </c:pt>
                <c:pt idx="8">
                  <c:v>#N/A</c:v>
                </c:pt>
                <c:pt idx="9">
                  <c:v>202.03145661451916</c:v>
                </c:pt>
                <c:pt idx="10">
                  <c:v>208.08335453762032</c:v>
                </c:pt>
                <c:pt idx="11">
                  <c:v>205.42222217358454</c:v>
                </c:pt>
                <c:pt idx="12">
                  <c:v>197.30684964176061</c:v>
                </c:pt>
                <c:pt idx="13">
                  <c:v>179.27072749135209</c:v>
                </c:pt>
                <c:pt idx="14">
                  <c:v>199.07700415500932</c:v>
                </c:pt>
                <c:pt idx="15">
                  <c:v>208.16443305436977</c:v>
                </c:pt>
                <c:pt idx="16">
                  <c:v>209.50829531183041</c:v>
                </c:pt>
                <c:pt idx="17">
                  <c:v>#N/A</c:v>
                </c:pt>
                <c:pt idx="18">
                  <c:v>#N/A</c:v>
                </c:pt>
                <c:pt idx="19">
                  <c:v>200.17306711282052</c:v>
                </c:pt>
                <c:pt idx="20">
                  <c:v>204.4587150016421</c:v>
                </c:pt>
                <c:pt idx="21">
                  <c:v>204.3411578349818</c:v>
                </c:pt>
                <c:pt idx="22">
                  <c:v>205.39641517325504</c:v>
                </c:pt>
                <c:pt idx="23">
                  <c:v>#N/A</c:v>
                </c:pt>
                <c:pt idx="24">
                  <c:v>210.1118244813469</c:v>
                </c:pt>
                <c:pt idx="25">
                  <c:v>#N/A</c:v>
                </c:pt>
                <c:pt idx="26">
                  <c:v>#N/A</c:v>
                </c:pt>
                <c:pt idx="27">
                  <c:v>#N/A</c:v>
                </c:pt>
                <c:pt idx="28">
                  <c:v>203.54901586662913</c:v>
                </c:pt>
                <c:pt idx="29">
                  <c:v>205.44527388108517</c:v>
                </c:pt>
                <c:pt idx="30">
                  <c:v>198.80113941896195</c:v>
                </c:pt>
                <c:pt idx="31">
                  <c:v>208.3547156699791</c:v>
                </c:pt>
                <c:pt idx="32">
                  <c:v>#N/A</c:v>
                </c:pt>
                <c:pt idx="33">
                  <c:v>196.03589432171418</c:v>
                </c:pt>
                <c:pt idx="34">
                  <c:v>182.5595009983401</c:v>
                </c:pt>
                <c:pt idx="35">
                  <c:v>183</c:v>
                </c:pt>
                <c:pt idx="36">
                  <c:v>190.2037903840403</c:v>
                </c:pt>
                <c:pt idx="37">
                  <c:v>#N/A</c:v>
                </c:pt>
                <c:pt idx="38">
                  <c:v>204.4456666396741</c:v>
                </c:pt>
                <c:pt idx="39">
                  <c:v>199.0306694122568</c:v>
                </c:pt>
                <c:pt idx="40">
                  <c:v>199.40765687845391</c:v>
                </c:pt>
                <c:pt idx="41">
                  <c:v>197.89153341741755</c:v>
                </c:pt>
                <c:pt idx="42">
                  <c:v>188.00692709323579</c:v>
                </c:pt>
                <c:pt idx="43">
                  <c:v>178.62371304274293</c:v>
                </c:pt>
                <c:pt idx="44">
                  <c:v>157.1835588434451</c:v>
                </c:pt>
                <c:pt idx="45">
                  <c:v>#N/A</c:v>
                </c:pt>
                <c:pt idx="46">
                  <c:v>#N/A</c:v>
                </c:pt>
                <c:pt idx="47">
                  <c:v>168.17878837871211</c:v>
                </c:pt>
                <c:pt idx="48">
                  <c:v>#N/A</c:v>
                </c:pt>
                <c:pt idx="49">
                  <c:v>186.06141522536356</c:v>
                </c:pt>
                <c:pt idx="50">
                  <c:v>#N/A</c:v>
                </c:pt>
                <c:pt idx="51">
                  <c:v>193.26092064238506</c:v>
                </c:pt>
                <c:pt idx="52">
                  <c:v>194.88152309283421</c:v>
                </c:pt>
                <c:pt idx="53">
                  <c:v>204.16933157639949</c:v>
                </c:pt>
                <c:pt idx="54">
                  <c:v>#N/A</c:v>
                </c:pt>
                <c:pt idx="55">
                  <c:v>201.950571233125</c:v>
                </c:pt>
                <c:pt idx="56">
                  <c:v>207.27313357798042</c:v>
                </c:pt>
                <c:pt idx="57">
                  <c:v>197.56942792042585</c:v>
                </c:pt>
                <c:pt idx="58">
                  <c:v>200.15568336095237</c:v>
                </c:pt>
                <c:pt idx="59">
                  <c:v>200.22050963805543</c:v>
                </c:pt>
                <c:pt idx="60">
                  <c:v>213.1299517303755</c:v>
                </c:pt>
                <c:pt idx="61">
                  <c:v>200.13436240553912</c:v>
                </c:pt>
                <c:pt idx="62">
                  <c:v>198.00316852959929</c:v>
                </c:pt>
                <c:pt idx="63">
                  <c:v>205.31168812904301</c:v>
                </c:pt>
                <c:pt idx="64">
                  <c:v>210.08790438793491</c:v>
                </c:pt>
                <c:pt idx="65">
                  <c:v>204.75231824362444</c:v>
                </c:pt>
                <c:pt idx="66">
                  <c:v>205.17118595005664</c:v>
                </c:pt>
                <c:pt idx="67">
                  <c:v>195.81954269037965</c:v>
                </c:pt>
                <c:pt idx="68">
                  <c:v>#N/A</c:v>
                </c:pt>
                <c:pt idx="69">
                  <c:v>#N/A</c:v>
                </c:pt>
                <c:pt idx="70">
                  <c:v>196.95066908894259</c:v>
                </c:pt>
                <c:pt idx="71">
                  <c:v>199.03656407185477</c:v>
                </c:pt>
                <c:pt idx="72">
                  <c:v>204.91077777629849</c:v>
                </c:pt>
                <c:pt idx="73">
                  <c:v>208.36045093454618</c:v>
                </c:pt>
                <c:pt idx="74">
                  <c:v>199.85229390881247</c:v>
                </c:pt>
                <c:pt idx="75">
                  <c:v>207.70314841714023</c:v>
                </c:pt>
                <c:pt idx="76">
                  <c:v>202.13856559155823</c:v>
                </c:pt>
                <c:pt idx="77">
                  <c:v>204.59788381633325</c:v>
                </c:pt>
                <c:pt idx="78">
                  <c:v>202.56901055070011</c:v>
                </c:pt>
                <c:pt idx="79">
                  <c:v>203.44363318006256</c:v>
                </c:pt>
                <c:pt idx="80">
                  <c:v>204.08228757828678</c:v>
                </c:pt>
                <c:pt idx="81">
                  <c:v>200.13013261236824</c:v>
                </c:pt>
                <c:pt idx="82">
                  <c:v>205.31711910789829</c:v>
                </c:pt>
                <c:pt idx="83">
                  <c:v>204.49538222581208</c:v>
                </c:pt>
                <c:pt idx="84">
                  <c:v>192.46150538390305</c:v>
                </c:pt>
                <c:pt idx="85">
                  <c:v>196.42601367640125</c:v>
                </c:pt>
                <c:pt idx="86">
                  <c:v>196.30889101438359</c:v>
                </c:pt>
                <c:pt idx="87">
                  <c:v>204.31794397291463</c:v>
                </c:pt>
                <c:pt idx="88">
                  <c:v>209.89847974454071</c:v>
                </c:pt>
                <c:pt idx="89">
                  <c:v>198.10870387118575</c:v>
                </c:pt>
                <c:pt idx="90">
                  <c:v>196.40013230128477</c:v>
                </c:pt>
                <c:pt idx="91">
                  <c:v>194.85385890990804</c:v>
                </c:pt>
                <c:pt idx="92">
                  <c:v>199.93766400289866</c:v>
                </c:pt>
                <c:pt idx="93">
                  <c:v>204.08818222846108</c:v>
                </c:pt>
                <c:pt idx="94">
                  <c:v>201.71408991860338</c:v>
                </c:pt>
                <c:pt idx="95">
                  <c:v>200.82101778515718</c:v>
                </c:pt>
                <c:pt idx="96">
                  <c:v>197.99898739612902</c:v>
                </c:pt>
                <c:pt idx="97">
                  <c:v>194.83846904069264</c:v>
                </c:pt>
                <c:pt idx="98">
                  <c:v>200.18077442116751</c:v>
                </c:pt>
                <c:pt idx="99">
                  <c:v>180.00896425856087</c:v>
                </c:pt>
                <c:pt idx="100">
                  <c:v>187.75464176217659</c:v>
                </c:pt>
                <c:pt idx="101">
                  <c:v>199.59536391659128</c:v>
                </c:pt>
                <c:pt idx="102">
                  <c:v>203.24341982660536</c:v>
                </c:pt>
                <c:pt idx="103">
                  <c:v>204.64049236649765</c:v>
                </c:pt>
                <c:pt idx="104">
                  <c:v>191.04113445064021</c:v>
                </c:pt>
                <c:pt idx="105">
                  <c:v>180.47690571263749</c:v>
                </c:pt>
                <c:pt idx="106">
                  <c:v>198.13949354062117</c:v>
                </c:pt>
                <c:pt idx="107">
                  <c:v>200.90790563056677</c:v>
                </c:pt>
                <c:pt idx="108">
                  <c:v>201.77978927795169</c:v>
                </c:pt>
                <c:pt idx="109">
                  <c:v>#N/A</c:v>
                </c:pt>
                <c:pt idx="110">
                  <c:v>204.59989468205592</c:v>
                </c:pt>
                <c:pt idx="111">
                  <c:v>205.42229572465371</c:v>
                </c:pt>
                <c:pt idx="112">
                  <c:v>193.70361963208651</c:v>
                </c:pt>
                <c:pt idx="113">
                  <c:v>#N/A</c:v>
                </c:pt>
                <c:pt idx="114">
                  <c:v>198.05574008021773</c:v>
                </c:pt>
                <c:pt idx="115">
                  <c:v>#N/A</c:v>
                </c:pt>
                <c:pt idx="116">
                  <c:v>203.99336148504639</c:v>
                </c:pt>
                <c:pt idx="117">
                  <c:v>#N/A</c:v>
                </c:pt>
                <c:pt idx="118">
                  <c:v>202.63037050780659</c:v>
                </c:pt>
                <c:pt idx="119">
                  <c:v>188.45882768078749</c:v>
                </c:pt>
                <c:pt idx="120">
                  <c:v>197.65274132396442</c:v>
                </c:pt>
                <c:pt idx="121">
                  <c:v>179.13291369130431</c:v>
                </c:pt>
                <c:pt idx="122">
                  <c:v>177.706541436028</c:v>
                </c:pt>
                <c:pt idx="123">
                  <c:v>187.399497531468</c:v>
                </c:pt>
                <c:pt idx="124">
                  <c:v>188.036463442501</c:v>
                </c:pt>
                <c:pt idx="125">
                  <c:v>188.81333046624999</c:v>
                </c:pt>
                <c:pt idx="126">
                  <c:v>202.23505839202701</c:v>
                </c:pt>
                <c:pt idx="127">
                  <c:v>199.93749461080401</c:v>
                </c:pt>
                <c:pt idx="128">
                  <c:v>194.586521852999</c:v>
                </c:pt>
                <c:pt idx="129">
                  <c:v>200.367112223948</c:v>
                </c:pt>
                <c:pt idx="130">
                  <c:v>203.96402194499299</c:v>
                </c:pt>
                <c:pt idx="131">
                  <c:v>190.180538478004</c:v>
                </c:pt>
                <c:pt idx="132">
                  <c:v>190.61170822723699</c:v>
                </c:pt>
                <c:pt idx="133">
                  <c:v>190.151218976151</c:v>
                </c:pt>
                <c:pt idx="134">
                  <c:v>187.12205190597999</c:v>
                </c:pt>
                <c:pt idx="135">
                  <c:v>189.612121487351</c:v>
                </c:pt>
                <c:pt idx="136">
                  <c:v>199.58234153372101</c:v>
                </c:pt>
                <c:pt idx="137">
                  <c:v>199.59712804320901</c:v>
                </c:pt>
                <c:pt idx="138">
                  <c:v>198.830466653613</c:v>
                </c:pt>
                <c:pt idx="139">
                  <c:v>195.96733618058201</c:v>
                </c:pt>
                <c:pt idx="140">
                  <c:v>187.403360123429</c:v>
                </c:pt>
                <c:pt idx="141">
                  <c:v>170.194920602114</c:v>
                </c:pt>
                <c:pt idx="142">
                  <c:v>119.22245592714501</c:v>
                </c:pt>
                <c:pt idx="143">
                  <c:v>118.495002553272</c:v>
                </c:pt>
                <c:pt idx="144">
                  <c:v>47.456148618516501</c:v>
                </c:pt>
                <c:pt idx="145">
                  <c:v>#N/A</c:v>
                </c:pt>
                <c:pt idx="146">
                  <c:v>#N/A</c:v>
                </c:pt>
                <c:pt idx="147">
                  <c:v>#N/A</c:v>
                </c:pt>
                <c:pt idx="148">
                  <c:v>#N/A</c:v>
                </c:pt>
                <c:pt idx="149">
                  <c:v>0</c:v>
                </c:pt>
                <c:pt idx="150">
                  <c:v>#N/A</c:v>
                </c:pt>
                <c:pt idx="151">
                  <c:v>196.06094604527499</c:v>
                </c:pt>
                <c:pt idx="152">
                  <c:v>202.16775573823301</c:v>
                </c:pt>
                <c:pt idx="153">
                  <c:v>200.159077646578</c:v>
                </c:pt>
                <c:pt idx="154">
                  <c:v>203.62226962151499</c:v>
                </c:pt>
                <c:pt idx="155">
                  <c:v>201.86131870805099</c:v>
                </c:pt>
                <c:pt idx="156">
                  <c:v>197.97337347755001</c:v>
                </c:pt>
                <c:pt idx="157">
                  <c:v>199.624908570917</c:v>
                </c:pt>
                <c:pt idx="158">
                  <c:v>193.044906693781</c:v>
                </c:pt>
                <c:pt idx="159">
                  <c:v>#N/A</c:v>
                </c:pt>
                <c:pt idx="160">
                  <c:v>#N/A</c:v>
                </c:pt>
                <c:pt idx="161">
                  <c:v>181.94320776918099</c:v>
                </c:pt>
                <c:pt idx="162">
                  <c:v>191.74179510009</c:v>
                </c:pt>
                <c:pt idx="163">
                  <c:v>197.45405984671601</c:v>
                </c:pt>
                <c:pt idx="164">
                  <c:v>208.24809973350699</c:v>
                </c:pt>
                <c:pt idx="165">
                  <c:v>209.336772296264</c:v>
                </c:pt>
                <c:pt idx="166">
                  <c:v>206.93214712700799</c:v>
                </c:pt>
                <c:pt idx="167">
                  <c:v>208.23197421418899</c:v>
                </c:pt>
                <c:pt idx="168">
                  <c:v>#N/A</c:v>
                </c:pt>
                <c:pt idx="169">
                  <c:v>209.44570934649801</c:v>
                </c:pt>
                <c:pt idx="170">
                  <c:v>199.25770165312599</c:v>
                </c:pt>
                <c:pt idx="171">
                  <c:v>192.67819831021899</c:v>
                </c:pt>
                <c:pt idx="172">
                  <c:v>199.68615516618701</c:v>
                </c:pt>
                <c:pt idx="173">
                  <c:v>182.02781324380399</c:v>
                </c:pt>
                <c:pt idx="174">
                  <c:v>199.865222701525</c:v>
                </c:pt>
                <c:pt idx="175">
                  <c:v>189.99573887398299</c:v>
                </c:pt>
                <c:pt idx="176">
                  <c:v>190.242049926314</c:v>
                </c:pt>
                <c:pt idx="177">
                  <c:v>#N/A</c:v>
                </c:pt>
                <c:pt idx="178">
                  <c:v>202.564554544923</c:v>
                </c:pt>
                <c:pt idx="179">
                  <c:v>#N/A</c:v>
                </c:pt>
                <c:pt idx="180">
                  <c:v>202.48205478732899</c:v>
                </c:pt>
                <c:pt idx="181">
                  <c:v>210.50410235335701</c:v>
                </c:pt>
                <c:pt idx="182">
                  <c:v>206.72212819481999</c:v>
                </c:pt>
                <c:pt idx="183">
                  <c:v>#N/A</c:v>
                </c:pt>
                <c:pt idx="184">
                  <c:v>195.41703532181401</c:v>
                </c:pt>
                <c:pt idx="185">
                  <c:v>194.76924152241099</c:v>
                </c:pt>
                <c:pt idx="186">
                  <c:v>#N/A</c:v>
                </c:pt>
                <c:pt idx="187">
                  <c:v>203.22682551112999</c:v>
                </c:pt>
                <c:pt idx="188">
                  <c:v>194.514561875607</c:v>
                </c:pt>
                <c:pt idx="189">
                  <c:v>199.35938851513501</c:v>
                </c:pt>
                <c:pt idx="190">
                  <c:v>198.554158803863</c:v>
                </c:pt>
                <c:pt idx="191">
                  <c:v>192.03758200378701</c:v>
                </c:pt>
                <c:pt idx="192">
                  <c:v>201.67299351157999</c:v>
                </c:pt>
                <c:pt idx="193">
                  <c:v>206.841224811389</c:v>
                </c:pt>
                <c:pt idx="194">
                  <c:v>200.295840965726</c:v>
                </c:pt>
                <c:pt idx="195">
                  <c:v>199.52495545377101</c:v>
                </c:pt>
                <c:pt idx="196">
                  <c:v>204.879628835055</c:v>
                </c:pt>
                <c:pt idx="197">
                  <c:v>205.94889375896</c:v>
                </c:pt>
                <c:pt idx="198">
                  <c:v>205.042317913483</c:v>
                </c:pt>
                <c:pt idx="199">
                  <c:v>210.07534920811901</c:v>
                </c:pt>
                <c:pt idx="200">
                  <c:v>#N/A</c:v>
                </c:pt>
                <c:pt idx="201">
                  <c:v>210.20412866665799</c:v>
                </c:pt>
                <c:pt idx="202">
                  <c:v>199.70215738161301</c:v>
                </c:pt>
                <c:pt idx="203">
                  <c:v>190.647296690302</c:v>
                </c:pt>
                <c:pt idx="204">
                  <c:v>197.72543263838301</c:v>
                </c:pt>
                <c:pt idx="205">
                  <c:v>196.93914842305901</c:v>
                </c:pt>
                <c:pt idx="206">
                  <c:v>196.72991510273701</c:v>
                </c:pt>
                <c:pt idx="207">
                  <c:v>#N/A</c:v>
                </c:pt>
                <c:pt idx="208">
                  <c:v>208.83200254090801</c:v>
                </c:pt>
                <c:pt idx="209">
                  <c:v>#N/A</c:v>
                </c:pt>
                <c:pt idx="210">
                  <c:v>209.02164311318299</c:v>
                </c:pt>
                <c:pt idx="211">
                  <c:v>205.556951169348</c:v>
                </c:pt>
                <c:pt idx="212">
                  <c:v>205.47875990035601</c:v>
                </c:pt>
                <c:pt idx="213">
                  <c:v>205.96404112805499</c:v>
                </c:pt>
                <c:pt idx="214">
                  <c:v>192.226640343291</c:v>
                </c:pt>
                <c:pt idx="215">
                  <c:v>201.298960827673</c:v>
                </c:pt>
                <c:pt idx="216">
                  <c:v>210.217671827977</c:v>
                </c:pt>
                <c:pt idx="217">
                  <c:v>195.18969013840101</c:v>
                </c:pt>
                <c:pt idx="218">
                  <c:v>200.99462684689601</c:v>
                </c:pt>
                <c:pt idx="219">
                  <c:v>#N/A</c:v>
                </c:pt>
                <c:pt idx="220">
                  <c:v>211.59340286438601</c:v>
                </c:pt>
                <c:pt idx="221">
                  <c:v>209.14073880869799</c:v>
                </c:pt>
                <c:pt idx="222">
                  <c:v>203.12033249689401</c:v>
                </c:pt>
                <c:pt idx="223">
                  <c:v>#N/A</c:v>
                </c:pt>
                <c:pt idx="224">
                  <c:v>211.81077765009499</c:v>
                </c:pt>
                <c:pt idx="225">
                  <c:v>211.32603242399199</c:v>
                </c:pt>
                <c:pt idx="226">
                  <c:v>198.47818272088901</c:v>
                </c:pt>
                <c:pt idx="227">
                  <c:v>210.12645670348999</c:v>
                </c:pt>
                <c:pt idx="228">
                  <c:v>204.110230037799</c:v>
                </c:pt>
                <c:pt idx="229">
                  <c:v>196.75329555706</c:v>
                </c:pt>
                <c:pt idx="230">
                  <c:v>#N/A</c:v>
                </c:pt>
                <c:pt idx="231">
                  <c:v>197.34498332552201</c:v>
                </c:pt>
                <c:pt idx="232">
                  <c:v>#N/A</c:v>
                </c:pt>
                <c:pt idx="233">
                  <c:v>195.64953782477599</c:v>
                </c:pt>
                <c:pt idx="234">
                  <c:v>203.959943500392</c:v>
                </c:pt>
                <c:pt idx="235">
                  <c:v>#N/A</c:v>
                </c:pt>
                <c:pt idx="236">
                  <c:v>190.793168397024</c:v>
                </c:pt>
                <c:pt idx="237">
                  <c:v>202.394235923297</c:v>
                </c:pt>
                <c:pt idx="238">
                  <c:v>#N/A</c:v>
                </c:pt>
                <c:pt idx="239">
                  <c:v>195.48295273423599</c:v>
                </c:pt>
                <c:pt idx="240">
                  <c:v>172.15223546562399</c:v>
                </c:pt>
                <c:pt idx="241">
                  <c:v>170.48176291699201</c:v>
                </c:pt>
                <c:pt idx="242">
                  <c:v>181.93214392793399</c:v>
                </c:pt>
                <c:pt idx="243">
                  <c:v>179.612415507425</c:v>
                </c:pt>
                <c:pt idx="244">
                  <c:v>174.472774488119</c:v>
                </c:pt>
                <c:pt idx="245">
                  <c:v>117.74555131036399</c:v>
                </c:pt>
                <c:pt idx="246">
                  <c:v>#N/A</c:v>
                </c:pt>
                <c:pt idx="247">
                  <c:v>#N/A</c:v>
                </c:pt>
                <c:pt idx="248">
                  <c:v>#N/A</c:v>
                </c:pt>
                <c:pt idx="249">
                  <c:v>#N/A</c:v>
                </c:pt>
                <c:pt idx="250">
                  <c:v>149.83854421042</c:v>
                </c:pt>
                <c:pt idx="251">
                  <c:v>#N/A</c:v>
                </c:pt>
                <c:pt idx="252">
                  <c:v>171.64255227816301</c:v>
                </c:pt>
                <c:pt idx="253">
                  <c:v>170.05826919215099</c:v>
                </c:pt>
                <c:pt idx="254">
                  <c:v>#N/A</c:v>
                </c:pt>
                <c:pt idx="255">
                  <c:v>#N/A</c:v>
                </c:pt>
                <c:pt idx="256">
                  <c:v>#N/A</c:v>
                </c:pt>
                <c:pt idx="257">
                  <c:v>208.80892981364201</c:v>
                </c:pt>
                <c:pt idx="258">
                  <c:v>191.54506271347</c:v>
                </c:pt>
                <c:pt idx="259">
                  <c:v>100.379153832909</c:v>
                </c:pt>
                <c:pt idx="260">
                  <c:v>#N/A</c:v>
                </c:pt>
                <c:pt idx="261">
                  <c:v>173.39193134753299</c:v>
                </c:pt>
                <c:pt idx="262">
                  <c:v>184.46046040777</c:v>
                </c:pt>
                <c:pt idx="263">
                  <c:v>176.59625965425201</c:v>
                </c:pt>
                <c:pt idx="264">
                  <c:v>#N/A</c:v>
                </c:pt>
                <c:pt idx="265">
                  <c:v>189.966517129848</c:v>
                </c:pt>
                <c:pt idx="266">
                  <c:v>193.56260335391801</c:v>
                </c:pt>
                <c:pt idx="267">
                  <c:v>#N/A</c:v>
                </c:pt>
                <c:pt idx="268">
                  <c:v>205.907457880826</c:v>
                </c:pt>
                <c:pt idx="269">
                  <c:v>202.97785964145299</c:v>
                </c:pt>
                <c:pt idx="270">
                  <c:v>199.937482425881</c:v>
                </c:pt>
                <c:pt idx="271">
                  <c:v>#N/A</c:v>
                </c:pt>
                <c:pt idx="272">
                  <c:v>#N/A</c:v>
                </c:pt>
                <c:pt idx="273">
                  <c:v>210.25017162800501</c:v>
                </c:pt>
                <c:pt idx="274">
                  <c:v>199.802347634901</c:v>
                </c:pt>
                <c:pt idx="275">
                  <c:v>197.2399877933</c:v>
                </c:pt>
                <c:pt idx="276">
                  <c:v>198.67665657612599</c:v>
                </c:pt>
                <c:pt idx="277">
                  <c:v>194.23131899335601</c:v>
                </c:pt>
                <c:pt idx="278">
                  <c:v>185.20579750444199</c:v>
                </c:pt>
                <c:pt idx="279">
                  <c:v>#N/A</c:v>
                </c:pt>
                <c:pt idx="280">
                  <c:v>213.780016927952</c:v>
                </c:pt>
                <c:pt idx="281">
                  <c:v>#N/A</c:v>
                </c:pt>
                <c:pt idx="282">
                  <c:v>#N/A</c:v>
                </c:pt>
                <c:pt idx="283">
                  <c:v>211.17858847699799</c:v>
                </c:pt>
                <c:pt idx="284">
                  <c:v>210.077162252715</c:v>
                </c:pt>
                <c:pt idx="285">
                  <c:v>199.784631487426</c:v>
                </c:pt>
                <c:pt idx="286">
                  <c:v>208.734159762839</c:v>
                </c:pt>
                <c:pt idx="287">
                  <c:v>204.08081127115599</c:v>
                </c:pt>
                <c:pt idx="288">
                  <c:v>200.29033508595401</c:v>
                </c:pt>
                <c:pt idx="289">
                  <c:v>201.43330544560899</c:v>
                </c:pt>
                <c:pt idx="290">
                  <c:v>202.40140975916199</c:v>
                </c:pt>
                <c:pt idx="291">
                  <c:v>183.889780420383</c:v>
                </c:pt>
                <c:pt idx="292">
                  <c:v>190.068128101529</c:v>
                </c:pt>
                <c:pt idx="293">
                  <c:v>189.949661339946</c:v>
                </c:pt>
                <c:pt idx="294">
                  <c:v>190.431109623829</c:v>
                </c:pt>
                <c:pt idx="295">
                  <c:v>196.12298563297</c:v>
                </c:pt>
                <c:pt idx="296">
                  <c:v>194.802288893259</c:v>
                </c:pt>
                <c:pt idx="297">
                  <c:v>192.659212276754</c:v>
                </c:pt>
                <c:pt idx="298">
                  <c:v>192.63941636724999</c:v>
                </c:pt>
                <c:pt idx="299">
                  <c:v>190.43062958386</c:v>
                </c:pt>
                <c:pt idx="300">
                  <c:v>176.44722606576201</c:v>
                </c:pt>
                <c:pt idx="301">
                  <c:v>191.99928644847699</c:v>
                </c:pt>
                <c:pt idx="302">
                  <c:v>199.86497747814499</c:v>
                </c:pt>
                <c:pt idx="303">
                  <c:v>206.18791726297499</c:v>
                </c:pt>
                <c:pt idx="304">
                  <c:v>203.93643390448401</c:v>
                </c:pt>
                <c:pt idx="305">
                  <c:v>199.66450501842201</c:v>
                </c:pt>
                <c:pt idx="306">
                  <c:v>203.98192912895101</c:v>
                </c:pt>
                <c:pt idx="307">
                  <c:v>200.345179160996</c:v>
                </c:pt>
                <c:pt idx="308">
                  <c:v>201.34068502135099</c:v>
                </c:pt>
                <c:pt idx="309">
                  <c:v>199.92566925733999</c:v>
                </c:pt>
                <c:pt idx="310">
                  <c:v>197.758389549599</c:v>
                </c:pt>
                <c:pt idx="311">
                  <c:v>200.14901388646101</c:v>
                </c:pt>
                <c:pt idx="312">
                  <c:v>191</c:v>
                </c:pt>
                <c:pt idx="313">
                  <c:v>#N/A</c:v>
                </c:pt>
                <c:pt idx="314">
                  <c:v>196.969496138924</c:v>
                </c:pt>
                <c:pt idx="315">
                  <c:v>200.63376763032801</c:v>
                </c:pt>
                <c:pt idx="316">
                  <c:v>190.18832789073801</c:v>
                </c:pt>
                <c:pt idx="317">
                  <c:v>190.010305757776</c:v>
                </c:pt>
                <c:pt idx="318">
                  <c:v>197.19345616112599</c:v>
                </c:pt>
                <c:pt idx="319">
                  <c:v>196.13269051937101</c:v>
                </c:pt>
                <c:pt idx="320">
                  <c:v>195.39445886057899</c:v>
                </c:pt>
                <c:pt idx="321">
                  <c:v>198.696577557599</c:v>
                </c:pt>
                <c:pt idx="322">
                  <c:v>198.28316630568199</c:v>
                </c:pt>
                <c:pt idx="323">
                  <c:v>196.700427095104</c:v>
                </c:pt>
                <c:pt idx="324">
                  <c:v>201.42429449859199</c:v>
                </c:pt>
                <c:pt idx="325">
                  <c:v>204.79710487015399</c:v>
                </c:pt>
                <c:pt idx="326">
                  <c:v>200.92443746854599</c:v>
                </c:pt>
                <c:pt idx="327">
                  <c:v>205.03714014352599</c:v>
                </c:pt>
                <c:pt idx="328">
                  <c:v>194.77311387892701</c:v>
                </c:pt>
                <c:pt idx="329">
                  <c:v>203.261911636825</c:v>
                </c:pt>
                <c:pt idx="330">
                  <c:v>199.96745367100499</c:v>
                </c:pt>
                <c:pt idx="331">
                  <c:v>197.57052974318199</c:v>
                </c:pt>
                <c:pt idx="332">
                  <c:v>200.19804450867801</c:v>
                </c:pt>
                <c:pt idx="333">
                  <c:v>202.07522009576101</c:v>
                </c:pt>
                <c:pt idx="334">
                  <c:v>#N/A</c:v>
                </c:pt>
                <c:pt idx="335">
                  <c:v>#N/A</c:v>
                </c:pt>
                <c:pt idx="336">
                  <c:v>186.572225189265</c:v>
                </c:pt>
                <c:pt idx="337">
                  <c:v>206.54542670615999</c:v>
                </c:pt>
                <c:pt idx="338">
                  <c:v>203.68243885465199</c:v>
                </c:pt>
                <c:pt idx="339">
                  <c:v>212.160354527219</c:v>
                </c:pt>
                <c:pt idx="340">
                  <c:v>209.07728989117399</c:v>
                </c:pt>
                <c:pt idx="341">
                  <c:v>210.80241301133501</c:v>
                </c:pt>
                <c:pt idx="342">
                  <c:v>204.963314764871</c:v>
                </c:pt>
                <c:pt idx="343">
                  <c:v>213.17284454869301</c:v>
                </c:pt>
                <c:pt idx="344">
                  <c:v>210.71278626729799</c:v>
                </c:pt>
                <c:pt idx="345">
                  <c:v>212.583672285392</c:v>
                </c:pt>
                <c:pt idx="346">
                  <c:v>207.906075332413</c:v>
                </c:pt>
                <c:pt idx="347">
                  <c:v>210.38736037782701</c:v>
                </c:pt>
                <c:pt idx="348">
                  <c:v>210.33400281367099</c:v>
                </c:pt>
                <c:pt idx="349">
                  <c:v>214.33108237247799</c:v>
                </c:pt>
                <c:pt idx="350">
                  <c:v>213.13809838980799</c:v>
                </c:pt>
                <c:pt idx="351">
                  <c:v>212.75266250514801</c:v>
                </c:pt>
                <c:pt idx="352">
                  <c:v>203.16224918758601</c:v>
                </c:pt>
                <c:pt idx="353">
                  <c:v>204.59962239136999</c:v>
                </c:pt>
                <c:pt idx="354">
                  <c:v>196.93579476002</c:v>
                </c:pt>
                <c:pt idx="355">
                  <c:v>196.105254958253</c:v>
                </c:pt>
                <c:pt idx="356">
                  <c:v>#N/A</c:v>
                </c:pt>
                <c:pt idx="357">
                  <c:v>#N/A</c:v>
                </c:pt>
                <c:pt idx="358">
                  <c:v>195.48047291531901</c:v>
                </c:pt>
                <c:pt idx="359">
                  <c:v>213.42871447377101</c:v>
                </c:pt>
                <c:pt idx="360">
                  <c:v>214.579969931638</c:v>
                </c:pt>
                <c:pt idx="361">
                  <c:v>210.05308815120301</c:v>
                </c:pt>
                <c:pt idx="362">
                  <c:v>202.591847461756</c:v>
                </c:pt>
                <c:pt idx="363">
                  <c:v>#N/A</c:v>
                </c:pt>
                <c:pt idx="364">
                  <c:v>95.0082083065018</c:v>
                </c:pt>
                <c:pt idx="365">
                  <c:v>#N/A</c:v>
                </c:pt>
                <c:pt idx="366">
                  <c:v>201.57617248219799</c:v>
                </c:pt>
                <c:pt idx="367">
                  <c:v>210.248477656864</c:v>
                </c:pt>
                <c:pt idx="368">
                  <c:v>209.95846573982101</c:v>
                </c:pt>
                <c:pt idx="369">
                  <c:v>207.65370599148699</c:v>
                </c:pt>
                <c:pt idx="370">
                  <c:v>212.02584162644399</c:v>
                </c:pt>
                <c:pt idx="371">
                  <c:v>210.05002789696201</c:v>
                </c:pt>
                <c:pt idx="372">
                  <c:v>213.162056873854</c:v>
                </c:pt>
                <c:pt idx="373">
                  <c:v>214.905145355564</c:v>
                </c:pt>
                <c:pt idx="374">
                  <c:v>210.603646278345</c:v>
                </c:pt>
                <c:pt idx="375">
                  <c:v>207.22449173563399</c:v>
                </c:pt>
                <c:pt idx="376">
                  <c:v>204.11904677861</c:v>
                </c:pt>
                <c:pt idx="377">
                  <c:v>205.29505079981999</c:v>
                </c:pt>
                <c:pt idx="378">
                  <c:v>209.74986697025699</c:v>
                </c:pt>
                <c:pt idx="379">
                  <c:v>213.76387178616699</c:v>
                </c:pt>
                <c:pt idx="380">
                  <c:v>215.077635443302</c:v>
                </c:pt>
                <c:pt idx="381">
                  <c:v>215.88930287357499</c:v>
                </c:pt>
                <c:pt idx="382">
                  <c:v>213.977702004017</c:v>
                </c:pt>
                <c:pt idx="383">
                  <c:v>209.17948823537</c:v>
                </c:pt>
                <c:pt idx="384">
                  <c:v>209.44945788632401</c:v>
                </c:pt>
                <c:pt idx="385">
                  <c:v>213.141310272037</c:v>
                </c:pt>
                <c:pt idx="386">
                  <c:v>214.239484283736</c:v>
                </c:pt>
                <c:pt idx="387">
                  <c:v>213.81910532397501</c:v>
                </c:pt>
                <c:pt idx="388">
                  <c:v>214.28486468486301</c:v>
                </c:pt>
                <c:pt idx="389">
                  <c:v>#N/A</c:v>
                </c:pt>
                <c:pt idx="390">
                  <c:v>212.77042579515199</c:v>
                </c:pt>
                <c:pt idx="391">
                  <c:v>212.947411772935</c:v>
                </c:pt>
                <c:pt idx="392">
                  <c:v>210.523369496556</c:v>
                </c:pt>
                <c:pt idx="393">
                  <c:v>213.671996432214</c:v>
                </c:pt>
                <c:pt idx="394">
                  <c:v>212.39302736969501</c:v>
                </c:pt>
                <c:pt idx="395">
                  <c:v>210.79280662697499</c:v>
                </c:pt>
                <c:pt idx="396">
                  <c:v>210.28535312365401</c:v>
                </c:pt>
                <c:pt idx="397">
                  <c:v>212.911219399473</c:v>
                </c:pt>
                <c:pt idx="398">
                  <c:v>210.261951529203</c:v>
                </c:pt>
                <c:pt idx="399">
                  <c:v>207.30529138791499</c:v>
                </c:pt>
                <c:pt idx="400">
                  <c:v>209.67415606439201</c:v>
                </c:pt>
                <c:pt idx="401">
                  <c:v>206.90885217285901</c:v>
                </c:pt>
                <c:pt idx="402">
                  <c:v>198.38632900078599</c:v>
                </c:pt>
                <c:pt idx="403">
                  <c:v>192.20073648966201</c:v>
                </c:pt>
                <c:pt idx="404">
                  <c:v>198.03590732602501</c:v>
                </c:pt>
                <c:pt idx="405">
                  <c:v>197.82448382436701</c:v>
                </c:pt>
                <c:pt idx="406">
                  <c:v>206.65329227731499</c:v>
                </c:pt>
                <c:pt idx="407">
                  <c:v>210.66301425607</c:v>
                </c:pt>
                <c:pt idx="408">
                  <c:v>#N/A</c:v>
                </c:pt>
                <c:pt idx="409">
                  <c:v>210.61438153209099</c:v>
                </c:pt>
                <c:pt idx="410">
                  <c:v>202.992880802965</c:v>
                </c:pt>
                <c:pt idx="411">
                  <c:v>205.53181063771399</c:v>
                </c:pt>
                <c:pt idx="412">
                  <c:v>202.78979325108699</c:v>
                </c:pt>
                <c:pt idx="413">
                  <c:v>205.365365310313</c:v>
                </c:pt>
                <c:pt idx="414">
                  <c:v>200.14686564219801</c:v>
                </c:pt>
                <c:pt idx="415">
                  <c:v>195.949464177848</c:v>
                </c:pt>
                <c:pt idx="416">
                  <c:v>191.13976839111001</c:v>
                </c:pt>
                <c:pt idx="417">
                  <c:v>#N/A</c:v>
                </c:pt>
                <c:pt idx="418">
                  <c:v>202.12251017114701</c:v>
                </c:pt>
                <c:pt idx="419">
                  <c:v>202.427085190968</c:v>
                </c:pt>
                <c:pt idx="420">
                  <c:v>202.03185824198499</c:v>
                </c:pt>
                <c:pt idx="421">
                  <c:v>204.83731056630199</c:v>
                </c:pt>
                <c:pt idx="422">
                  <c:v>203.85343219831799</c:v>
                </c:pt>
                <c:pt idx="423">
                  <c:v>209.668585060293</c:v>
                </c:pt>
                <c:pt idx="424">
                  <c:v>191.72263219504501</c:v>
                </c:pt>
                <c:pt idx="425">
                  <c:v>191.104352081954</c:v>
                </c:pt>
                <c:pt idx="426">
                  <c:v>204.91002606317701</c:v>
                </c:pt>
                <c:pt idx="427">
                  <c:v>209.65971373169401</c:v>
                </c:pt>
                <c:pt idx="428">
                  <c:v>213.13322024701199</c:v>
                </c:pt>
                <c:pt idx="429">
                  <c:v>211.84107862352201</c:v>
                </c:pt>
                <c:pt idx="430">
                  <c:v>#N/A</c:v>
                </c:pt>
                <c:pt idx="431">
                  <c:v>210.30713630283799</c:v>
                </c:pt>
                <c:pt idx="432">
                  <c:v>213.621440569067</c:v>
                </c:pt>
                <c:pt idx="433">
                  <c:v>212.313360581339</c:v>
                </c:pt>
                <c:pt idx="434">
                  <c:v>208.84173643180799</c:v>
                </c:pt>
                <c:pt idx="435">
                  <c:v>207.588261145362</c:v>
                </c:pt>
                <c:pt idx="436">
                  <c:v>210.12634974641901</c:v>
                </c:pt>
                <c:pt idx="437">
                  <c:v>207.16642318480501</c:v>
                </c:pt>
                <c:pt idx="438">
                  <c:v>201.546304868942</c:v>
                </c:pt>
                <c:pt idx="439">
                  <c:v>207.92100477095499</c:v>
                </c:pt>
                <c:pt idx="440">
                  <c:v>199.57030523869801</c:v>
                </c:pt>
                <c:pt idx="441">
                  <c:v>202.53851882072601</c:v>
                </c:pt>
                <c:pt idx="442">
                  <c:v>204.709357293842</c:v>
                </c:pt>
                <c:pt idx="443">
                  <c:v>#N/A</c:v>
                </c:pt>
                <c:pt idx="444">
                  <c:v>211.68488944022701</c:v>
                </c:pt>
                <c:pt idx="445">
                  <c:v>209.57818871124101</c:v>
                </c:pt>
                <c:pt idx="446">
                  <c:v>212.28263710477799</c:v>
                </c:pt>
                <c:pt idx="447">
                  <c:v>205.97024799566901</c:v>
                </c:pt>
                <c:pt idx="448">
                  <c:v>200.50271950824001</c:v>
                </c:pt>
                <c:pt idx="449">
                  <c:v>200.891871061144</c:v>
                </c:pt>
                <c:pt idx="450">
                  <c:v>210.41149117991799</c:v>
                </c:pt>
                <c:pt idx="451">
                  <c:v>212.65437816119501</c:v>
                </c:pt>
                <c:pt idx="452">
                  <c:v>214.77302621807601</c:v>
                </c:pt>
                <c:pt idx="453">
                  <c:v>#N/A</c:v>
                </c:pt>
                <c:pt idx="454">
                  <c:v>#N/A</c:v>
                </c:pt>
                <c:pt idx="455">
                  <c:v>#N/A</c:v>
                </c:pt>
                <c:pt idx="456">
                  <c:v>#N/A</c:v>
                </c:pt>
                <c:pt idx="457">
                  <c:v>#N/A</c:v>
                </c:pt>
                <c:pt idx="458">
                  <c:v>#N/A</c:v>
                </c:pt>
                <c:pt idx="459">
                  <c:v>#N/A</c:v>
                </c:pt>
                <c:pt idx="460">
                  <c:v>#N/A</c:v>
                </c:pt>
                <c:pt idx="461">
                  <c:v>#N/A</c:v>
                </c:pt>
                <c:pt idx="462">
                  <c:v>#N/A</c:v>
                </c:pt>
                <c:pt idx="463">
                  <c:v>#N/A</c:v>
                </c:pt>
                <c:pt idx="464">
                  <c:v>212.849607368845</c:v>
                </c:pt>
                <c:pt idx="465">
                  <c:v>211.68618011279199</c:v>
                </c:pt>
                <c:pt idx="466">
                  <c:v>203.01595913883901</c:v>
                </c:pt>
                <c:pt idx="467">
                  <c:v>127.938194657867</c:v>
                </c:pt>
                <c:pt idx="468">
                  <c:v>#N/A</c:v>
                </c:pt>
                <c:pt idx="469">
                  <c:v>200.07417797761099</c:v>
                </c:pt>
                <c:pt idx="470">
                  <c:v>206.532978697662</c:v>
                </c:pt>
                <c:pt idx="471">
                  <c:v>211.595259611953</c:v>
                </c:pt>
                <c:pt idx="472">
                  <c:v>208.738109860864</c:v>
                </c:pt>
                <c:pt idx="473">
                  <c:v>208.61193955411201</c:v>
                </c:pt>
                <c:pt idx="474">
                  <c:v>210.75878989718899</c:v>
                </c:pt>
                <c:pt idx="475">
                  <c:v>210.331272838525</c:v>
                </c:pt>
                <c:pt idx="476">
                  <c:v>209.64894843854</c:v>
                </c:pt>
                <c:pt idx="477">
                  <c:v>#N/A</c:v>
                </c:pt>
                <c:pt idx="478">
                  <c:v>209.78498298403699</c:v>
                </c:pt>
                <c:pt idx="479">
                  <c:v>209.46207277983001</c:v>
                </c:pt>
                <c:pt idx="480">
                  <c:v>199.364796840661</c:v>
                </c:pt>
                <c:pt idx="481">
                  <c:v>197.045692030754</c:v>
                </c:pt>
                <c:pt idx="482">
                  <c:v>197.34286124475901</c:v>
                </c:pt>
                <c:pt idx="483">
                  <c:v>198.457980498914</c:v>
                </c:pt>
                <c:pt idx="484">
                  <c:v>199.345106701764</c:v>
                </c:pt>
                <c:pt idx="485">
                  <c:v>200.19355977398101</c:v>
                </c:pt>
                <c:pt idx="486">
                  <c:v>203.39680272159299</c:v>
                </c:pt>
                <c:pt idx="487">
                  <c:v>196.90628790800801</c:v>
                </c:pt>
                <c:pt idx="488">
                  <c:v>195.031553572463</c:v>
                </c:pt>
                <c:pt idx="489">
                  <c:v>190.03264580402299</c:v>
                </c:pt>
                <c:pt idx="490">
                  <c:v>195.180325979994</c:v>
                </c:pt>
                <c:pt idx="491">
                  <c:v>199.76468504934201</c:v>
                </c:pt>
                <c:pt idx="492">
                  <c:v>185.94677021458301</c:v>
                </c:pt>
                <c:pt idx="493">
                  <c:v>116.96655266989799</c:v>
                </c:pt>
                <c:pt idx="494">
                  <c:v>69.765243603392904</c:v>
                </c:pt>
                <c:pt idx="495">
                  <c:v>#N/A</c:v>
                </c:pt>
                <c:pt idx="496">
                  <c:v>#N/A</c:v>
                </c:pt>
                <c:pt idx="497">
                  <c:v>#N/A</c:v>
                </c:pt>
                <c:pt idx="498">
                  <c:v>#N/A</c:v>
                </c:pt>
                <c:pt idx="499">
                  <c:v>#N/A</c:v>
                </c:pt>
                <c:pt idx="500">
                  <c:v>#N/A</c:v>
                </c:pt>
                <c:pt idx="501">
                  <c:v>209.84345530065301</c:v>
                </c:pt>
                <c:pt idx="502">
                  <c:v>205.45196735902201</c:v>
                </c:pt>
                <c:pt idx="503">
                  <c:v>200.23528273940201</c:v>
                </c:pt>
                <c:pt idx="504">
                  <c:v>197.369133482878</c:v>
                </c:pt>
                <c:pt idx="505">
                  <c:v>199.73838875631299</c:v>
                </c:pt>
                <c:pt idx="506">
                  <c:v>#N/A</c:v>
                </c:pt>
                <c:pt idx="507">
                  <c:v>203.60721717669199</c:v>
                </c:pt>
                <c:pt idx="508">
                  <c:v>#N/A</c:v>
                </c:pt>
                <c:pt idx="509">
                  <c:v>209.94757868297401</c:v>
                </c:pt>
                <c:pt idx="510">
                  <c:v>210.18914525296</c:v>
                </c:pt>
                <c:pt idx="511">
                  <c:v>209.66868631574999</c:v>
                </c:pt>
                <c:pt idx="512">
                  <c:v>#N/A</c:v>
                </c:pt>
                <c:pt idx="513">
                  <c:v>#N/A</c:v>
                </c:pt>
                <c:pt idx="514">
                  <c:v>#N/A</c:v>
                </c:pt>
                <c:pt idx="515">
                  <c:v>#N/A</c:v>
                </c:pt>
                <c:pt idx="516">
                  <c:v>#N/A</c:v>
                </c:pt>
                <c:pt idx="517">
                  <c:v>192.53066040612299</c:v>
                </c:pt>
                <c:pt idx="518">
                  <c:v>202.975907563379</c:v>
                </c:pt>
                <c:pt idx="519">
                  <c:v>208.154512512976</c:v>
                </c:pt>
                <c:pt idx="520">
                  <c:v>209.790430644846</c:v>
                </c:pt>
                <c:pt idx="521">
                  <c:v>212.42647704067599</c:v>
                </c:pt>
                <c:pt idx="522">
                  <c:v>#N/A</c:v>
                </c:pt>
                <c:pt idx="523">
                  <c:v>#N/A</c:v>
                </c:pt>
                <c:pt idx="524">
                  <c:v>#N/A</c:v>
                </c:pt>
                <c:pt idx="525">
                  <c:v>#N/A</c:v>
                </c:pt>
                <c:pt idx="526">
                  <c:v>205.068833961038</c:v>
                </c:pt>
                <c:pt idx="527">
                  <c:v>186.77264306491301</c:v>
                </c:pt>
                <c:pt idx="528">
                  <c:v>189.914166041713</c:v>
                </c:pt>
                <c:pt idx="529">
                  <c:v>#N/A</c:v>
                </c:pt>
                <c:pt idx="530">
                  <c:v>201.62853916566101</c:v>
                </c:pt>
                <c:pt idx="531">
                  <c:v>197.325108046916</c:v>
                </c:pt>
                <c:pt idx="532">
                  <c:v>189.93612628589801</c:v>
                </c:pt>
                <c:pt idx="533">
                  <c:v>182.91675599195901</c:v>
                </c:pt>
                <c:pt idx="534">
                  <c:v>186.69096863654201</c:v>
                </c:pt>
                <c:pt idx="535">
                  <c:v>197.61283429295301</c:v>
                </c:pt>
                <c:pt idx="536">
                  <c:v>190.03667369928101</c:v>
                </c:pt>
                <c:pt idx="537">
                  <c:v>194.72714589366001</c:v>
                </c:pt>
                <c:pt idx="538">
                  <c:v>197.33249214630399</c:v>
                </c:pt>
                <c:pt idx="539">
                  <c:v>193.987285673511</c:v>
                </c:pt>
                <c:pt idx="540">
                  <c:v>190.472609305963</c:v>
                </c:pt>
                <c:pt idx="541">
                  <c:v>191.817511148146</c:v>
                </c:pt>
                <c:pt idx="542">
                  <c:v>#N/A</c:v>
                </c:pt>
                <c:pt idx="543">
                  <c:v>184.97375638193299</c:v>
                </c:pt>
                <c:pt idx="544">
                  <c:v>#N/A</c:v>
                </c:pt>
                <c:pt idx="545">
                  <c:v>190.79830443585399</c:v>
                </c:pt>
                <c:pt idx="546">
                  <c:v>189.88642193606199</c:v>
                </c:pt>
                <c:pt idx="547">
                  <c:v>192.392993833025</c:v>
                </c:pt>
                <c:pt idx="548">
                  <c:v>203.39000925099501</c:v>
                </c:pt>
                <c:pt idx="549">
                  <c:v>192.35942619646201</c:v>
                </c:pt>
                <c:pt idx="550">
                  <c:v>202.61994026971399</c:v>
                </c:pt>
                <c:pt idx="551">
                  <c:v>202.34047191487701</c:v>
                </c:pt>
                <c:pt idx="552">
                  <c:v>205.37199554873399</c:v>
                </c:pt>
                <c:pt idx="553">
                  <c:v>201.79711683001301</c:v>
                </c:pt>
                <c:pt idx="554">
                  <c:v>201.144608574355</c:v>
                </c:pt>
                <c:pt idx="555">
                  <c:v>199.861377453394</c:v>
                </c:pt>
                <c:pt idx="556">
                  <c:v>201.91268464679001</c:v>
                </c:pt>
                <c:pt idx="557">
                  <c:v>196.411220905493</c:v>
                </c:pt>
                <c:pt idx="558">
                  <c:v>203.74171007381199</c:v>
                </c:pt>
                <c:pt idx="559">
                  <c:v>200.90153759187399</c:v>
                </c:pt>
                <c:pt idx="560">
                  <c:v>199.078719840048</c:v>
                </c:pt>
                <c:pt idx="561">
                  <c:v>196.54300014539101</c:v>
                </c:pt>
                <c:pt idx="562">
                  <c:v>185.61302531418599</c:v>
                </c:pt>
                <c:pt idx="563">
                  <c:v>199.57870588732399</c:v>
                </c:pt>
                <c:pt idx="564">
                  <c:v>187.07229492901101</c:v>
                </c:pt>
                <c:pt idx="565">
                  <c:v>183.88318252838101</c:v>
                </c:pt>
                <c:pt idx="566">
                  <c:v>185.800142082918</c:v>
                </c:pt>
                <c:pt idx="567">
                  <c:v>190.14147484357201</c:v>
                </c:pt>
                <c:pt idx="568">
                  <c:v>179.06405772930501</c:v>
                </c:pt>
                <c:pt idx="569">
                  <c:v>178.606277728973</c:v>
                </c:pt>
                <c:pt idx="570">
                  <c:v>#N/A</c:v>
                </c:pt>
                <c:pt idx="571">
                  <c:v>179.611103427063</c:v>
                </c:pt>
                <c:pt idx="572">
                  <c:v>#N/A</c:v>
                </c:pt>
                <c:pt idx="573">
                  <c:v>#N/A</c:v>
                </c:pt>
                <c:pt idx="574">
                  <c:v>196.26551206256599</c:v>
                </c:pt>
                <c:pt idx="575">
                  <c:v>198.669475507447</c:v>
                </c:pt>
                <c:pt idx="576">
                  <c:v>197.24799195420499</c:v>
                </c:pt>
                <c:pt idx="577">
                  <c:v>197.44328544144301</c:v>
                </c:pt>
                <c:pt idx="578">
                  <c:v>203.99160200905499</c:v>
                </c:pt>
                <c:pt idx="579">
                  <c:v>198.02377603093501</c:v>
                </c:pt>
                <c:pt idx="580">
                  <c:v>196.27571474327499</c:v>
                </c:pt>
                <c:pt idx="581">
                  <c:v>183.208239056152</c:v>
                </c:pt>
                <c:pt idx="582">
                  <c:v>199.51552732354</c:v>
                </c:pt>
                <c:pt idx="583">
                  <c:v>200.36138110582601</c:v>
                </c:pt>
                <c:pt idx="584">
                  <c:v>197.05882998083601</c:v>
                </c:pt>
                <c:pt idx="585">
                  <c:v>#N/A</c:v>
                </c:pt>
                <c:pt idx="586">
                  <c:v>184.94318384204101</c:v>
                </c:pt>
                <c:pt idx="587">
                  <c:v>199.30209146771301</c:v>
                </c:pt>
                <c:pt idx="588">
                  <c:v>195.545123257245</c:v>
                </c:pt>
                <c:pt idx="589">
                  <c:v>197.883439047872</c:v>
                </c:pt>
                <c:pt idx="590">
                  <c:v>194.93997508565201</c:v>
                </c:pt>
                <c:pt idx="591">
                  <c:v>194.857417398123</c:v>
                </c:pt>
                <c:pt idx="592">
                  <c:v>191.40626587697901</c:v>
                </c:pt>
                <c:pt idx="593">
                  <c:v>205.37318395720101</c:v>
                </c:pt>
                <c:pt idx="594">
                  <c:v>206.79618392315399</c:v>
                </c:pt>
                <c:pt idx="595">
                  <c:v>202.85260072718501</c:v>
                </c:pt>
                <c:pt idx="596">
                  <c:v>204.510329089566</c:v>
                </c:pt>
                <c:pt idx="597">
                  <c:v>205.40873451643299</c:v>
                </c:pt>
                <c:pt idx="598">
                  <c:v>200.12682667902101</c:v>
                </c:pt>
                <c:pt idx="599">
                  <c:v>192.11006568895201</c:v>
                </c:pt>
                <c:pt idx="600">
                  <c:v>190.95167679162799</c:v>
                </c:pt>
                <c:pt idx="601">
                  <c:v>185.00917375299301</c:v>
                </c:pt>
                <c:pt idx="602">
                  <c:v>#N/A</c:v>
                </c:pt>
                <c:pt idx="603">
                  <c:v>177.11262035307701</c:v>
                </c:pt>
                <c:pt idx="604">
                  <c:v>185.058473237144</c:v>
                </c:pt>
                <c:pt idx="605">
                  <c:v>198.038747189525</c:v>
                </c:pt>
                <c:pt idx="606">
                  <c:v>190.40639698840801</c:v>
                </c:pt>
                <c:pt idx="607">
                  <c:v>#N/A</c:v>
                </c:pt>
                <c:pt idx="608">
                  <c:v>203.494331568908</c:v>
                </c:pt>
                <c:pt idx="609">
                  <c:v>199.05418758923099</c:v>
                </c:pt>
                <c:pt idx="610">
                  <c:v>182.56889224868601</c:v>
                </c:pt>
                <c:pt idx="611">
                  <c:v>#N/A</c:v>
                </c:pt>
                <c:pt idx="612">
                  <c:v>#N/A</c:v>
                </c:pt>
                <c:pt idx="613">
                  <c:v>196.276744220963</c:v>
                </c:pt>
                <c:pt idx="614">
                  <c:v>202.69390881640501</c:v>
                </c:pt>
                <c:pt idx="615">
                  <c:v>200.32417546140499</c:v>
                </c:pt>
                <c:pt idx="616">
                  <c:v>192.42035117750899</c:v>
                </c:pt>
                <c:pt idx="617">
                  <c:v>187.433798630566</c:v>
                </c:pt>
                <c:pt idx="618">
                  <c:v>199.910286573267</c:v>
                </c:pt>
                <c:pt idx="619">
                  <c:v>200.03138455896999</c:v>
                </c:pt>
                <c:pt idx="620">
                  <c:v>200.40196604016</c:v>
                </c:pt>
                <c:pt idx="621">
                  <c:v>188.547753299661</c:v>
                </c:pt>
                <c:pt idx="622">
                  <c:v>189.581792473695</c:v>
                </c:pt>
                <c:pt idx="623">
                  <c:v>171.55016496121999</c:v>
                </c:pt>
                <c:pt idx="624">
                  <c:v>169.61982420740901</c:v>
                </c:pt>
                <c:pt idx="625">
                  <c:v>152.268736837565</c:v>
                </c:pt>
                <c:pt idx="626">
                  <c:v>160.063400430966</c:v>
                </c:pt>
                <c:pt idx="627">
                  <c:v>143.57875128536401</c:v>
                </c:pt>
                <c:pt idx="628">
                  <c:v>#N/A</c:v>
                </c:pt>
                <c:pt idx="629">
                  <c:v>#N/A</c:v>
                </c:pt>
                <c:pt idx="630">
                  <c:v>200.27374021391199</c:v>
                </c:pt>
                <c:pt idx="631">
                  <c:v>201.89737817989899</c:v>
                </c:pt>
                <c:pt idx="632">
                  <c:v>198.176649028669</c:v>
                </c:pt>
                <c:pt idx="633">
                  <c:v>189.72004251932901</c:v>
                </c:pt>
                <c:pt idx="634">
                  <c:v>199.53320343149599</c:v>
                </c:pt>
                <c:pt idx="635">
                  <c:v>195.65422153367899</c:v>
                </c:pt>
                <c:pt idx="636">
                  <c:v>194.32690159792699</c:v>
                </c:pt>
                <c:pt idx="637">
                  <c:v>193.89287135409199</c:v>
                </c:pt>
                <c:pt idx="638">
                  <c:v>189.44909472609601</c:v>
                </c:pt>
                <c:pt idx="639">
                  <c:v>161.40932429873499</c:v>
                </c:pt>
                <c:pt idx="640">
                  <c:v>#N/A</c:v>
                </c:pt>
                <c:pt idx="641">
                  <c:v>#N/A</c:v>
                </c:pt>
                <c:pt idx="642">
                  <c:v>#N/A</c:v>
                </c:pt>
                <c:pt idx="643">
                  <c:v>#N/A</c:v>
                </c:pt>
                <c:pt idx="644">
                  <c:v>184.56771327403001</c:v>
                </c:pt>
                <c:pt idx="645">
                  <c:v>#N/A</c:v>
                </c:pt>
                <c:pt idx="646">
                  <c:v>#N/A</c:v>
                </c:pt>
                <c:pt idx="647">
                  <c:v>#N/A</c:v>
                </c:pt>
                <c:pt idx="648">
                  <c:v>#N/A</c:v>
                </c:pt>
                <c:pt idx="649">
                  <c:v>201.80837143852801</c:v>
                </c:pt>
                <c:pt idx="650">
                  <c:v>#N/A</c:v>
                </c:pt>
                <c:pt idx="651">
                  <c:v>200.91932366613301</c:v>
                </c:pt>
                <c:pt idx="652">
                  <c:v>199.71928463089</c:v>
                </c:pt>
                <c:pt idx="653">
                  <c:v>199.72715825433099</c:v>
                </c:pt>
                <c:pt idx="654">
                  <c:v>200.47337203379101</c:v>
                </c:pt>
                <c:pt idx="655">
                  <c:v>#N/A</c:v>
                </c:pt>
                <c:pt idx="656">
                  <c:v>199.62701418966199</c:v>
                </c:pt>
                <c:pt idx="657">
                  <c:v>200.15724914688099</c:v>
                </c:pt>
                <c:pt idx="658">
                  <c:v>198.45382769325701</c:v>
                </c:pt>
                <c:pt idx="659">
                  <c:v>189.970474060778</c:v>
                </c:pt>
                <c:pt idx="660">
                  <c:v>192.83821832040601</c:v>
                </c:pt>
                <c:pt idx="661">
                  <c:v>190.19518421285201</c:v>
                </c:pt>
                <c:pt idx="662">
                  <c:v>193.498173356481</c:v>
                </c:pt>
                <c:pt idx="663">
                  <c:v>199.737010134184</c:v>
                </c:pt>
                <c:pt idx="664">
                  <c:v>201.77591216599501</c:v>
                </c:pt>
                <c:pt idx="665">
                  <c:v>199.505974249319</c:v>
                </c:pt>
                <c:pt idx="666">
                  <c:v>196.18158310517501</c:v>
                </c:pt>
                <c:pt idx="667">
                  <c:v>195.35412505769199</c:v>
                </c:pt>
                <c:pt idx="668">
                  <c:v>199.99138110476301</c:v>
                </c:pt>
                <c:pt idx="669">
                  <c:v>190.93373208581801</c:v>
                </c:pt>
                <c:pt idx="670">
                  <c:v>198.26924455549101</c:v>
                </c:pt>
                <c:pt idx="671">
                  <c:v>191.99671416345399</c:v>
                </c:pt>
                <c:pt idx="672">
                  <c:v>199.956415598489</c:v>
                </c:pt>
                <c:pt idx="673">
                  <c:v>200.974800632365</c:v>
                </c:pt>
                <c:pt idx="674">
                  <c:v>199.867289711913</c:v>
                </c:pt>
                <c:pt idx="675">
                  <c:v>200.51404521706201</c:v>
                </c:pt>
                <c:pt idx="676">
                  <c:v>200.00840401214299</c:v>
                </c:pt>
                <c:pt idx="677">
                  <c:v>184.03622670099099</c:v>
                </c:pt>
                <c:pt idx="678">
                  <c:v>193.81761030849799</c:v>
                </c:pt>
                <c:pt idx="679">
                  <c:v>194.93524098798201</c:v>
                </c:pt>
                <c:pt idx="680">
                  <c:v>195.319426291312</c:v>
                </c:pt>
                <c:pt idx="681">
                  <c:v>180.71889144306499</c:v>
                </c:pt>
                <c:pt idx="682">
                  <c:v>183.031631156272</c:v>
                </c:pt>
                <c:pt idx="683">
                  <c:v>205.27771959884299</c:v>
                </c:pt>
                <c:pt idx="684">
                  <c:v>#N/A</c:v>
                </c:pt>
                <c:pt idx="685">
                  <c:v>200.38683800161499</c:v>
                </c:pt>
                <c:pt idx="686">
                  <c:v>200.330996378778</c:v>
                </c:pt>
                <c:pt idx="687">
                  <c:v>198.561164638343</c:v>
                </c:pt>
                <c:pt idx="688">
                  <c:v>198.00824507869001</c:v>
                </c:pt>
                <c:pt idx="689">
                  <c:v>197.330540120959</c:v>
                </c:pt>
                <c:pt idx="690">
                  <c:v>198.27611679907599</c:v>
                </c:pt>
                <c:pt idx="691">
                  <c:v>193.355457137249</c:v>
                </c:pt>
                <c:pt idx="692">
                  <c:v>190.11842042919099</c:v>
                </c:pt>
                <c:pt idx="693">
                  <c:v>200.02224102512099</c:v>
                </c:pt>
                <c:pt idx="694">
                  <c:v>199.87209784733301</c:v>
                </c:pt>
                <c:pt idx="695">
                  <c:v>200.147168459932</c:v>
                </c:pt>
                <c:pt idx="696">
                  <c:v>196.74875743213499</c:v>
                </c:pt>
                <c:pt idx="697">
                  <c:v>195.09151537115599</c:v>
                </c:pt>
                <c:pt idx="698">
                  <c:v>198.31697374326899</c:v>
                </c:pt>
                <c:pt idx="699">
                  <c:v>196.1304599664</c:v>
                </c:pt>
                <c:pt idx="700">
                  <c:v>190.27406996946701</c:v>
                </c:pt>
                <c:pt idx="701">
                  <c:v>#N/A</c:v>
                </c:pt>
                <c:pt idx="702">
                  <c:v>170.967465006097</c:v>
                </c:pt>
                <c:pt idx="703">
                  <c:v>194.82277440936701</c:v>
                </c:pt>
                <c:pt idx="704">
                  <c:v>195.698949010825</c:v>
                </c:pt>
                <c:pt idx="705">
                  <c:v>195.56037357538099</c:v>
                </c:pt>
                <c:pt idx="706">
                  <c:v>189.552547455704</c:v>
                </c:pt>
                <c:pt idx="707">
                  <c:v>#N/A</c:v>
                </c:pt>
                <c:pt idx="708">
                  <c:v>#N/A</c:v>
                </c:pt>
                <c:pt idx="709">
                  <c:v>193.328821626544</c:v>
                </c:pt>
                <c:pt idx="710">
                  <c:v>192.87771104060801</c:v>
                </c:pt>
                <c:pt idx="711">
                  <c:v>190.267418012913</c:v>
                </c:pt>
                <c:pt idx="712">
                  <c:v>188.02532623696601</c:v>
                </c:pt>
                <c:pt idx="713">
                  <c:v>189.73774822940899</c:v>
                </c:pt>
                <c:pt idx="714">
                  <c:v>199.369545052539</c:v>
                </c:pt>
                <c:pt idx="715">
                  <c:v>200.75824480406999</c:v>
                </c:pt>
                <c:pt idx="716">
                  <c:v>204.18539045694101</c:v>
                </c:pt>
                <c:pt idx="717">
                  <c:v>200.45496219757999</c:v>
                </c:pt>
                <c:pt idx="718">
                  <c:v>#N/A</c:v>
                </c:pt>
                <c:pt idx="719">
                  <c:v>198.654111100318</c:v>
                </c:pt>
                <c:pt idx="720">
                  <c:v>199.07211316560699</c:v>
                </c:pt>
                <c:pt idx="721">
                  <c:v>200.466453362854</c:v>
                </c:pt>
                <c:pt idx="722">
                  <c:v>198.15825906388699</c:v>
                </c:pt>
                <c:pt idx="723">
                  <c:v>194.26387662660301</c:v>
                </c:pt>
                <c:pt idx="724">
                  <c:v>159.72463653362999</c:v>
                </c:pt>
                <c:pt idx="725">
                  <c:v>#N/A</c:v>
                </c:pt>
                <c:pt idx="726">
                  <c:v>#N/A</c:v>
                </c:pt>
                <c:pt idx="727">
                  <c:v>#N/A</c:v>
                </c:pt>
                <c:pt idx="728">
                  <c:v>196.47276508566799</c:v>
                </c:pt>
                <c:pt idx="729">
                  <c:v>199.847304953178</c:v>
                </c:pt>
                <c:pt idx="730">
                  <c:v>197.65918572191899</c:v>
                </c:pt>
                <c:pt idx="731">
                  <c:v>196.5943893063845</c:v>
                </c:pt>
                <c:pt idx="732">
                  <c:v>194.51249989842162</c:v>
                </c:pt>
                <c:pt idx="733">
                  <c:v>195.47466834948239</c:v>
                </c:pt>
                <c:pt idx="734">
                  <c:v>196.16422385037691</c:v>
                </c:pt>
                <c:pt idx="735">
                  <c:v>#N/A</c:v>
                </c:pt>
                <c:pt idx="736">
                  <c:v>194.98897047763228</c:v>
                </c:pt>
                <c:pt idx="737">
                  <c:v>194.52564743541899</c:v>
                </c:pt>
                <c:pt idx="738">
                  <c:v>195.06352776765377</c:v>
                </c:pt>
                <c:pt idx="739">
                  <c:v>195.16808303939249</c:v>
                </c:pt>
                <c:pt idx="740">
                  <c:v>194.58976752411678</c:v>
                </c:pt>
                <c:pt idx="741">
                  <c:v>200.37949871513541</c:v>
                </c:pt>
                <c:pt idx="742">
                  <c:v>200.13883569379726</c:v>
                </c:pt>
                <c:pt idx="743">
                  <c:v>199.57149366915539</c:v>
                </c:pt>
                <c:pt idx="744">
                  <c:v>200.09623904967467</c:v>
                </c:pt>
                <c:pt idx="745">
                  <c:v>200.44406232602259</c:v>
                </c:pt>
                <c:pt idx="746">
                  <c:v>200.4425787607137</c:v>
                </c:pt>
                <c:pt idx="747">
                  <c:v>195.06491621547227</c:v>
                </c:pt>
                <c:pt idx="748">
                  <c:v>199.88815884616943</c:v>
                </c:pt>
                <c:pt idx="749">
                  <c:v>200.28384434530528</c:v>
                </c:pt>
                <c:pt idx="750">
                  <c:v>198.75498321953157</c:v>
                </c:pt>
                <c:pt idx="751">
                  <c:v>195.04987789351114</c:v>
                </c:pt>
                <c:pt idx="752">
                  <c:v>202.40299892644953</c:v>
                </c:pt>
                <c:pt idx="753">
                  <c:v>200.45114466991467</c:v>
                </c:pt>
                <c:pt idx="754">
                  <c:v>201.49336365755505</c:v>
                </c:pt>
                <c:pt idx="755">
                  <c:v>201.00829262953388</c:v>
                </c:pt>
                <c:pt idx="756">
                  <c:v>199.63586701725049</c:v>
                </c:pt>
                <c:pt idx="757">
                  <c:v>200.98231305675188</c:v>
                </c:pt>
                <c:pt idx="758">
                  <c:v>201.67776705423566</c:v>
                </c:pt>
                <c:pt idx="759">
                  <c:v>198.71075957223488</c:v>
                </c:pt>
                <c:pt idx="760">
                  <c:v>197.43429363393827</c:v>
                </c:pt>
                <c:pt idx="761">
                  <c:v>194.55149700768456</c:v>
                </c:pt>
                <c:pt idx="762">
                  <c:v>194.58417403573966</c:v>
                </c:pt>
                <c:pt idx="763">
                  <c:v>199.95946864748026</c:v>
                </c:pt>
                <c:pt idx="764">
                  <c:v>197.62546385102374</c:v>
                </c:pt>
                <c:pt idx="765">
                  <c:v>194.86122546819965</c:v>
                </c:pt>
                <c:pt idx="766">
                  <c:v>196.07298109926884</c:v>
                </c:pt>
                <c:pt idx="767">
                  <c:v>200.16873293430106</c:v>
                </c:pt>
                <c:pt idx="768">
                  <c:v>200.48134764053282</c:v>
                </c:pt>
                <c:pt idx="769">
                  <c:v>189.80310828724518</c:v>
                </c:pt>
                <c:pt idx="770">
                  <c:v>190.99652599118289</c:v>
                </c:pt>
                <c:pt idx="771">
                  <c:v>200.24978107092778</c:v>
                </c:pt>
                <c:pt idx="772">
                  <c:v>201.54012105931571</c:v>
                </c:pt>
                <c:pt idx="773">
                  <c:v>203.42898759768224</c:v>
                </c:pt>
                <c:pt idx="774">
                  <c:v>201.80692277548221</c:v>
                </c:pt>
                <c:pt idx="775">
                  <c:v>202.80640826717732</c:v>
                </c:pt>
                <c:pt idx="776">
                  <c:v>202.479213499982</c:v>
                </c:pt>
                <c:pt idx="777">
                  <c:v>200.80566432792824</c:v>
                </c:pt>
                <c:pt idx="778">
                  <c:v>200.65049125756565</c:v>
                </c:pt>
                <c:pt idx="779">
                  <c:v>201.49217610899774</c:v>
                </c:pt>
                <c:pt idx="780">
                  <c:v>200.36821897760194</c:v>
                </c:pt>
                <c:pt idx="781">
                  <c:v>200.41732346278769</c:v>
                </c:pt>
                <c:pt idx="782">
                  <c:v>203.62479617334944</c:v>
                </c:pt>
                <c:pt idx="783">
                  <c:v>204.58551817454389</c:v>
                </c:pt>
                <c:pt idx="784">
                  <c:v>196.08058162692237</c:v>
                </c:pt>
                <c:pt idx="785">
                  <c:v>197.66866972972707</c:v>
                </c:pt>
                <c:pt idx="786">
                  <c:v>194.63811564224588</c:v>
                </c:pt>
                <c:pt idx="787">
                  <c:v>195.00350979709214</c:v>
                </c:pt>
                <c:pt idx="788">
                  <c:v>162.75179932615703</c:v>
                </c:pt>
                <c:pt idx="789">
                  <c:v>#N/A</c:v>
                </c:pt>
                <c:pt idx="790">
                  <c:v>#N/A</c:v>
                </c:pt>
                <c:pt idx="791">
                  <c:v>200.42088092342931</c:v>
                </c:pt>
                <c:pt idx="792">
                  <c:v>196.7751815709438</c:v>
                </c:pt>
                <c:pt idx="793">
                  <c:v>195.70693953022237</c:v>
                </c:pt>
                <c:pt idx="794">
                  <c:v>197.93631674939238</c:v>
                </c:pt>
                <c:pt idx="795">
                  <c:v>200.46012460177189</c:v>
                </c:pt>
                <c:pt idx="796">
                  <c:v>200.02268762437672</c:v>
                </c:pt>
                <c:pt idx="797">
                  <c:v>199.9047531496042</c:v>
                </c:pt>
                <c:pt idx="798">
                  <c:v>199.82059078009826</c:v>
                </c:pt>
                <c:pt idx="799">
                  <c:v>199.51302097537811</c:v>
                </c:pt>
                <c:pt idx="800">
                  <c:v>195.24894966697423</c:v>
                </c:pt>
                <c:pt idx="801">
                  <c:v>200.18529057924698</c:v>
                </c:pt>
                <c:pt idx="802">
                  <c:v>195.25287981028265</c:v>
                </c:pt>
                <c:pt idx="803">
                  <c:v>195.40633390624438</c:v>
                </c:pt>
                <c:pt idx="804">
                  <c:v>195.2685390397323</c:v>
                </c:pt>
                <c:pt idx="805">
                  <c:v>196.83628129089135</c:v>
                </c:pt>
                <c:pt idx="806">
                  <c:v>195.39651788732067</c:v>
                </c:pt>
                <c:pt idx="807">
                  <c:v>195.06374825261724</c:v>
                </c:pt>
                <c:pt idx="808">
                  <c:v>190.04711225294361</c:v>
                </c:pt>
                <c:pt idx="809">
                  <c:v>182.02740895623515</c:v>
                </c:pt>
                <c:pt idx="810">
                  <c:v>178.12835357570108</c:v>
                </c:pt>
                <c:pt idx="811">
                  <c:v>#N/A</c:v>
                </c:pt>
                <c:pt idx="812">
                  <c:v>#N/A</c:v>
                </c:pt>
                <c:pt idx="813">
                  <c:v>170.19158117597544</c:v>
                </c:pt>
                <c:pt idx="814">
                  <c:v>#N/A</c:v>
                </c:pt>
                <c:pt idx="815">
                  <c:v>179.89985896726367</c:v>
                </c:pt>
                <c:pt idx="816">
                  <c:v>188.170892295339</c:v>
                </c:pt>
                <c:pt idx="817">
                  <c:v>196.08422575945292</c:v>
                </c:pt>
                <c:pt idx="818">
                  <c:v>194.09611973813472</c:v>
                </c:pt>
                <c:pt idx="819">
                  <c:v>192.2074972366058</c:v>
                </c:pt>
                <c:pt idx="820">
                  <c:v>198.90326416656532</c:v>
                </c:pt>
                <c:pt idx="821">
                  <c:v>190.18620904734604</c:v>
                </c:pt>
                <c:pt idx="822">
                  <c:v>189.6002653906705</c:v>
                </c:pt>
                <c:pt idx="823">
                  <c:v>196.73303589961188</c:v>
                </c:pt>
                <c:pt idx="824">
                  <c:v>187.02953923448831</c:v>
                </c:pt>
                <c:pt idx="825">
                  <c:v>171.20941448047955</c:v>
                </c:pt>
                <c:pt idx="826">
                  <c:v>179.04975677980892</c:v>
                </c:pt>
                <c:pt idx="827">
                  <c:v>172.98829798266613</c:v>
                </c:pt>
                <c:pt idx="828">
                  <c:v>#N/A</c:v>
                </c:pt>
                <c:pt idx="829">
                  <c:v>160.15049111354321</c:v>
                </c:pt>
                <c:pt idx="830">
                  <c:v>163.10111823204591</c:v>
                </c:pt>
                <c:pt idx="831">
                  <c:v>162.49552817067033</c:v>
                </c:pt>
                <c:pt idx="832">
                  <c:v>#N/A</c:v>
                </c:pt>
                <c:pt idx="833">
                  <c:v>177.36504724537755</c:v>
                </c:pt>
                <c:pt idx="834">
                  <c:v>182.36646252119627</c:v>
                </c:pt>
                <c:pt idx="835">
                  <c:v>197.57721084792419</c:v>
                </c:pt>
                <c:pt idx="836">
                  <c:v>197.25772701146744</c:v>
                </c:pt>
                <c:pt idx="837">
                  <c:v>199.01885934770957</c:v>
                </c:pt>
                <c:pt idx="838">
                  <c:v>198.83611886313622</c:v>
                </c:pt>
                <c:pt idx="839">
                  <c:v>193.56287940248527</c:v>
                </c:pt>
                <c:pt idx="840">
                  <c:v>192.31264743778036</c:v>
                </c:pt>
                <c:pt idx="841">
                  <c:v>191.63926327587012</c:v>
                </c:pt>
                <c:pt idx="842">
                  <c:v>189.69426579433542</c:v>
                </c:pt>
                <c:pt idx="843">
                  <c:v>187.97250235056393</c:v>
                </c:pt>
                <c:pt idx="844">
                  <c:v>188.0255539936592</c:v>
                </c:pt>
                <c:pt idx="845">
                  <c:v>191.78917182774148</c:v>
                </c:pt>
                <c:pt idx="846">
                  <c:v>183.98395607940995</c:v>
                </c:pt>
                <c:pt idx="847">
                  <c:v>191.58632476092035</c:v>
                </c:pt>
                <c:pt idx="848">
                  <c:v>192.92348159868467</c:v>
                </c:pt>
                <c:pt idx="849">
                  <c:v>175.43598027603372</c:v>
                </c:pt>
                <c:pt idx="850">
                  <c:v>193.94328561435555</c:v>
                </c:pt>
                <c:pt idx="851">
                  <c:v>199.23425005022304</c:v>
                </c:pt>
                <c:pt idx="852">
                  <c:v>184.33871046460763</c:v>
                </c:pt>
                <c:pt idx="853">
                  <c:v>194.72714752575956</c:v>
                </c:pt>
                <c:pt idx="854">
                  <c:v>189.82202396826116</c:v>
                </c:pt>
                <c:pt idx="855">
                  <c:v>187.59771238203237</c:v>
                </c:pt>
                <c:pt idx="856">
                  <c:v>188.72766682751526</c:v>
                </c:pt>
                <c:pt idx="857">
                  <c:v>191.60814101453991</c:v>
                </c:pt>
                <c:pt idx="858">
                  <c:v>192.08167657234958</c:v>
                </c:pt>
                <c:pt idx="859">
                  <c:v>180.3721059346459</c:v>
                </c:pt>
                <c:pt idx="860">
                  <c:v>#N/A</c:v>
                </c:pt>
                <c:pt idx="861">
                  <c:v>#N/A</c:v>
                </c:pt>
                <c:pt idx="862">
                  <c:v>#N/A</c:v>
                </c:pt>
                <c:pt idx="863">
                  <c:v>197.90826406043936</c:v>
                </c:pt>
                <c:pt idx="864">
                  <c:v>#N/A</c:v>
                </c:pt>
                <c:pt idx="865">
                  <c:v>#N/A</c:v>
                </c:pt>
                <c:pt idx="866">
                  <c:v>201.92772237426297</c:v>
                </c:pt>
                <c:pt idx="867">
                  <c:v>196.83810389292307</c:v>
                </c:pt>
                <c:pt idx="868">
                  <c:v>#N/A</c:v>
                </c:pt>
                <c:pt idx="869">
                  <c:v>#N/A</c:v>
                </c:pt>
                <c:pt idx="870">
                  <c:v>201.82209862547907</c:v>
                </c:pt>
                <c:pt idx="871">
                  <c:v>201.73884890721033</c:v>
                </c:pt>
                <c:pt idx="872">
                  <c:v>202.33908305633159</c:v>
                </c:pt>
                <c:pt idx="873">
                  <c:v>200.26746830204215</c:v>
                </c:pt>
                <c:pt idx="874">
                  <c:v>199.99741331747975</c:v>
                </c:pt>
                <c:pt idx="875">
                  <c:v>199.80317562366511</c:v>
                </c:pt>
                <c:pt idx="876">
                  <c:v>199.5039967393204</c:v>
                </c:pt>
                <c:pt idx="877">
                  <c:v>199.72967056552139</c:v>
                </c:pt>
                <c:pt idx="878">
                  <c:v>199.59145147375736</c:v>
                </c:pt>
                <c:pt idx="879">
                  <c:v>202.06814050084631</c:v>
                </c:pt>
                <c:pt idx="880">
                  <c:v>199.84213602868024</c:v>
                </c:pt>
                <c:pt idx="881">
                  <c:v>200.37899963820823</c:v>
                </c:pt>
                <c:pt idx="882">
                  <c:v>196.95932827871263</c:v>
                </c:pt>
                <c:pt idx="883">
                  <c:v>195.41470643223187</c:v>
                </c:pt>
                <c:pt idx="884">
                  <c:v>187.93496059982826</c:v>
                </c:pt>
                <c:pt idx="885">
                  <c:v>183.121341675232</c:v>
                </c:pt>
                <c:pt idx="886">
                  <c:v>189.09825221111274</c:v>
                </c:pt>
                <c:pt idx="887">
                  <c:v>194.70411318643067</c:v>
                </c:pt>
                <c:pt idx="888">
                  <c:v>195.77835960336577</c:v>
                </c:pt>
                <c:pt idx="889">
                  <c:v>196.26818814351617</c:v>
                </c:pt>
                <c:pt idx="890">
                  <c:v>193.06698710071291</c:v>
                </c:pt>
                <c:pt idx="891">
                  <c:v>192.02846782359464</c:v>
                </c:pt>
                <c:pt idx="892">
                  <c:v>190.19483867619419</c:v>
                </c:pt>
                <c:pt idx="893">
                  <c:v>190.31852160262525</c:v>
                </c:pt>
                <c:pt idx="894">
                  <c:v>#N/A</c:v>
                </c:pt>
                <c:pt idx="895">
                  <c:v>190.99507929097189</c:v>
                </c:pt>
                <c:pt idx="896">
                  <c:v>195.79846682536672</c:v>
                </c:pt>
                <c:pt idx="897">
                  <c:v>190.0539120853183</c:v>
                </c:pt>
                <c:pt idx="898">
                  <c:v>#N/A</c:v>
                </c:pt>
                <c:pt idx="899">
                  <c:v>195.0333721250191</c:v>
                </c:pt>
                <c:pt idx="900">
                  <c:v>190.34105119335214</c:v>
                </c:pt>
                <c:pt idx="901">
                  <c:v>190.24455725110556</c:v>
                </c:pt>
                <c:pt idx="902">
                  <c:v>194.89382086895563</c:v>
                </c:pt>
                <c:pt idx="903">
                  <c:v>197.73120266681812</c:v>
                </c:pt>
                <c:pt idx="904">
                  <c:v>195.83145123660944</c:v>
                </c:pt>
                <c:pt idx="905">
                  <c:v>192.64514699775856</c:v>
                </c:pt>
                <c:pt idx="906">
                  <c:v>191.99488786849687</c:v>
                </c:pt>
                <c:pt idx="907">
                  <c:v>188.0002441259345</c:v>
                </c:pt>
                <c:pt idx="908">
                  <c:v>188.92656680854125</c:v>
                </c:pt>
                <c:pt idx="909">
                  <c:v>170.3108233460398</c:v>
                </c:pt>
                <c:pt idx="910">
                  <c:v>191.5018753444424</c:v>
                </c:pt>
                <c:pt idx="911">
                  <c:v>#N/A</c:v>
                </c:pt>
                <c:pt idx="912">
                  <c:v>#N/A</c:v>
                </c:pt>
                <c:pt idx="913">
                  <c:v>195.8412224520242</c:v>
                </c:pt>
                <c:pt idx="914">
                  <c:v>196.02488516409511</c:v>
                </c:pt>
                <c:pt idx="915">
                  <c:v>196.45532046051599</c:v>
                </c:pt>
                <c:pt idx="916">
                  <c:v>194.70234817233586</c:v>
                </c:pt>
                <c:pt idx="917">
                  <c:v>195.33993943133265</c:v>
                </c:pt>
                <c:pt idx="918">
                  <c:v>193.33960739608656</c:v>
                </c:pt>
                <c:pt idx="919">
                  <c:v>189.66583005114549</c:v>
                </c:pt>
                <c:pt idx="920">
                  <c:v>184.53036562912231</c:v>
                </c:pt>
                <c:pt idx="921">
                  <c:v>180.38835334264729</c:v>
                </c:pt>
                <c:pt idx="922">
                  <c:v>160.07883772213438</c:v>
                </c:pt>
                <c:pt idx="923">
                  <c:v>156.10864941291763</c:v>
                </c:pt>
                <c:pt idx="924">
                  <c:v>#N/A</c:v>
                </c:pt>
                <c:pt idx="925">
                  <c:v>165.53527531529423</c:v>
                </c:pt>
                <c:pt idx="926">
                  <c:v>186.86790401561026</c:v>
                </c:pt>
                <c:pt idx="927">
                  <c:v>198.25691933070721</c:v>
                </c:pt>
                <c:pt idx="928">
                  <c:v>195.85276737334419</c:v>
                </c:pt>
                <c:pt idx="929">
                  <c:v>#N/A</c:v>
                </c:pt>
                <c:pt idx="930">
                  <c:v>196.16204325905414</c:v>
                </c:pt>
                <c:pt idx="931">
                  <c:v>190.67516407729212</c:v>
                </c:pt>
                <c:pt idx="932">
                  <c:v>185.11258786656131</c:v>
                </c:pt>
                <c:pt idx="933">
                  <c:v>188.67630721159333</c:v>
                </c:pt>
                <c:pt idx="934">
                  <c:v>189.70965244295621</c:v>
                </c:pt>
                <c:pt idx="935">
                  <c:v>193.44444630380221</c:v>
                </c:pt>
                <c:pt idx="936">
                  <c:v>194.39223718807912</c:v>
                </c:pt>
                <c:pt idx="937">
                  <c:v>181.00844019495693</c:v>
                </c:pt>
                <c:pt idx="938">
                  <c:v>181.58595607107168</c:v>
                </c:pt>
                <c:pt idx="939">
                  <c:v>203.29816448060623</c:v>
                </c:pt>
                <c:pt idx="940">
                  <c:v>205.18621141636223</c:v>
                </c:pt>
                <c:pt idx="941">
                  <c:v>201.74124892220885</c:v>
                </c:pt>
                <c:pt idx="942">
                  <c:v>199.89431451423167</c:v>
                </c:pt>
                <c:pt idx="943">
                  <c:v>199.87493509656025</c:v>
                </c:pt>
                <c:pt idx="944">
                  <c:v>199.61613717071603</c:v>
                </c:pt>
                <c:pt idx="945">
                  <c:v>199.59963732218284</c:v>
                </c:pt>
                <c:pt idx="946">
                  <c:v>199.52382528180718</c:v>
                </c:pt>
                <c:pt idx="947">
                  <c:v>196.3366326214275</c:v>
                </c:pt>
                <c:pt idx="948">
                  <c:v>191.55362168004464</c:v>
                </c:pt>
                <c:pt idx="949">
                  <c:v>196.54656632166709</c:v>
                </c:pt>
                <c:pt idx="950">
                  <c:v>195.47804621183235</c:v>
                </c:pt>
                <c:pt idx="951">
                  <c:v>190.03946263798616</c:v>
                </c:pt>
                <c:pt idx="952">
                  <c:v>197.10180741611168</c:v>
                </c:pt>
                <c:pt idx="953">
                  <c:v>197.71234525994043</c:v>
                </c:pt>
                <c:pt idx="954">
                  <c:v>184.78713029483853</c:v>
                </c:pt>
                <c:pt idx="955">
                  <c:v>#N/A</c:v>
                </c:pt>
                <c:pt idx="956">
                  <c:v>#N/A</c:v>
                </c:pt>
                <c:pt idx="957">
                  <c:v>#N/A</c:v>
                </c:pt>
                <c:pt idx="958">
                  <c:v>#N/A</c:v>
                </c:pt>
                <c:pt idx="959">
                  <c:v>192.4656875185255</c:v>
                </c:pt>
                <c:pt idx="960">
                  <c:v>#N/A</c:v>
                </c:pt>
                <c:pt idx="961">
                  <c:v>196.77224301022241</c:v>
                </c:pt>
                <c:pt idx="962">
                  <c:v>#N/A</c:v>
                </c:pt>
                <c:pt idx="963">
                  <c:v>#N/A</c:v>
                </c:pt>
                <c:pt idx="964">
                  <c:v>195.11346454869712</c:v>
                </c:pt>
                <c:pt idx="965">
                  <c:v>195.43823549292722</c:v>
                </c:pt>
                <c:pt idx="966">
                  <c:v>199.22557388306316</c:v>
                </c:pt>
                <c:pt idx="967">
                  <c:v>198.69663824086933</c:v>
                </c:pt>
                <c:pt idx="968">
                  <c:v>197.93602627476827</c:v>
                </c:pt>
                <c:pt idx="969">
                  <c:v>197.26752335211373</c:v>
                </c:pt>
                <c:pt idx="970">
                  <c:v>196.01223034528866</c:v>
                </c:pt>
                <c:pt idx="971">
                  <c:v>192.79056617901125</c:v>
                </c:pt>
                <c:pt idx="972">
                  <c:v>200.25746164926048</c:v>
                </c:pt>
                <c:pt idx="973">
                  <c:v>200.11002887658395</c:v>
                </c:pt>
                <c:pt idx="974">
                  <c:v>200.33215222754563</c:v>
                </c:pt>
                <c:pt idx="975">
                  <c:v>200.40812737586461</c:v>
                </c:pt>
                <c:pt idx="976">
                  <c:v>199.92815803952351</c:v>
                </c:pt>
                <c:pt idx="977">
                  <c:v>199.9187590685539</c:v>
                </c:pt>
                <c:pt idx="978">
                  <c:v>200.05060935024309</c:v>
                </c:pt>
                <c:pt idx="979">
                  <c:v>199.988813307502</c:v>
                </c:pt>
                <c:pt idx="980">
                  <c:v>199.91052155761298</c:v>
                </c:pt>
                <c:pt idx="981">
                  <c:v>197.59457381702614</c:v>
                </c:pt>
                <c:pt idx="982">
                  <c:v>195.02188301846766</c:v>
                </c:pt>
                <c:pt idx="983">
                  <c:v>192.15832837986187</c:v>
                </c:pt>
                <c:pt idx="984">
                  <c:v>183.62764158003799</c:v>
                </c:pt>
                <c:pt idx="985">
                  <c:v>188.89851082757608</c:v>
                </c:pt>
                <c:pt idx="986">
                  <c:v>175.16236843804791</c:v>
                </c:pt>
                <c:pt idx="987">
                  <c:v>181.3538598728118</c:v>
                </c:pt>
                <c:pt idx="988">
                  <c:v>195.73626809713383</c:v>
                </c:pt>
                <c:pt idx="989">
                  <c:v>199.96404383671631</c:v>
                </c:pt>
                <c:pt idx="990">
                  <c:v>199.98662661711865</c:v>
                </c:pt>
                <c:pt idx="991">
                  <c:v>199.10666662990087</c:v>
                </c:pt>
                <c:pt idx="992">
                  <c:v>199.97318530248239</c:v>
                </c:pt>
                <c:pt idx="993">
                  <c:v>194.88151454137943</c:v>
                </c:pt>
                <c:pt idx="994">
                  <c:v>200.0836126235734</c:v>
                </c:pt>
                <c:pt idx="995">
                  <c:v>199.18898318234912</c:v>
                </c:pt>
                <c:pt idx="996">
                  <c:v>196.92260784038515</c:v>
                </c:pt>
                <c:pt idx="997">
                  <c:v>177.99739625911744</c:v>
                </c:pt>
                <c:pt idx="998">
                  <c:v>#N/A</c:v>
                </c:pt>
                <c:pt idx="999">
                  <c:v>174.7273689558175</c:v>
                </c:pt>
                <c:pt idx="1000">
                  <c:v>190.49861865875894</c:v>
                </c:pt>
                <c:pt idx="1001">
                  <c:v>184.94129391481331</c:v>
                </c:pt>
                <c:pt idx="1002">
                  <c:v>204.62000953004016</c:v>
                </c:pt>
                <c:pt idx="1003">
                  <c:v>204.87456272108184</c:v>
                </c:pt>
                <c:pt idx="1004">
                  <c:v>201.75115447673045</c:v>
                </c:pt>
                <c:pt idx="1005">
                  <c:v>205.19397956890001</c:v>
                </c:pt>
                <c:pt idx="1006">
                  <c:v>199.11574495982768</c:v>
                </c:pt>
                <c:pt idx="1007">
                  <c:v>199.22896986903868</c:v>
                </c:pt>
                <c:pt idx="1008">
                  <c:v>195.09901701416101</c:v>
                </c:pt>
                <c:pt idx="1009">
                  <c:v>199.20767924556182</c:v>
                </c:pt>
                <c:pt idx="1010">
                  <c:v>192.66563446116763</c:v>
                </c:pt>
                <c:pt idx="1011">
                  <c:v>187.00975131144318</c:v>
                </c:pt>
                <c:pt idx="1012">
                  <c:v>186.95937935158031</c:v>
                </c:pt>
                <c:pt idx="1013">
                  <c:v>193.17593341875855</c:v>
                </c:pt>
                <c:pt idx="1014">
                  <c:v>194.66938944081761</c:v>
                </c:pt>
                <c:pt idx="1015">
                  <c:v>196.80071492021617</c:v>
                </c:pt>
                <c:pt idx="1016">
                  <c:v>197.8432391105155</c:v>
                </c:pt>
                <c:pt idx="1017">
                  <c:v>189.84792890001543</c:v>
                </c:pt>
                <c:pt idx="1018">
                  <c:v>195.70728840111897</c:v>
                </c:pt>
                <c:pt idx="1019">
                  <c:v>189.55936004563165</c:v>
                </c:pt>
                <c:pt idx="1020">
                  <c:v>#N/A</c:v>
                </c:pt>
                <c:pt idx="1021">
                  <c:v>#N/A</c:v>
                </c:pt>
                <c:pt idx="1022">
                  <c:v>#N/A</c:v>
                </c:pt>
                <c:pt idx="1023">
                  <c:v>195.34853590925147</c:v>
                </c:pt>
                <c:pt idx="1024">
                  <c:v>191.8120859060943</c:v>
                </c:pt>
                <c:pt idx="1025">
                  <c:v>191.27690644544867</c:v>
                </c:pt>
                <c:pt idx="1026">
                  <c:v>183.479567563605</c:v>
                </c:pt>
                <c:pt idx="1027">
                  <c:v>168.07541126001348</c:v>
                </c:pt>
                <c:pt idx="1028">
                  <c:v>159.83608432461563</c:v>
                </c:pt>
                <c:pt idx="1029">
                  <c:v>161.70829893672743</c:v>
                </c:pt>
                <c:pt idx="1030">
                  <c:v>52.425956258556646</c:v>
                </c:pt>
                <c:pt idx="1031">
                  <c:v>#N/A</c:v>
                </c:pt>
                <c:pt idx="1032">
                  <c:v>173.28908123769781</c:v>
                </c:pt>
                <c:pt idx="1033">
                  <c:v>189.75289489076087</c:v>
                </c:pt>
                <c:pt idx="1034">
                  <c:v>194.21678639066241</c:v>
                </c:pt>
                <c:pt idx="1035">
                  <c:v>191.94066070613019</c:v>
                </c:pt>
                <c:pt idx="1036">
                  <c:v>181.09936127829653</c:v>
                </c:pt>
                <c:pt idx="1037">
                  <c:v>188.30530648196631</c:v>
                </c:pt>
                <c:pt idx="1038">
                  <c:v>#N/A</c:v>
                </c:pt>
                <c:pt idx="1039">
                  <c:v>#N/A</c:v>
                </c:pt>
                <c:pt idx="1040">
                  <c:v>#N/A</c:v>
                </c:pt>
                <c:pt idx="1041">
                  <c:v>161.36063775460275</c:v>
                </c:pt>
                <c:pt idx="1042">
                  <c:v>175.75309564302415</c:v>
                </c:pt>
                <c:pt idx="1043">
                  <c:v>164.4182087126263</c:v>
                </c:pt>
                <c:pt idx="1044">
                  <c:v>189.58886786635742</c:v>
                </c:pt>
                <c:pt idx="1045">
                  <c:v>192.92103125779937</c:v>
                </c:pt>
                <c:pt idx="1046">
                  <c:v>192.5659530915411</c:v>
                </c:pt>
                <c:pt idx="1047">
                  <c:v>194.12530982144568</c:v>
                </c:pt>
                <c:pt idx="1048">
                  <c:v>193.20805374882249</c:v>
                </c:pt>
                <c:pt idx="1049">
                  <c:v>192.93197767428975</c:v>
                </c:pt>
                <c:pt idx="1050">
                  <c:v>188.8121941649903</c:v>
                </c:pt>
                <c:pt idx="1051">
                  <c:v>#N/A</c:v>
                </c:pt>
                <c:pt idx="1052">
                  <c:v>#N/A</c:v>
                </c:pt>
                <c:pt idx="1053">
                  <c:v>#N/A</c:v>
                </c:pt>
                <c:pt idx="1054">
                  <c:v>#N/A</c:v>
                </c:pt>
                <c:pt idx="1055">
                  <c:v>#N/A</c:v>
                </c:pt>
                <c:pt idx="1056">
                  <c:v>185.83453848596551</c:v>
                </c:pt>
                <c:pt idx="1057">
                  <c:v>#N/A</c:v>
                </c:pt>
                <c:pt idx="1058">
                  <c:v>#N/A</c:v>
                </c:pt>
                <c:pt idx="1059">
                  <c:v>#N/A</c:v>
                </c:pt>
                <c:pt idx="1060">
                  <c:v>#N/A</c:v>
                </c:pt>
                <c:pt idx="1061">
                  <c:v>188.36963384658122</c:v>
                </c:pt>
                <c:pt idx="1062">
                  <c:v>#N/A</c:v>
                </c:pt>
                <c:pt idx="1063">
                  <c:v>183.36573036769576</c:v>
                </c:pt>
                <c:pt idx="1064">
                  <c:v>179.80984783635679</c:v>
                </c:pt>
                <c:pt idx="1065">
                  <c:v>177.50114008585695</c:v>
                </c:pt>
                <c:pt idx="1066">
                  <c:v>182.36060399788238</c:v>
                </c:pt>
                <c:pt idx="1067">
                  <c:v>193.65177025981987</c:v>
                </c:pt>
                <c:pt idx="1068">
                  <c:v>189.28128143203759</c:v>
                </c:pt>
                <c:pt idx="1069">
                  <c:v>183.2081720758606</c:v>
                </c:pt>
                <c:pt idx="1070">
                  <c:v>#N/A</c:v>
                </c:pt>
                <c:pt idx="1071">
                  <c:v>174.31562083605635</c:v>
                </c:pt>
                <c:pt idx="1072">
                  <c:v>181.79563025720668</c:v>
                </c:pt>
                <c:pt idx="1073">
                  <c:v>181.57409208584204</c:v>
                </c:pt>
                <c:pt idx="1074">
                  <c:v>176.12905552827499</c:v>
                </c:pt>
                <c:pt idx="1075">
                  <c:v>167.41712213090335</c:v>
                </c:pt>
                <c:pt idx="1076">
                  <c:v>148.42618726013114</c:v>
                </c:pt>
                <c:pt idx="1077">
                  <c:v>#N/A</c:v>
                </c:pt>
                <c:pt idx="1078">
                  <c:v>181.83919075656124</c:v>
                </c:pt>
                <c:pt idx="1079">
                  <c:v>179.92665631772826</c:v>
                </c:pt>
                <c:pt idx="1080">
                  <c:v>177.07717732998904</c:v>
                </c:pt>
                <c:pt idx="1081">
                  <c:v>169.47434599013408</c:v>
                </c:pt>
                <c:pt idx="1082">
                  <c:v>#N/A</c:v>
                </c:pt>
                <c:pt idx="1083">
                  <c:v>#N/A</c:v>
                </c:pt>
                <c:pt idx="1084">
                  <c:v>118.28758256332982</c:v>
                </c:pt>
                <c:pt idx="1085">
                  <c:v>145.46726161477767</c:v>
                </c:pt>
                <c:pt idx="1086">
                  <c:v>160.18953979919397</c:v>
                </c:pt>
                <c:pt idx="1087">
                  <c:v>180.40504717429067</c:v>
                </c:pt>
                <c:pt idx="1088">
                  <c:v>189.85034444406216</c:v>
                </c:pt>
                <c:pt idx="1089">
                  <c:v>190.03535050099674</c:v>
                </c:pt>
                <c:pt idx="1090">
                  <c:v>189.8990017013395</c:v>
                </c:pt>
                <c:pt idx="1091">
                  <c:v>190.16096979237642</c:v>
                </c:pt>
                <c:pt idx="1092">
                  <c:v>187.34234188692147</c:v>
                </c:pt>
                <c:pt idx="1093">
                  <c:v>189.04021158200931</c:v>
                </c:pt>
                <c:pt idx="1094">
                  <c:v>189.22473640207932</c:v>
                </c:pt>
                <c:pt idx="1095">
                  <c:v>182.31473024306445</c:v>
                </c:pt>
              </c:numCache>
            </c:numRef>
          </c:yVal>
          <c:smooth val="0"/>
          <c:extLst>
            <c:ext xmlns:c16="http://schemas.microsoft.com/office/drawing/2014/chart" uri="{C3380CC4-5D6E-409C-BE32-E72D297353CC}">
              <c16:uniqueId val="{00000000-A0B8-45F2-97D5-B763F52CAE6B}"/>
            </c:ext>
          </c:extLst>
        </c:ser>
        <c:dLbls>
          <c:showLegendKey val="0"/>
          <c:showVal val="0"/>
          <c:showCatName val="0"/>
          <c:showSerName val="0"/>
          <c:showPercent val="0"/>
          <c:showBubbleSize val="0"/>
        </c:dLbls>
        <c:axId val="1271898559"/>
        <c:axId val="1271906879"/>
      </c:scatterChart>
      <c:valAx>
        <c:axId val="1271898559"/>
        <c:scaling>
          <c:orientation val="minMax"/>
          <c:max val="10200"/>
          <c:min val="96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906879"/>
        <c:crosses val="autoZero"/>
        <c:crossBetween val="midCat"/>
      </c:valAx>
      <c:valAx>
        <c:axId val="1271906879"/>
        <c:scaling>
          <c:orientation val="minMax"/>
          <c:max val="230"/>
          <c:min val="17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1898559"/>
        <c:crosses val="autoZero"/>
        <c:crossBetween val="midCat"/>
      </c:valAx>
      <c:spPr>
        <a:noFill/>
        <a:ln>
          <a:noFill/>
        </a:ln>
        <a:effectLst/>
      </c:spPr>
    </c:plotArea>
    <c:plotVisOnly val="1"/>
    <c:dispBlanksAs val="gap"/>
    <c:showDLblsOverMax val="0"/>
  </c:chart>
  <c:spPr>
    <a:noFill/>
    <a:ln w="19050">
      <a:solidFill>
        <a:schemeClr val="tx2"/>
      </a:solid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oke </a:t>
            </a:r>
            <a:r>
              <a:rPr lang="en-US" dirty="0" smtClean="0"/>
              <a:t>(kg) </a:t>
            </a:r>
            <a:r>
              <a:rPr lang="en-US" dirty="0"/>
              <a:t>v/s </a:t>
            </a:r>
            <a:r>
              <a:rPr lang="en-US" dirty="0" smtClean="0"/>
              <a:t>Hot </a:t>
            </a:r>
            <a:r>
              <a:rPr lang="en-US" dirty="0"/>
              <a:t>metal </a:t>
            </a:r>
            <a:r>
              <a:rPr lang="en-US" dirty="0" smtClean="0"/>
              <a:t>temp(</a:t>
            </a:r>
            <a:r>
              <a:rPr lang="en-US" sz="1400" b="0" i="0" u="none" strike="noStrike" baseline="0" dirty="0" smtClean="0">
                <a:effectLst/>
              </a:rPr>
              <a:t>°C</a:t>
            </a:r>
            <a:r>
              <a:rPr lang="en-US" dirty="0" smtClean="0"/>
              <a:t>)</a:t>
            </a:r>
            <a:endParaRPr lang="en-US" dirty="0"/>
          </a:p>
        </c:rich>
      </c:tx>
      <c:layout>
        <c:manualLayout>
          <c:xMode val="edge"/>
          <c:yMode val="edge"/>
          <c:x val="0.14499428819097065"/>
          <c:y val="4.750594232661788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arameters ranges for ANN step1'!$AJ$1:$AJ$2</c:f>
              <c:strCache>
                <c:ptCount val="2"/>
                <c:pt idx="0">
                  <c:v>Total Coke+Nut Coke</c:v>
                </c:pt>
                <c:pt idx="1">
                  <c:v>kg/thm</c:v>
                </c:pt>
              </c:strCache>
            </c:strRef>
          </c:tx>
          <c:spPr>
            <a:ln w="19050" cap="rnd">
              <a:noFill/>
              <a:round/>
            </a:ln>
            <a:effectLst/>
          </c:spPr>
          <c:marker>
            <c:symbol val="circle"/>
            <c:size val="5"/>
            <c:spPr>
              <a:solidFill>
                <a:schemeClr val="accent1"/>
              </a:solidFill>
              <a:ln w="9525">
                <a:solidFill>
                  <a:schemeClr val="accent1"/>
                </a:solidFill>
              </a:ln>
              <a:effectLst/>
            </c:spPr>
          </c:marker>
          <c:xVal>
            <c:numRef>
              <c:f>'Parameters ranges for ANN step1'!$H$3:$H$1137</c:f>
              <c:numCache>
                <c:formatCode>0</c:formatCode>
                <c:ptCount val="1135"/>
                <c:pt idx="0">
                  <c:v>1516.4215815036478</c:v>
                </c:pt>
                <c:pt idx="1">
                  <c:v>1507.1332037470527</c:v>
                </c:pt>
                <c:pt idx="2">
                  <c:v>1514.3284402827601</c:v>
                </c:pt>
                <c:pt idx="3">
                  <c:v>1507.2575061253342</c:v>
                </c:pt>
                <c:pt idx="4">
                  <c:v>1513.5458327079896</c:v>
                </c:pt>
                <c:pt idx="5">
                  <c:v>1529.7269305117827</c:v>
                </c:pt>
                <c:pt idx="6">
                  <c:v>1528.2445904051751</c:v>
                </c:pt>
                <c:pt idx="7">
                  <c:v>1520.6929039096058</c:v>
                </c:pt>
                <c:pt idx="8">
                  <c:v>1528.1431135844284</c:v>
                </c:pt>
                <c:pt idx="9">
                  <c:v>1509.321271194292</c:v>
                </c:pt>
                <c:pt idx="10">
                  <c:v>1515.6842635803005</c:v>
                </c:pt>
                <c:pt idx="11">
                  <c:v>1522.4387990807022</c:v>
                </c:pt>
                <c:pt idx="12">
                  <c:v>1521.1149342865024</c:v>
                </c:pt>
                <c:pt idx="13">
                  <c:v>1529.5674324080478</c:v>
                </c:pt>
                <c:pt idx="14">
                  <c:v>1511.6978593994395</c:v>
                </c:pt>
                <c:pt idx="15">
                  <c:v>1518.1180454464009</c:v>
                </c:pt>
                <c:pt idx="16">
                  <c:v>1513.5277316704951</c:v>
                </c:pt>
                <c:pt idx="17">
                  <c:v>1513.8716528851794</c:v>
                </c:pt>
                <c:pt idx="18">
                  <c:v>1512.2218554355436</c:v>
                </c:pt>
                <c:pt idx="19">
                  <c:v>1508.4882949002101</c:v>
                </c:pt>
                <c:pt idx="20">
                  <c:v>1500.9779964175659</c:v>
                </c:pt>
                <c:pt idx="21">
                  <c:v>1491.5020993563983</c:v>
                </c:pt>
                <c:pt idx="22">
                  <c:v>1504.2992559486631</c:v>
                </c:pt>
                <c:pt idx="23">
                  <c:v>1503.8668338849184</c:v>
                </c:pt>
                <c:pt idx="24">
                  <c:v>1509.4592974729856</c:v>
                </c:pt>
                <c:pt idx="25">
                  <c:v>1507.7302694050459</c:v>
                </c:pt>
                <c:pt idx="26">
                  <c:v>1514.719590921015</c:v>
                </c:pt>
                <c:pt idx="27">
                  <c:v>1505.230204740272</c:v>
                </c:pt>
                <c:pt idx="28">
                  <c:v>1495.9236101414544</c:v>
                </c:pt>
                <c:pt idx="29">
                  <c:v>1515.0782318059398</c:v>
                </c:pt>
                <c:pt idx="30">
                  <c:v>1511.2229519095015</c:v>
                </c:pt>
                <c:pt idx="31">
                  <c:v>1503.3025057173613</c:v>
                </c:pt>
                <c:pt idx="32">
                  <c:v>1497.6519418304395</c:v>
                </c:pt>
                <c:pt idx="33">
                  <c:v>1509.089615207406</c:v>
                </c:pt>
                <c:pt idx="34">
                  <c:v>1521.8876127323992</c:v>
                </c:pt>
                <c:pt idx="35">
                  <c:v>1492.9834097110979</c:v>
                </c:pt>
                <c:pt idx="36">
                  <c:v>1512.1240425342328</c:v>
                </c:pt>
                <c:pt idx="37">
                  <c:v>1518.9046724840639</c:v>
                </c:pt>
                <c:pt idx="38">
                  <c:v>1509.4473309176178</c:v>
                </c:pt>
                <c:pt idx="39">
                  <c:v>1512.5012673494018</c:v>
                </c:pt>
                <c:pt idx="40">
                  <c:v>1514.5880796808976</c:v>
                </c:pt>
                <c:pt idx="41">
                  <c:v>1504.9035727993303</c:v>
                </c:pt>
                <c:pt idx="42">
                  <c:v>1516.9856217751906</c:v>
                </c:pt>
                <c:pt idx="43">
                  <c:v>1506.555561073784</c:v>
                </c:pt>
                <c:pt idx="44">
                  <c:v>1479.5182461984182</c:v>
                </c:pt>
                <c:pt idx="45">
                  <c:v>1472.0791678670396</c:v>
                </c:pt>
                <c:pt idx="46">
                  <c:v>1509.7889847494368</c:v>
                </c:pt>
                <c:pt idx="47">
                  <c:v>1510.2473585536718</c:v>
                </c:pt>
                <c:pt idx="48">
                  <c:v>1503.8744901185478</c:v>
                </c:pt>
                <c:pt idx="49">
                  <c:v>1504.4586913904623</c:v>
                </c:pt>
                <c:pt idx="50">
                  <c:v>1501.9503153567937</c:v>
                </c:pt>
                <c:pt idx="51">
                  <c:v>1509.017959399471</c:v>
                </c:pt>
                <c:pt idx="52">
                  <c:v>1504.0660640118231</c:v>
                </c:pt>
                <c:pt idx="53">
                  <c:v>1496.1242438083329</c:v>
                </c:pt>
                <c:pt idx="54">
                  <c:v>1509.7590445593921</c:v>
                </c:pt>
                <c:pt idx="55">
                  <c:v>1495.3967756881084</c:v>
                </c:pt>
                <c:pt idx="56">
                  <c:v>1509.873660210136</c:v>
                </c:pt>
                <c:pt idx="57">
                  <c:v>1503.9271805100295</c:v>
                </c:pt>
                <c:pt idx="58">
                  <c:v>1503.7615356563801</c:v>
                </c:pt>
                <c:pt idx="59">
                  <c:v>1520.1711091455136</c:v>
                </c:pt>
                <c:pt idx="60">
                  <c:v>1509.3810150012632</c:v>
                </c:pt>
                <c:pt idx="61">
                  <c:v>1506.1591007342947</c:v>
                </c:pt>
                <c:pt idx="62">
                  <c:v>1515.6690746234804</c:v>
                </c:pt>
                <c:pt idx="63">
                  <c:v>1514.8275550586745</c:v>
                </c:pt>
                <c:pt idx="64">
                  <c:v>1513.7087201800371</c:v>
                </c:pt>
                <c:pt idx="65">
                  <c:v>1511.841761285631</c:v>
                </c:pt>
                <c:pt idx="66">
                  <c:v>1499.2959648270009</c:v>
                </c:pt>
                <c:pt idx="67">
                  <c:v>1499.9367134973456</c:v>
                </c:pt>
                <c:pt idx="68">
                  <c:v>1493.5310361353393</c:v>
                </c:pt>
                <c:pt idx="69">
                  <c:v>1504.4437586671845</c:v>
                </c:pt>
                <c:pt idx="70">
                  <c:v>1511.6526480083776</c:v>
                </c:pt>
                <c:pt idx="71">
                  <c:v>1507.7374578330541</c:v>
                </c:pt>
                <c:pt idx="72">
                  <c:v>1505.4034612467199</c:v>
                </c:pt>
                <c:pt idx="73">
                  <c:v>1503.6884638323811</c:v>
                </c:pt>
                <c:pt idx="74">
                  <c:v>1508.8910802688238</c:v>
                </c:pt>
                <c:pt idx="75">
                  <c:v>1511.911222105361</c:v>
                </c:pt>
                <c:pt idx="76">
                  <c:v>1510.8214871844593</c:v>
                </c:pt>
                <c:pt idx="77">
                  <c:v>1495.4567115054092</c:v>
                </c:pt>
                <c:pt idx="78">
                  <c:v>1498.2000868304549</c:v>
                </c:pt>
                <c:pt idx="79">
                  <c:v>1508.1354795523084</c:v>
                </c:pt>
                <c:pt idx="80">
                  <c:v>1500.3928564381833</c:v>
                </c:pt>
                <c:pt idx="81">
                  <c:v>1503.8262197330735</c:v>
                </c:pt>
                <c:pt idx="82">
                  <c:v>1515.9918788090063</c:v>
                </c:pt>
                <c:pt idx="83">
                  <c:v>1509.9919091807717</c:v>
                </c:pt>
                <c:pt idx="84">
                  <c:v>1518.0834726965472</c:v>
                </c:pt>
                <c:pt idx="85">
                  <c:v>1499.9928433807495</c:v>
                </c:pt>
                <c:pt idx="86">
                  <c:v>1496.5586024910247</c:v>
                </c:pt>
                <c:pt idx="87">
                  <c:v>1491.7400060388268</c:v>
                </c:pt>
                <c:pt idx="88">
                  <c:v>1494.0250307277183</c:v>
                </c:pt>
                <c:pt idx="89">
                  <c:v>1481.3127898847245</c:v>
                </c:pt>
                <c:pt idx="90">
                  <c:v>1494.825002087349</c:v>
                </c:pt>
                <c:pt idx="91">
                  <c:v>1498.637819767478</c:v>
                </c:pt>
                <c:pt idx="92">
                  <c:v>1496.87146568297</c:v>
                </c:pt>
                <c:pt idx="93">
                  <c:v>1494.4025947790144</c:v>
                </c:pt>
                <c:pt idx="94">
                  <c:v>1495.4721605128461</c:v>
                </c:pt>
                <c:pt idx="95">
                  <c:v>1491.9566890047859</c:v>
                </c:pt>
                <c:pt idx="96">
                  <c:v>1494.665598797807</c:v>
                </c:pt>
                <c:pt idx="97">
                  <c:v>1500.438600238519</c:v>
                </c:pt>
                <c:pt idx="98">
                  <c:v>1484.8813885567902</c:v>
                </c:pt>
                <c:pt idx="99">
                  <c:v>1496.5654262548646</c:v>
                </c:pt>
                <c:pt idx="100">
                  <c:v>1497.2752844192855</c:v>
                </c:pt>
                <c:pt idx="101">
                  <c:v>1504.9267148830897</c:v>
                </c:pt>
                <c:pt idx="102">
                  <c:v>1498.0158290927959</c:v>
                </c:pt>
                <c:pt idx="103">
                  <c:v>1502.401022098843</c:v>
                </c:pt>
                <c:pt idx="104">
                  <c:v>1509.4779007249119</c:v>
                </c:pt>
                <c:pt idx="105">
                  <c:v>1501.6945077851458</c:v>
                </c:pt>
                <c:pt idx="106">
                  <c:v>1487.1961277871987</c:v>
                </c:pt>
                <c:pt idx="107">
                  <c:v>1477.9119158406193</c:v>
                </c:pt>
                <c:pt idx="108">
                  <c:v>1502.5897641822528</c:v>
                </c:pt>
                <c:pt idx="109">
                  <c:v>1499.3350772986123</c:v>
                </c:pt>
                <c:pt idx="110">
                  <c:v>1505.7555510615309</c:v>
                </c:pt>
                <c:pt idx="111">
                  <c:v>1503.8583622961537</c:v>
                </c:pt>
                <c:pt idx="112">
                  <c:v>1499.0735391529495</c:v>
                </c:pt>
                <c:pt idx="113">
                  <c:v>1497.1661332621184</c:v>
                </c:pt>
                <c:pt idx="114">
                  <c:v>1503.9517772228787</c:v>
                </c:pt>
                <c:pt idx="115">
                  <c:v>1504.4854148707143</c:v>
                </c:pt>
                <c:pt idx="116">
                  <c:v>1503.3106216315846</c:v>
                </c:pt>
                <c:pt idx="117">
                  <c:v>1508.0125919003101</c:v>
                </c:pt>
                <c:pt idx="118">
                  <c:v>1501.5603736201874</c:v>
                </c:pt>
                <c:pt idx="119">
                  <c:v>1506.9068469714489</c:v>
                </c:pt>
                <c:pt idx="120">
                  <c:v>1509.3873233699373</c:v>
                </c:pt>
                <c:pt idx="121">
                  <c:v>1500.4509665409312</c:v>
                </c:pt>
                <c:pt idx="122">
                  <c:v>1502.27266141839</c:v>
                </c:pt>
                <c:pt idx="123">
                  <c:v>1508.2625449525101</c:v>
                </c:pt>
                <c:pt idx="124">
                  <c:v>1508.3124239942699</c:v>
                </c:pt>
                <c:pt idx="125">
                  <c:v>1512.8875549853101</c:v>
                </c:pt>
                <c:pt idx="126">
                  <c:v>1503.3192955767499</c:v>
                </c:pt>
                <c:pt idx="127">
                  <c:v>1508.36564391554</c:v>
                </c:pt>
                <c:pt idx="128">
                  <c:v>1498.60302807584</c:v>
                </c:pt>
                <c:pt idx="129">
                  <c:v>1500.7204467727099</c:v>
                </c:pt>
                <c:pt idx="130">
                  <c:v>1499.9957814756599</c:v>
                </c:pt>
                <c:pt idx="131">
                  <c:v>1513.9959524814999</c:v>
                </c:pt>
                <c:pt idx="132">
                  <c:v>1508.3324289722</c:v>
                </c:pt>
                <c:pt idx="133">
                  <c:v>1496.3130861933801</c:v>
                </c:pt>
                <c:pt idx="134">
                  <c:v>1493.3720636836499</c:v>
                </c:pt>
                <c:pt idx="135">
                  <c:v>1497.3371575956501</c:v>
                </c:pt>
                <c:pt idx="136">
                  <c:v>1496.73044347108</c:v>
                </c:pt>
                <c:pt idx="137">
                  <c:v>1509.9561350694501</c:v>
                </c:pt>
                <c:pt idx="138">
                  <c:v>1518.38601764698</c:v>
                </c:pt>
                <c:pt idx="139">
                  <c:v>1512.6699136703201</c:v>
                </c:pt>
                <c:pt idx="140">
                  <c:v>1508.60768989945</c:v>
                </c:pt>
                <c:pt idx="141">
                  <c:v>1498.6521618399199</c:v>
                </c:pt>
                <c:pt idx="142">
                  <c:v>1494.28177920403</c:v>
                </c:pt>
                <c:pt idx="143">
                  <c:v>1479.4768604984699</c:v>
                </c:pt>
                <c:pt idx="144">
                  <c:v>1444.93582050551</c:v>
                </c:pt>
                <c:pt idx="145">
                  <c:v>1470.8198282098899</c:v>
                </c:pt>
                <c:pt idx="149">
                  <c:v>1470.8198282098899</c:v>
                </c:pt>
                <c:pt idx="150">
                  <c:v>1494.49982874481</c:v>
                </c:pt>
                <c:pt idx="151">
                  <c:v>1492.5993643895699</c:v>
                </c:pt>
                <c:pt idx="152">
                  <c:v>1487.4737370288799</c:v>
                </c:pt>
                <c:pt idx="153">
                  <c:v>1490.1577596736299</c:v>
                </c:pt>
                <c:pt idx="154">
                  <c:v>1491.0135906409901</c:v>
                </c:pt>
                <c:pt idx="155">
                  <c:v>1509.4287944247501</c:v>
                </c:pt>
                <c:pt idx="156">
                  <c:v>1502.1073114599201</c:v>
                </c:pt>
                <c:pt idx="157">
                  <c:v>1492.85638277315</c:v>
                </c:pt>
                <c:pt idx="158">
                  <c:v>1501.38868705298</c:v>
                </c:pt>
                <c:pt idx="159">
                  <c:v>1499.76375942803</c:v>
                </c:pt>
                <c:pt idx="160">
                  <c:v>1496.87642632344</c:v>
                </c:pt>
                <c:pt idx="161">
                  <c:v>1493.7105943122999</c:v>
                </c:pt>
                <c:pt idx="162">
                  <c:v>1485.89048859012</c:v>
                </c:pt>
                <c:pt idx="163">
                  <c:v>1492.2200824634399</c:v>
                </c:pt>
                <c:pt idx="164">
                  <c:v>1494.0132987914999</c:v>
                </c:pt>
                <c:pt idx="165">
                  <c:v>1494.9252155480799</c:v>
                </c:pt>
                <c:pt idx="166">
                  <c:v>1500.08794944022</c:v>
                </c:pt>
                <c:pt idx="167">
                  <c:v>1501.8398899786901</c:v>
                </c:pt>
                <c:pt idx="168">
                  <c:v>1502.9516705146</c:v>
                </c:pt>
                <c:pt idx="169">
                  <c:v>1511.50395013313</c:v>
                </c:pt>
                <c:pt idx="170">
                  <c:v>1504.8494906807</c:v>
                </c:pt>
                <c:pt idx="171">
                  <c:v>1512.7204096584301</c:v>
                </c:pt>
                <c:pt idx="172">
                  <c:v>1496.8276065408199</c:v>
                </c:pt>
                <c:pt idx="173">
                  <c:v>1498.6053553515101</c:v>
                </c:pt>
                <c:pt idx="174">
                  <c:v>1510.6142435954901</c:v>
                </c:pt>
                <c:pt idx="175">
                  <c:v>1510.67309777882</c:v>
                </c:pt>
                <c:pt idx="176">
                  <c:v>1506.32530215771</c:v>
                </c:pt>
                <c:pt idx="177">
                  <c:v>1485.39950958447</c:v>
                </c:pt>
                <c:pt idx="178">
                  <c:v>1485.29409078565</c:v>
                </c:pt>
                <c:pt idx="179">
                  <c:v>1500.92926141162</c:v>
                </c:pt>
                <c:pt idx="180">
                  <c:v>1497.79739686581</c:v>
                </c:pt>
                <c:pt idx="181">
                  <c:v>1495.7972788244099</c:v>
                </c:pt>
                <c:pt idx="182">
                  <c:v>1492.2021596203899</c:v>
                </c:pt>
                <c:pt idx="183">
                  <c:v>1512.6695412624599</c:v>
                </c:pt>
                <c:pt idx="184">
                  <c:v>1503.94358979413</c:v>
                </c:pt>
                <c:pt idx="185">
                  <c:v>1490.6108879670301</c:v>
                </c:pt>
                <c:pt idx="186">
                  <c:v>1495.43388024515</c:v>
                </c:pt>
                <c:pt idx="187">
                  <c:v>1491.1155982791799</c:v>
                </c:pt>
                <c:pt idx="188">
                  <c:v>1488.0188340432001</c:v>
                </c:pt>
                <c:pt idx="189">
                  <c:v>1497.32212261517</c:v>
                </c:pt>
                <c:pt idx="190">
                  <c:v>1506.95401575197</c:v>
                </c:pt>
                <c:pt idx="191">
                  <c:v>1497.1445996330599</c:v>
                </c:pt>
                <c:pt idx="192">
                  <c:v>1492.4383595740201</c:v>
                </c:pt>
                <c:pt idx="193">
                  <c:v>1495.7897207902899</c:v>
                </c:pt>
                <c:pt idx="194">
                  <c:v>1489.2336737011699</c:v>
                </c:pt>
                <c:pt idx="195">
                  <c:v>1475.4191940421599</c:v>
                </c:pt>
                <c:pt idx="196">
                  <c:v>1502.32925663736</c:v>
                </c:pt>
                <c:pt idx="197">
                  <c:v>1493.01946220988</c:v>
                </c:pt>
                <c:pt idx="198">
                  <c:v>1488.7436126228699</c:v>
                </c:pt>
                <c:pt idx="199">
                  <c:v>1497.3545463416399</c:v>
                </c:pt>
                <c:pt idx="200">
                  <c:v>1508.3580646769201</c:v>
                </c:pt>
                <c:pt idx="201">
                  <c:v>1485.97245537803</c:v>
                </c:pt>
                <c:pt idx="202">
                  <c:v>1495.4194703507001</c:v>
                </c:pt>
                <c:pt idx="203">
                  <c:v>1497.1571729377399</c:v>
                </c:pt>
                <c:pt idx="204">
                  <c:v>1484.7404574191601</c:v>
                </c:pt>
                <c:pt idx="205">
                  <c:v>1484.9919005850199</c:v>
                </c:pt>
                <c:pt idx="206">
                  <c:v>1483.03259457788</c:v>
                </c:pt>
                <c:pt idx="207">
                  <c:v>1480.55758203192</c:v>
                </c:pt>
                <c:pt idx="208">
                  <c:v>1483.70724717697</c:v>
                </c:pt>
                <c:pt idx="209">
                  <c:v>1497.37904615363</c:v>
                </c:pt>
                <c:pt idx="210">
                  <c:v>1481.9272316870799</c:v>
                </c:pt>
                <c:pt idx="211">
                  <c:v>1495.6014039572999</c:v>
                </c:pt>
                <c:pt idx="212">
                  <c:v>1498.5202845266299</c:v>
                </c:pt>
                <c:pt idx="213">
                  <c:v>1499.91182662608</c:v>
                </c:pt>
                <c:pt idx="214">
                  <c:v>1494.8205416723699</c:v>
                </c:pt>
                <c:pt idx="215">
                  <c:v>1491.56496801396</c:v>
                </c:pt>
                <c:pt idx="216">
                  <c:v>1502.22072168462</c:v>
                </c:pt>
                <c:pt idx="217">
                  <c:v>1510.2495035746999</c:v>
                </c:pt>
                <c:pt idx="218">
                  <c:v>1497.1404134511799</c:v>
                </c:pt>
                <c:pt idx="219">
                  <c:v>1486.0226191069501</c:v>
                </c:pt>
                <c:pt idx="220">
                  <c:v>1492.56837366799</c:v>
                </c:pt>
                <c:pt idx="221">
                  <c:v>1500.0863487041399</c:v>
                </c:pt>
                <c:pt idx="222">
                  <c:v>1500.7016932937199</c:v>
                </c:pt>
                <c:pt idx="223">
                  <c:v>1488.3642748793</c:v>
                </c:pt>
                <c:pt idx="224">
                  <c:v>1497.28683622978</c:v>
                </c:pt>
                <c:pt idx="225">
                  <c:v>1493.76847769347</c:v>
                </c:pt>
                <c:pt idx="226">
                  <c:v>1493.76847769347</c:v>
                </c:pt>
                <c:pt idx="227">
                  <c:v>1497.09967860097</c:v>
                </c:pt>
                <c:pt idx="228">
                  <c:v>1494.7249875042</c:v>
                </c:pt>
                <c:pt idx="229">
                  <c:v>1509.19308405723</c:v>
                </c:pt>
                <c:pt idx="230">
                  <c:v>1477.5282468902999</c:v>
                </c:pt>
                <c:pt idx="231">
                  <c:v>1484.66105579135</c:v>
                </c:pt>
                <c:pt idx="232">
                  <c:v>1492.99759893023</c:v>
                </c:pt>
                <c:pt idx="233">
                  <c:v>1491.72459388537</c:v>
                </c:pt>
                <c:pt idx="234">
                  <c:v>1508.1585270378901</c:v>
                </c:pt>
                <c:pt idx="235">
                  <c:v>1512.75617612983</c:v>
                </c:pt>
                <c:pt idx="236">
                  <c:v>1503.28509791396</c:v>
                </c:pt>
                <c:pt idx="237">
                  <c:v>1510.1039999135901</c:v>
                </c:pt>
                <c:pt idx="238">
                  <c:v>1506.7248168503299</c:v>
                </c:pt>
                <c:pt idx="239">
                  <c:v>1523.1557128639099</c:v>
                </c:pt>
                <c:pt idx="240">
                  <c:v>1523.6507920882</c:v>
                </c:pt>
                <c:pt idx="241">
                  <c:v>1520.14275862349</c:v>
                </c:pt>
                <c:pt idx="242">
                  <c:v>1514.3366953356001</c:v>
                </c:pt>
                <c:pt idx="243">
                  <c:v>1509.1530948475699</c:v>
                </c:pt>
                <c:pt idx="244">
                  <c:v>1500.6747039659899</c:v>
                </c:pt>
                <c:pt idx="245">
                  <c:v>1506.7242342873899</c:v>
                </c:pt>
                <c:pt idx="246">
                  <c:v>1509.0358920185099</c:v>
                </c:pt>
                <c:pt idx="247">
                  <c:v>1502.8481796074</c:v>
                </c:pt>
                <c:pt idx="248">
                  <c:v>1509.3485024341001</c:v>
                </c:pt>
                <c:pt idx="249">
                  <c:v>1521.1231086978</c:v>
                </c:pt>
                <c:pt idx="250">
                  <c:v>1517.77002625573</c:v>
                </c:pt>
                <c:pt idx="251">
                  <c:v>1523.1637789282299</c:v>
                </c:pt>
                <c:pt idx="252">
                  <c:v>1509.86493778473</c:v>
                </c:pt>
                <c:pt idx="253">
                  <c:v>1494.6838057551699</c:v>
                </c:pt>
                <c:pt idx="254">
                  <c:v>1490.67137955011</c:v>
                </c:pt>
                <c:pt idx="255">
                  <c:v>1497.32971831482</c:v>
                </c:pt>
                <c:pt idx="256">
                  <c:v>1488.4037447810899</c:v>
                </c:pt>
                <c:pt idx="257">
                  <c:v>1516.92149400675</c:v>
                </c:pt>
                <c:pt idx="258">
                  <c:v>1491.24349913589</c:v>
                </c:pt>
                <c:pt idx="259">
                  <c:v>1490.8393515688599</c:v>
                </c:pt>
                <c:pt idx="260">
                  <c:v>1511.0673288953201</c:v>
                </c:pt>
                <c:pt idx="261">
                  <c:v>1518.21882153566</c:v>
                </c:pt>
                <c:pt idx="262">
                  <c:v>1499.4106036799201</c:v>
                </c:pt>
                <c:pt idx="263">
                  <c:v>1504.31641211025</c:v>
                </c:pt>
                <c:pt idx="264">
                  <c:v>1509.8341485191099</c:v>
                </c:pt>
                <c:pt idx="265">
                  <c:v>1512.6916743202801</c:v>
                </c:pt>
                <c:pt idx="266">
                  <c:v>1506.4676729831699</c:v>
                </c:pt>
                <c:pt idx="267">
                  <c:v>1499.51556390417</c:v>
                </c:pt>
                <c:pt idx="268">
                  <c:v>1507.38432184407</c:v>
                </c:pt>
                <c:pt idx="269">
                  <c:v>1513.31710362484</c:v>
                </c:pt>
                <c:pt idx="270">
                  <c:v>1517.6435239095999</c:v>
                </c:pt>
                <c:pt idx="271">
                  <c:v>1495.80042261875</c:v>
                </c:pt>
                <c:pt idx="272">
                  <c:v>1494.0812611419999</c:v>
                </c:pt>
                <c:pt idx="273">
                  <c:v>1498.82557886617</c:v>
                </c:pt>
                <c:pt idx="274">
                  <c:v>1500.5784036744401</c:v>
                </c:pt>
                <c:pt idx="275">
                  <c:v>1503.0472449347899</c:v>
                </c:pt>
                <c:pt idx="276">
                  <c:v>1516.3492491847101</c:v>
                </c:pt>
                <c:pt idx="277">
                  <c:v>1514.7793740555501</c:v>
                </c:pt>
                <c:pt idx="278">
                  <c:v>1513.23800793127</c:v>
                </c:pt>
                <c:pt idx="279">
                  <c:v>1504.3074175459101</c:v>
                </c:pt>
                <c:pt idx="280">
                  <c:v>1496.6307060413999</c:v>
                </c:pt>
                <c:pt idx="281">
                  <c:v>1505.7054097169701</c:v>
                </c:pt>
                <c:pt idx="282">
                  <c:v>1503.7222958294401</c:v>
                </c:pt>
                <c:pt idx="283">
                  <c:v>1500.30677138187</c:v>
                </c:pt>
                <c:pt idx="284">
                  <c:v>1509.6981619309599</c:v>
                </c:pt>
                <c:pt idx="285">
                  <c:v>1515.4909136123899</c:v>
                </c:pt>
                <c:pt idx="286">
                  <c:v>1509.88443769577</c:v>
                </c:pt>
                <c:pt idx="287">
                  <c:v>1506.6603785979601</c:v>
                </c:pt>
                <c:pt idx="288">
                  <c:v>1503.04937613984</c:v>
                </c:pt>
                <c:pt idx="289">
                  <c:v>1513.83418351251</c:v>
                </c:pt>
                <c:pt idx="290">
                  <c:v>1511.1718085001</c:v>
                </c:pt>
                <c:pt idx="291">
                  <c:v>1529.4621577830801</c:v>
                </c:pt>
                <c:pt idx="292">
                  <c:v>1495.82658476402</c:v>
                </c:pt>
                <c:pt idx="293">
                  <c:v>1521.13980774325</c:v>
                </c:pt>
                <c:pt idx="294">
                  <c:v>1508.54205919574</c:v>
                </c:pt>
                <c:pt idx="295">
                  <c:v>1512.06991377126</c:v>
                </c:pt>
                <c:pt idx="296">
                  <c:v>1509.2443657003801</c:v>
                </c:pt>
                <c:pt idx="297">
                  <c:v>1505.2421485490099</c:v>
                </c:pt>
                <c:pt idx="298">
                  <c:v>1507.68877567866</c:v>
                </c:pt>
                <c:pt idx="299">
                  <c:v>1516.7496692116199</c:v>
                </c:pt>
                <c:pt idx="300">
                  <c:v>1514.8949428762</c:v>
                </c:pt>
                <c:pt idx="301">
                  <c:v>1507.89981839235</c:v>
                </c:pt>
                <c:pt idx="302">
                  <c:v>1510.5893522936999</c:v>
                </c:pt>
                <c:pt idx="303">
                  <c:v>1515.6176564894699</c:v>
                </c:pt>
                <c:pt idx="304">
                  <c:v>1509.56942774854</c:v>
                </c:pt>
                <c:pt idx="305">
                  <c:v>1501.09896443245</c:v>
                </c:pt>
                <c:pt idx="306">
                  <c:v>1508.32130793587</c:v>
                </c:pt>
                <c:pt idx="307">
                  <c:v>1510.8857810970601</c:v>
                </c:pt>
                <c:pt idx="308">
                  <c:v>1505.04302855474</c:v>
                </c:pt>
                <c:pt idx="309">
                  <c:v>1509.64072260496</c:v>
                </c:pt>
                <c:pt idx="310">
                  <c:v>1514.55618571322</c:v>
                </c:pt>
                <c:pt idx="311">
                  <c:v>1509.8816190167699</c:v>
                </c:pt>
                <c:pt idx="312">
                  <c:v>1511.4824999703701</c:v>
                </c:pt>
                <c:pt idx="313">
                  <c:v>1508.30744264901</c:v>
                </c:pt>
                <c:pt idx="314">
                  <c:v>1512.8304099363099</c:v>
                </c:pt>
                <c:pt idx="315">
                  <c:v>1502.56809620186</c:v>
                </c:pt>
                <c:pt idx="316">
                  <c:v>1512.4295393104201</c:v>
                </c:pt>
                <c:pt idx="317">
                  <c:v>1514.7176915254099</c:v>
                </c:pt>
                <c:pt idx="318">
                  <c:v>1519.03972763002</c:v>
                </c:pt>
                <c:pt idx="319">
                  <c:v>1508.03073871889</c:v>
                </c:pt>
                <c:pt idx="320">
                  <c:v>1514.95863745977</c:v>
                </c:pt>
                <c:pt idx="321">
                  <c:v>1511.01926542258</c:v>
                </c:pt>
                <c:pt idx="322">
                  <c:v>1514.8115434377</c:v>
                </c:pt>
                <c:pt idx="323">
                  <c:v>1510.2892939261201</c:v>
                </c:pt>
                <c:pt idx="324">
                  <c:v>1519.6112323253601</c:v>
                </c:pt>
                <c:pt idx="325">
                  <c:v>1512.9598409027401</c:v>
                </c:pt>
                <c:pt idx="326">
                  <c:v>1510.4025380752701</c:v>
                </c:pt>
                <c:pt idx="327">
                  <c:v>1516.3092435687599</c:v>
                </c:pt>
                <c:pt idx="328">
                  <c:v>1510.8216701532201</c:v>
                </c:pt>
                <c:pt idx="329">
                  <c:v>1522.15144931795</c:v>
                </c:pt>
                <c:pt idx="330">
                  <c:v>1501.77735012784</c:v>
                </c:pt>
                <c:pt idx="331">
                  <c:v>1500.27729748466</c:v>
                </c:pt>
                <c:pt idx="332">
                  <c:v>1517.39323193321</c:v>
                </c:pt>
                <c:pt idx="333">
                  <c:v>1513.02525347286</c:v>
                </c:pt>
                <c:pt idx="334">
                  <c:v>1497.7736171717299</c:v>
                </c:pt>
                <c:pt idx="335">
                  <c:v>1494.68422032082</c:v>
                </c:pt>
                <c:pt idx="336">
                  <c:v>1518.0801009695699</c:v>
                </c:pt>
                <c:pt idx="337">
                  <c:v>1510.41412288225</c:v>
                </c:pt>
                <c:pt idx="338">
                  <c:v>1507.16724925982</c:v>
                </c:pt>
                <c:pt idx="339">
                  <c:v>1506.6503293834</c:v>
                </c:pt>
                <c:pt idx="340">
                  <c:v>1515.1643185246</c:v>
                </c:pt>
                <c:pt idx="341">
                  <c:v>1516.21149247738</c:v>
                </c:pt>
                <c:pt idx="342">
                  <c:v>1513.0501297638</c:v>
                </c:pt>
                <c:pt idx="343">
                  <c:v>1505.1146307383599</c:v>
                </c:pt>
                <c:pt idx="344">
                  <c:v>1505.9992077475599</c:v>
                </c:pt>
                <c:pt idx="345">
                  <c:v>1525.5978827143001</c:v>
                </c:pt>
                <c:pt idx="346">
                  <c:v>1516.1055442261099</c:v>
                </c:pt>
                <c:pt idx="347">
                  <c:v>1522.4887100700701</c:v>
                </c:pt>
                <c:pt idx="348">
                  <c:v>1503.5603660766101</c:v>
                </c:pt>
                <c:pt idx="349">
                  <c:v>1514.7719157080301</c:v>
                </c:pt>
                <c:pt idx="350">
                  <c:v>1481.8407525525299</c:v>
                </c:pt>
                <c:pt idx="351">
                  <c:v>1504.3471127397099</c:v>
                </c:pt>
                <c:pt idx="352">
                  <c:v>1503.92436078936</c:v>
                </c:pt>
                <c:pt idx="353">
                  <c:v>1493.9996720397601</c:v>
                </c:pt>
                <c:pt idx="354">
                  <c:v>1503.0018323781601</c:v>
                </c:pt>
                <c:pt idx="355">
                  <c:v>1507.9601688422899</c:v>
                </c:pt>
                <c:pt idx="356">
                  <c:v>1486.00760168086</c:v>
                </c:pt>
                <c:pt idx="357">
                  <c:v>1517.0101008394499</c:v>
                </c:pt>
                <c:pt idx="358">
                  <c:v>1508.98577799346</c:v>
                </c:pt>
                <c:pt idx="359">
                  <c:v>1513.1544392818701</c:v>
                </c:pt>
                <c:pt idx="360">
                  <c:v>1501.5159766297299</c:v>
                </c:pt>
                <c:pt idx="361">
                  <c:v>1511.42765102004</c:v>
                </c:pt>
                <c:pt idx="362">
                  <c:v>1524.8011439914401</c:v>
                </c:pt>
                <c:pt idx="363">
                  <c:v>1499.9557946336099</c:v>
                </c:pt>
                <c:pt idx="364">
                  <c:v>1480.6589022360299</c:v>
                </c:pt>
                <c:pt idx="365">
                  <c:v>1526.1549985463901</c:v>
                </c:pt>
                <c:pt idx="366" formatCode="General">
                  <c:v>1517.5406701186801</c:v>
                </c:pt>
                <c:pt idx="367">
                  <c:v>1513.9099550726701</c:v>
                </c:pt>
                <c:pt idx="368">
                  <c:v>1512.2862669067299</c:v>
                </c:pt>
                <c:pt idx="369">
                  <c:v>1520.8089189243001</c:v>
                </c:pt>
                <c:pt idx="370">
                  <c:v>1498.0763359111299</c:v>
                </c:pt>
                <c:pt idx="371">
                  <c:v>1502.79621184961</c:v>
                </c:pt>
                <c:pt idx="372">
                  <c:v>1499.6851471276</c:v>
                </c:pt>
                <c:pt idx="373">
                  <c:v>1505.3036888762599</c:v>
                </c:pt>
                <c:pt idx="374">
                  <c:v>1510.4648442554001</c:v>
                </c:pt>
                <c:pt idx="375">
                  <c:v>1506.36206620229</c:v>
                </c:pt>
                <c:pt idx="376">
                  <c:v>1509.3139925159201</c:v>
                </c:pt>
                <c:pt idx="377">
                  <c:v>1516.3184462987999</c:v>
                </c:pt>
                <c:pt idx="378">
                  <c:v>1505.8899046567101</c:v>
                </c:pt>
                <c:pt idx="379">
                  <c:v>1506.3195339062299</c:v>
                </c:pt>
                <c:pt idx="380">
                  <c:v>1492.2091997856501</c:v>
                </c:pt>
                <c:pt idx="381">
                  <c:v>1498.52735479688</c:v>
                </c:pt>
                <c:pt idx="382">
                  <c:v>1511.78118873318</c:v>
                </c:pt>
                <c:pt idx="383">
                  <c:v>1513.6327375517001</c:v>
                </c:pt>
                <c:pt idx="384">
                  <c:v>1507.80677659312</c:v>
                </c:pt>
                <c:pt idx="385">
                  <c:v>1503.8956799607399</c:v>
                </c:pt>
                <c:pt idx="386">
                  <c:v>1507.8200361546001</c:v>
                </c:pt>
                <c:pt idx="387">
                  <c:v>1505.3481466227199</c:v>
                </c:pt>
                <c:pt idx="388">
                  <c:v>1507.6729563172401</c:v>
                </c:pt>
                <c:pt idx="389">
                  <c:v>1494.71791093805</c:v>
                </c:pt>
                <c:pt idx="390">
                  <c:v>1509.2634786722699</c:v>
                </c:pt>
                <c:pt idx="391">
                  <c:v>1504.7303266031699</c:v>
                </c:pt>
                <c:pt idx="392">
                  <c:v>1511.53802331819</c:v>
                </c:pt>
                <c:pt idx="393">
                  <c:v>1515.1806528413799</c:v>
                </c:pt>
                <c:pt idx="394">
                  <c:v>1509.4347843570699</c:v>
                </c:pt>
                <c:pt idx="395">
                  <c:v>1511.0418183870299</c:v>
                </c:pt>
                <c:pt idx="396">
                  <c:v>1519.04820269569</c:v>
                </c:pt>
                <c:pt idx="397">
                  <c:v>1514.12003930376</c:v>
                </c:pt>
                <c:pt idx="398">
                  <c:v>1502.04472020663</c:v>
                </c:pt>
                <c:pt idx="399">
                  <c:v>1497.6412194023901</c:v>
                </c:pt>
                <c:pt idx="400">
                  <c:v>1503.09378426168</c:v>
                </c:pt>
                <c:pt idx="401">
                  <c:v>1509.04694323124</c:v>
                </c:pt>
                <c:pt idx="402">
                  <c:v>1501.7954306809199</c:v>
                </c:pt>
                <c:pt idx="403">
                  <c:v>1508.5162742397099</c:v>
                </c:pt>
                <c:pt idx="404">
                  <c:v>1494.9962124891799</c:v>
                </c:pt>
                <c:pt idx="405">
                  <c:v>1510.44698700709</c:v>
                </c:pt>
                <c:pt idx="406">
                  <c:v>1508.4666452336401</c:v>
                </c:pt>
                <c:pt idx="407">
                  <c:v>1498.47340778894</c:v>
                </c:pt>
                <c:pt idx="408">
                  <c:v>1483.1570427183599</c:v>
                </c:pt>
                <c:pt idx="409">
                  <c:v>1501.73385156057</c:v>
                </c:pt>
                <c:pt idx="410">
                  <c:v>1504.6216814530501</c:v>
                </c:pt>
                <c:pt idx="411">
                  <c:v>1499.4824186698099</c:v>
                </c:pt>
                <c:pt idx="412">
                  <c:v>1503.6675354204499</c:v>
                </c:pt>
                <c:pt idx="413">
                  <c:v>1509.0629404722399</c:v>
                </c:pt>
                <c:pt idx="414">
                  <c:v>1486.18834561531</c:v>
                </c:pt>
                <c:pt idx="415">
                  <c:v>1505.63438581593</c:v>
                </c:pt>
                <c:pt idx="416">
                  <c:v>1511.53106123728</c:v>
                </c:pt>
                <c:pt idx="417">
                  <c:v>1517.08275971845</c:v>
                </c:pt>
                <c:pt idx="418">
                  <c:v>1512.3578172023999</c:v>
                </c:pt>
                <c:pt idx="419">
                  <c:v>1499.2015698269099</c:v>
                </c:pt>
                <c:pt idx="420">
                  <c:v>1509.6603486977201</c:v>
                </c:pt>
                <c:pt idx="421">
                  <c:v>1506.59364010577</c:v>
                </c:pt>
                <c:pt idx="422">
                  <c:v>1501.08210813816</c:v>
                </c:pt>
                <c:pt idx="423">
                  <c:v>1502.06569178615</c:v>
                </c:pt>
                <c:pt idx="424">
                  <c:v>1516.9780398651101</c:v>
                </c:pt>
                <c:pt idx="425">
                  <c:v>1503.83416155597</c:v>
                </c:pt>
                <c:pt idx="426">
                  <c:v>1499.5805831195701</c:v>
                </c:pt>
                <c:pt idx="427">
                  <c:v>1494.14529877776</c:v>
                </c:pt>
                <c:pt idx="428">
                  <c:v>1510.3762990053999</c:v>
                </c:pt>
                <c:pt idx="429">
                  <c:v>1507.2557990056901</c:v>
                </c:pt>
                <c:pt idx="430">
                  <c:v>1509.2327311598101</c:v>
                </c:pt>
                <c:pt idx="431">
                  <c:v>1504.7802965258099</c:v>
                </c:pt>
                <c:pt idx="432">
                  <c:v>1497.5599042828101</c:v>
                </c:pt>
                <c:pt idx="433">
                  <c:v>1502.30275187143</c:v>
                </c:pt>
                <c:pt idx="434">
                  <c:v>1499.1751537698001</c:v>
                </c:pt>
                <c:pt idx="435">
                  <c:v>1481.9030628688199</c:v>
                </c:pt>
                <c:pt idx="436">
                  <c:v>1503.7164218611399</c:v>
                </c:pt>
                <c:pt idx="437">
                  <c:v>1492.45365186657</c:v>
                </c:pt>
                <c:pt idx="438">
                  <c:v>1498.64033950936</c:v>
                </c:pt>
                <c:pt idx="439">
                  <c:v>1482.8886349105801</c:v>
                </c:pt>
                <c:pt idx="440">
                  <c:v>1510.6824344127101</c:v>
                </c:pt>
                <c:pt idx="441">
                  <c:v>1503.1429751542501</c:v>
                </c:pt>
                <c:pt idx="442">
                  <c:v>1506.51533623415</c:v>
                </c:pt>
                <c:pt idx="443">
                  <c:v>1490.09502062563</c:v>
                </c:pt>
                <c:pt idx="444">
                  <c:v>1492.88723430103</c:v>
                </c:pt>
                <c:pt idx="445">
                  <c:v>1483.0404519654601</c:v>
                </c:pt>
                <c:pt idx="446">
                  <c:v>1494.58071189925</c:v>
                </c:pt>
                <c:pt idx="447">
                  <c:v>1498.7589119265499</c:v>
                </c:pt>
                <c:pt idx="448">
                  <c:v>1504.50756964077</c:v>
                </c:pt>
                <c:pt idx="449">
                  <c:v>1503.2779237892901</c:v>
                </c:pt>
                <c:pt idx="450">
                  <c:v>1496.6303858501301</c:v>
                </c:pt>
                <c:pt idx="451">
                  <c:v>1498.1966384414</c:v>
                </c:pt>
                <c:pt idx="452">
                  <c:v>1499.14535474182</c:v>
                </c:pt>
                <c:pt idx="453">
                  <c:v>1495.1872127668601</c:v>
                </c:pt>
                <c:pt idx="454">
                  <c:v>1514.0249925467499</c:v>
                </c:pt>
                <c:pt idx="455">
                  <c:v>1490.09215733515</c:v>
                </c:pt>
                <c:pt idx="456">
                  <c:v>1507.8928025427001</c:v>
                </c:pt>
                <c:pt idx="457">
                  <c:v>1524.1512938758499</c:v>
                </c:pt>
                <c:pt idx="458">
                  <c:v>1497.4137917550299</c:v>
                </c:pt>
                <c:pt idx="459">
                  <c:v>1488.32699758837</c:v>
                </c:pt>
                <c:pt idx="460">
                  <c:v>1488.2011391937899</c:v>
                </c:pt>
                <c:pt idx="461">
                  <c:v>1502.08235432476</c:v>
                </c:pt>
                <c:pt idx="462">
                  <c:v>1489.0419760341099</c:v>
                </c:pt>
                <c:pt idx="463">
                  <c:v>1490.9617974068799</c:v>
                </c:pt>
                <c:pt idx="464">
                  <c:v>1497.08280756874</c:v>
                </c:pt>
                <c:pt idx="465">
                  <c:v>1511.8434240494901</c:v>
                </c:pt>
                <c:pt idx="466">
                  <c:v>1513.61465235945</c:v>
                </c:pt>
                <c:pt idx="467">
                  <c:v>1499.90975379616</c:v>
                </c:pt>
                <c:pt idx="468">
                  <c:v>1529.89677521679</c:v>
                </c:pt>
                <c:pt idx="469">
                  <c:v>1490.07139302005</c:v>
                </c:pt>
                <c:pt idx="470">
                  <c:v>1492.34944660733</c:v>
                </c:pt>
                <c:pt idx="471">
                  <c:v>1499.4171554192701</c:v>
                </c:pt>
                <c:pt idx="472">
                  <c:v>1487.3966094256</c:v>
                </c:pt>
                <c:pt idx="473">
                  <c:v>1482.8249372844</c:v>
                </c:pt>
                <c:pt idx="474">
                  <c:v>1489.76727102529</c:v>
                </c:pt>
                <c:pt idx="475">
                  <c:v>1501.0691793189901</c:v>
                </c:pt>
                <c:pt idx="476">
                  <c:v>1491.20274972948</c:v>
                </c:pt>
                <c:pt idx="477">
                  <c:v>1485.98685324907</c:v>
                </c:pt>
                <c:pt idx="478">
                  <c:v>1481.8898698328501</c:v>
                </c:pt>
                <c:pt idx="479">
                  <c:v>1485.1360922665899</c:v>
                </c:pt>
                <c:pt idx="480">
                  <c:v>1490.91145793388</c:v>
                </c:pt>
                <c:pt idx="481">
                  <c:v>1494.0734472822601</c:v>
                </c:pt>
                <c:pt idx="482">
                  <c:v>1499.8120651245099</c:v>
                </c:pt>
                <c:pt idx="483">
                  <c:v>1514.52581376802</c:v>
                </c:pt>
                <c:pt idx="484">
                  <c:v>1500.37083369579</c:v>
                </c:pt>
                <c:pt idx="485">
                  <c:v>1500.30779224256</c:v>
                </c:pt>
                <c:pt idx="486">
                  <c:v>1486.2886046408701</c:v>
                </c:pt>
                <c:pt idx="487">
                  <c:v>1502.83157000096</c:v>
                </c:pt>
                <c:pt idx="488">
                  <c:v>1486.52057707109</c:v>
                </c:pt>
                <c:pt idx="489">
                  <c:v>1494.3681682756001</c:v>
                </c:pt>
                <c:pt idx="490">
                  <c:v>1484.78678031547</c:v>
                </c:pt>
                <c:pt idx="491">
                  <c:v>1490.0696778189099</c:v>
                </c:pt>
                <c:pt idx="492">
                  <c:v>1493.60188259644</c:v>
                </c:pt>
                <c:pt idx="493">
                  <c:v>1485.1896534631601</c:v>
                </c:pt>
                <c:pt idx="494">
                  <c:v>1466.7398031814901</c:v>
                </c:pt>
                <c:pt idx="495">
                  <c:v>1456.1269804905401</c:v>
                </c:pt>
                <c:pt idx="496">
                  <c:v>1433.37744946099</c:v>
                </c:pt>
                <c:pt idx="499">
                  <c:v>1489.3394977758001</c:v>
                </c:pt>
                <c:pt idx="500">
                  <c:v>1487.2746074182901</c:v>
                </c:pt>
                <c:pt idx="501">
                  <c:v>1494.0184132775901</c:v>
                </c:pt>
                <c:pt idx="502">
                  <c:v>1494.61418457133</c:v>
                </c:pt>
                <c:pt idx="503">
                  <c:v>1488.3237135290201</c:v>
                </c:pt>
                <c:pt idx="504">
                  <c:v>1490.78451195817</c:v>
                </c:pt>
                <c:pt idx="505">
                  <c:v>1481.5672445359201</c:v>
                </c:pt>
                <c:pt idx="506">
                  <c:v>1484.4436711506501</c:v>
                </c:pt>
                <c:pt idx="507">
                  <c:v>1492.2464600436999</c:v>
                </c:pt>
                <c:pt idx="508">
                  <c:v>1482.8035128490001</c:v>
                </c:pt>
                <c:pt idx="509">
                  <c:v>1484.3503963681401</c:v>
                </c:pt>
                <c:pt idx="510">
                  <c:v>1489.3497046718401</c:v>
                </c:pt>
                <c:pt idx="511">
                  <c:v>1482.34343080348</c:v>
                </c:pt>
                <c:pt idx="512">
                  <c:v>1486.93842638762</c:v>
                </c:pt>
                <c:pt idx="513">
                  <c:v>1500.6387500962001</c:v>
                </c:pt>
                <c:pt idx="514">
                  <c:v>1493.84271900616</c:v>
                </c:pt>
                <c:pt idx="515">
                  <c:v>1474.6451206300701</c:v>
                </c:pt>
                <c:pt idx="516">
                  <c:v>1477.9691325164799</c:v>
                </c:pt>
                <c:pt idx="517">
                  <c:v>1477.1781866914</c:v>
                </c:pt>
                <c:pt idx="518">
                  <c:v>1503.7396461040601</c:v>
                </c:pt>
                <c:pt idx="519">
                  <c:v>1488.9301752378999</c:v>
                </c:pt>
                <c:pt idx="520">
                  <c:v>1494.5251791830301</c:v>
                </c:pt>
                <c:pt idx="521">
                  <c:v>1506.23497858465</c:v>
                </c:pt>
                <c:pt idx="522">
                  <c:v>1494.2592197030699</c:v>
                </c:pt>
                <c:pt idx="523">
                  <c:v>1495.9548421448401</c:v>
                </c:pt>
                <c:pt idx="524">
                  <c:v>1509.02694029043</c:v>
                </c:pt>
                <c:pt idx="525">
                  <c:v>1512.12847319196</c:v>
                </c:pt>
                <c:pt idx="526">
                  <c:v>1517.5790016539399</c:v>
                </c:pt>
                <c:pt idx="527">
                  <c:v>1490.0059740901199</c:v>
                </c:pt>
                <c:pt idx="528">
                  <c:v>1493.2749989599099</c:v>
                </c:pt>
                <c:pt idx="529">
                  <c:v>1505.61056148644</c:v>
                </c:pt>
                <c:pt idx="530">
                  <c:v>1508.8475437396</c:v>
                </c:pt>
                <c:pt idx="531">
                  <c:v>1506.9481266959499</c:v>
                </c:pt>
                <c:pt idx="532">
                  <c:v>1498.4085056051399</c:v>
                </c:pt>
                <c:pt idx="533">
                  <c:v>1492.98347281924</c:v>
                </c:pt>
                <c:pt idx="534">
                  <c:v>1490.2024690635201</c:v>
                </c:pt>
                <c:pt idx="535">
                  <c:v>1485.96472627917</c:v>
                </c:pt>
                <c:pt idx="536">
                  <c:v>1493.7486098623799</c:v>
                </c:pt>
                <c:pt idx="537">
                  <c:v>1494.1077807234501</c:v>
                </c:pt>
                <c:pt idx="538">
                  <c:v>1484.0301882899801</c:v>
                </c:pt>
                <c:pt idx="539">
                  <c:v>1484.3282998545801</c:v>
                </c:pt>
                <c:pt idx="540">
                  <c:v>1487.14966278723</c:v>
                </c:pt>
                <c:pt idx="541">
                  <c:v>1495.15935515196</c:v>
                </c:pt>
                <c:pt idx="542">
                  <c:v>1498.5027339712799</c:v>
                </c:pt>
                <c:pt idx="543">
                  <c:v>1491.7021207847499</c:v>
                </c:pt>
                <c:pt idx="544">
                  <c:v>1503.76508354308</c:v>
                </c:pt>
                <c:pt idx="545">
                  <c:v>1478.62257307153</c:v>
                </c:pt>
                <c:pt idx="546">
                  <c:v>1493.07000212107</c:v>
                </c:pt>
                <c:pt idx="547">
                  <c:v>1497.9312738759299</c:v>
                </c:pt>
                <c:pt idx="548">
                  <c:v>1499.9253162666801</c:v>
                </c:pt>
                <c:pt idx="549">
                  <c:v>1496.5466347711699</c:v>
                </c:pt>
                <c:pt idx="550">
                  <c:v>1501.9027215855799</c:v>
                </c:pt>
                <c:pt idx="551">
                  <c:v>1486.0475529918599</c:v>
                </c:pt>
                <c:pt idx="552">
                  <c:v>1495.6545088605701</c:v>
                </c:pt>
                <c:pt idx="553">
                  <c:v>1494.35702873584</c:v>
                </c:pt>
                <c:pt idx="554">
                  <c:v>1496.0040980200399</c:v>
                </c:pt>
                <c:pt idx="555">
                  <c:v>1488.76840207743</c:v>
                </c:pt>
                <c:pt idx="556">
                  <c:v>1505.83308950376</c:v>
                </c:pt>
                <c:pt idx="557">
                  <c:v>1502.4712994776201</c:v>
                </c:pt>
                <c:pt idx="558">
                  <c:v>1487.71071481165</c:v>
                </c:pt>
                <c:pt idx="559">
                  <c:v>1505.21869244664</c:v>
                </c:pt>
                <c:pt idx="560">
                  <c:v>1503.58615492901</c:v>
                </c:pt>
                <c:pt idx="561">
                  <c:v>1492.6805304438899</c:v>
                </c:pt>
                <c:pt idx="562">
                  <c:v>1490.3784971991799</c:v>
                </c:pt>
                <c:pt idx="563">
                  <c:v>1502.9547845028301</c:v>
                </c:pt>
                <c:pt idx="564">
                  <c:v>1503.3687708489099</c:v>
                </c:pt>
                <c:pt idx="565">
                  <c:v>1511.0861979876299</c:v>
                </c:pt>
                <c:pt idx="566">
                  <c:v>1475.65362097292</c:v>
                </c:pt>
                <c:pt idx="567">
                  <c:v>1517.1654590999999</c:v>
                </c:pt>
                <c:pt idx="568">
                  <c:v>1511.72232706518</c:v>
                </c:pt>
                <c:pt idx="569">
                  <c:v>1514.6425220242299</c:v>
                </c:pt>
                <c:pt idx="570">
                  <c:v>1515.2889630561201</c:v>
                </c:pt>
                <c:pt idx="571">
                  <c:v>1516.4872734048199</c:v>
                </c:pt>
                <c:pt idx="572">
                  <c:v>1509.9414943044501</c:v>
                </c:pt>
                <c:pt idx="573">
                  <c:v>1507.2358067617699</c:v>
                </c:pt>
                <c:pt idx="574">
                  <c:v>1512.1944451305301</c:v>
                </c:pt>
                <c:pt idx="575">
                  <c:v>1491.09696500158</c:v>
                </c:pt>
                <c:pt idx="576">
                  <c:v>1508.7219610305799</c:v>
                </c:pt>
                <c:pt idx="577">
                  <c:v>1510.99858875777</c:v>
                </c:pt>
                <c:pt idx="578">
                  <c:v>1508.8338180471501</c:v>
                </c:pt>
                <c:pt idx="579">
                  <c:v>1502.2866448391801</c:v>
                </c:pt>
                <c:pt idx="580">
                  <c:v>1512.5186713236001</c:v>
                </c:pt>
                <c:pt idx="581">
                  <c:v>1494.1165226685</c:v>
                </c:pt>
                <c:pt idx="582">
                  <c:v>1512.3128004897701</c:v>
                </c:pt>
                <c:pt idx="583">
                  <c:v>1503.1745170050499</c:v>
                </c:pt>
                <c:pt idx="584">
                  <c:v>1499.32212889263</c:v>
                </c:pt>
                <c:pt idx="585">
                  <c:v>1497.31825165239</c:v>
                </c:pt>
                <c:pt idx="586">
                  <c:v>1497.6665562365299</c:v>
                </c:pt>
                <c:pt idx="587">
                  <c:v>1499.7244296690301</c:v>
                </c:pt>
                <c:pt idx="588">
                  <c:v>1514.3227874745301</c:v>
                </c:pt>
                <c:pt idx="589">
                  <c:v>1495.88459119144</c:v>
                </c:pt>
                <c:pt idx="590">
                  <c:v>1513.9583681337199</c:v>
                </c:pt>
                <c:pt idx="591">
                  <c:v>1508.7691617465</c:v>
                </c:pt>
                <c:pt idx="592">
                  <c:v>1489.04762818736</c:v>
                </c:pt>
                <c:pt idx="593">
                  <c:v>1496.9860838581501</c:v>
                </c:pt>
                <c:pt idx="594">
                  <c:v>1514.59830569989</c:v>
                </c:pt>
                <c:pt idx="595">
                  <c:v>1494.21541868638</c:v>
                </c:pt>
                <c:pt idx="596">
                  <c:v>1500.06164918117</c:v>
                </c:pt>
                <c:pt idx="597">
                  <c:v>1504.9767722771201</c:v>
                </c:pt>
                <c:pt idx="598">
                  <c:v>1518.8077500558099</c:v>
                </c:pt>
                <c:pt idx="599">
                  <c:v>1502.1042032947701</c:v>
                </c:pt>
                <c:pt idx="600">
                  <c:v>1509.9116100496101</c:v>
                </c:pt>
                <c:pt idx="601">
                  <c:v>1499.3633669989499</c:v>
                </c:pt>
                <c:pt idx="602">
                  <c:v>1503.73721802002</c:v>
                </c:pt>
                <c:pt idx="603">
                  <c:v>1510.17934594337</c:v>
                </c:pt>
                <c:pt idx="604">
                  <c:v>1504.7339587325901</c:v>
                </c:pt>
                <c:pt idx="605">
                  <c:v>1511.1233723906901</c:v>
                </c:pt>
                <c:pt idx="606">
                  <c:v>1495.9977103418901</c:v>
                </c:pt>
                <c:pt idx="607">
                  <c:v>1519.2171235431799</c:v>
                </c:pt>
                <c:pt idx="608">
                  <c:v>1501.62744006403</c:v>
                </c:pt>
                <c:pt idx="609">
                  <c:v>1504.56111469195</c:v>
                </c:pt>
                <c:pt idx="610">
                  <c:v>1515.39643985212</c:v>
                </c:pt>
                <c:pt idx="611">
                  <c:v>1519.4954423367501</c:v>
                </c:pt>
                <c:pt idx="612">
                  <c:v>1505.75836419386</c:v>
                </c:pt>
                <c:pt idx="613">
                  <c:v>1509.97647097547</c:v>
                </c:pt>
                <c:pt idx="614">
                  <c:v>1512.0853462473599</c:v>
                </c:pt>
                <c:pt idx="615">
                  <c:v>1505.3004572167399</c:v>
                </c:pt>
                <c:pt idx="616">
                  <c:v>1509.29382342125</c:v>
                </c:pt>
                <c:pt idx="617">
                  <c:v>1499.7729705795</c:v>
                </c:pt>
                <c:pt idx="618">
                  <c:v>1501.20193459038</c:v>
                </c:pt>
                <c:pt idx="619">
                  <c:v>1507.36286909658</c:v>
                </c:pt>
                <c:pt idx="620">
                  <c:v>1508.06247710917</c:v>
                </c:pt>
                <c:pt idx="621">
                  <c:v>1514.15164455439</c:v>
                </c:pt>
                <c:pt idx="622">
                  <c:v>1508.16473382706</c:v>
                </c:pt>
                <c:pt idx="623">
                  <c:v>1520.2919132699899</c:v>
                </c:pt>
                <c:pt idx="624">
                  <c:v>1509.0998704552101</c:v>
                </c:pt>
                <c:pt idx="625">
                  <c:v>1516.0441936692901</c:v>
                </c:pt>
                <c:pt idx="626">
                  <c:v>1506.0872087662799</c:v>
                </c:pt>
                <c:pt idx="627">
                  <c:v>1520.9957072935599</c:v>
                </c:pt>
                <c:pt idx="628">
                  <c:v>1509.1735645715501</c:v>
                </c:pt>
                <c:pt idx="629">
                  <c:v>1515.8825062584499</c:v>
                </c:pt>
                <c:pt idx="630">
                  <c:v>1503.4817510984601</c:v>
                </c:pt>
                <c:pt idx="631">
                  <c:v>1500.91543373433</c:v>
                </c:pt>
                <c:pt idx="632">
                  <c:v>1498.8580467215299</c:v>
                </c:pt>
                <c:pt idx="633">
                  <c:v>1506.20141287345</c:v>
                </c:pt>
                <c:pt idx="634">
                  <c:v>1497.51110920972</c:v>
                </c:pt>
                <c:pt idx="635">
                  <c:v>1497.8113242322599</c:v>
                </c:pt>
                <c:pt idx="636">
                  <c:v>1512.5543028557499</c:v>
                </c:pt>
                <c:pt idx="637">
                  <c:v>1513.0120503291701</c:v>
                </c:pt>
                <c:pt idx="638">
                  <c:v>1509.5109952744399</c:v>
                </c:pt>
                <c:pt idx="639">
                  <c:v>1508.2232413209599</c:v>
                </c:pt>
                <c:pt idx="640">
                  <c:v>1500.6466232673499</c:v>
                </c:pt>
                <c:pt idx="641">
                  <c:v>1473.7633532416201</c:v>
                </c:pt>
                <c:pt idx="643">
                  <c:v>1527.39723765846</c:v>
                </c:pt>
                <c:pt idx="644">
                  <c:v>1520.5446515727499</c:v>
                </c:pt>
                <c:pt idx="645">
                  <c:v>1523.3007373497001</c:v>
                </c:pt>
                <c:pt idx="646">
                  <c:v>1512.7959192600399</c:v>
                </c:pt>
                <c:pt idx="647">
                  <c:v>1517.7392672098999</c:v>
                </c:pt>
                <c:pt idx="648">
                  <c:v>1507.18792054285</c:v>
                </c:pt>
                <c:pt idx="649">
                  <c:v>1495.47586895732</c:v>
                </c:pt>
                <c:pt idx="650">
                  <c:v>1491.99887361387</c:v>
                </c:pt>
                <c:pt idx="651">
                  <c:v>1499.07334826897</c:v>
                </c:pt>
                <c:pt idx="652">
                  <c:v>1498.48875627845</c:v>
                </c:pt>
                <c:pt idx="653">
                  <c:v>1498.7863212285899</c:v>
                </c:pt>
                <c:pt idx="654">
                  <c:v>1500.89800390347</c:v>
                </c:pt>
                <c:pt idx="655">
                  <c:v>1492.98507619561</c:v>
                </c:pt>
                <c:pt idx="656">
                  <c:v>1509.6831104196899</c:v>
                </c:pt>
                <c:pt idx="657">
                  <c:v>1492.7548110553</c:v>
                </c:pt>
                <c:pt idx="658">
                  <c:v>1503.11462488658</c:v>
                </c:pt>
                <c:pt idx="659">
                  <c:v>1505.0571676417101</c:v>
                </c:pt>
                <c:pt idx="660">
                  <c:v>1499.61445298072</c:v>
                </c:pt>
                <c:pt idx="661">
                  <c:v>1497.78743376384</c:v>
                </c:pt>
                <c:pt idx="662">
                  <c:v>1485.7835383843001</c:v>
                </c:pt>
                <c:pt idx="663">
                  <c:v>1500.53367243465</c:v>
                </c:pt>
                <c:pt idx="664">
                  <c:v>1481.09738332761</c:v>
                </c:pt>
                <c:pt idx="665">
                  <c:v>1493.9186983571699</c:v>
                </c:pt>
                <c:pt idx="666">
                  <c:v>1496.6560792533901</c:v>
                </c:pt>
                <c:pt idx="667">
                  <c:v>1488.42509711669</c:v>
                </c:pt>
                <c:pt idx="668">
                  <c:v>1500.7590702198199</c:v>
                </c:pt>
                <c:pt idx="669">
                  <c:v>1493.2996834084699</c:v>
                </c:pt>
                <c:pt idx="670">
                  <c:v>1500.3576330993501</c:v>
                </c:pt>
                <c:pt idx="671">
                  <c:v>1493.8387839460199</c:v>
                </c:pt>
                <c:pt idx="672">
                  <c:v>1498.3925626954001</c:v>
                </c:pt>
                <c:pt idx="673">
                  <c:v>1492.4709682160101</c:v>
                </c:pt>
                <c:pt idx="674">
                  <c:v>1487.24729037064</c:v>
                </c:pt>
                <c:pt idx="675">
                  <c:v>1494.6953485316701</c:v>
                </c:pt>
                <c:pt idx="676">
                  <c:v>1482.85132765764</c:v>
                </c:pt>
                <c:pt idx="677">
                  <c:v>1506.42554508489</c:v>
                </c:pt>
                <c:pt idx="678">
                  <c:v>1491.7499926502301</c:v>
                </c:pt>
                <c:pt idx="679">
                  <c:v>1484.7011702155601</c:v>
                </c:pt>
                <c:pt idx="680">
                  <c:v>1506.5459802105299</c:v>
                </c:pt>
                <c:pt idx="681">
                  <c:v>1505.0008307273399</c:v>
                </c:pt>
                <c:pt idx="682">
                  <c:v>1495.65648688539</c:v>
                </c:pt>
                <c:pt idx="683">
                  <c:v>1483.6557872866599</c:v>
                </c:pt>
                <c:pt idx="684">
                  <c:v>1500.0787955782</c:v>
                </c:pt>
                <c:pt idx="685">
                  <c:v>1479.9379265086</c:v>
                </c:pt>
                <c:pt idx="686">
                  <c:v>1497.13816542265</c:v>
                </c:pt>
                <c:pt idx="687">
                  <c:v>1492.4835965847601</c:v>
                </c:pt>
                <c:pt idx="688">
                  <c:v>1481.7971994669001</c:v>
                </c:pt>
                <c:pt idx="689">
                  <c:v>1487.96764830182</c:v>
                </c:pt>
                <c:pt idx="690">
                  <c:v>1487.75751901733</c:v>
                </c:pt>
                <c:pt idx="691">
                  <c:v>1501.9542225756099</c:v>
                </c:pt>
                <c:pt idx="692">
                  <c:v>1501.56580831206</c:v>
                </c:pt>
                <c:pt idx="693">
                  <c:v>1491.8989712207001</c:v>
                </c:pt>
                <c:pt idx="694">
                  <c:v>1497.7780307401699</c:v>
                </c:pt>
                <c:pt idx="695">
                  <c:v>1484.4254800157</c:v>
                </c:pt>
                <c:pt idx="696">
                  <c:v>1497.45444982089</c:v>
                </c:pt>
                <c:pt idx="697">
                  <c:v>1506.8412172160799</c:v>
                </c:pt>
                <c:pt idx="698">
                  <c:v>1489.2606238016101</c:v>
                </c:pt>
                <c:pt idx="699">
                  <c:v>1501.95577772563</c:v>
                </c:pt>
                <c:pt idx="700">
                  <c:v>1501.6887082451599</c:v>
                </c:pt>
                <c:pt idx="701">
                  <c:v>1499.3572730839801</c:v>
                </c:pt>
                <c:pt idx="702">
                  <c:v>1503.3521593441201</c:v>
                </c:pt>
                <c:pt idx="703">
                  <c:v>1487.22034259928</c:v>
                </c:pt>
                <c:pt idx="704">
                  <c:v>1497.2830770948101</c:v>
                </c:pt>
                <c:pt idx="705">
                  <c:v>1501.77122190567</c:v>
                </c:pt>
                <c:pt idx="706">
                  <c:v>1492.81271917709</c:v>
                </c:pt>
                <c:pt idx="707">
                  <c:v>1489.8954874091501</c:v>
                </c:pt>
                <c:pt idx="708">
                  <c:v>1492.72551144217</c:v>
                </c:pt>
                <c:pt idx="709">
                  <c:v>1488.55991625817</c:v>
                </c:pt>
                <c:pt idx="710">
                  <c:v>1496.9030682722801</c:v>
                </c:pt>
                <c:pt idx="711">
                  <c:v>1493.75011254776</c:v>
                </c:pt>
                <c:pt idx="712">
                  <c:v>1500.00922414909</c:v>
                </c:pt>
                <c:pt idx="713">
                  <c:v>1509.4777252787101</c:v>
                </c:pt>
                <c:pt idx="714">
                  <c:v>1495.0466661329301</c:v>
                </c:pt>
                <c:pt idx="715">
                  <c:v>1495.36647598936</c:v>
                </c:pt>
                <c:pt idx="716">
                  <c:v>1500.49583228908</c:v>
                </c:pt>
                <c:pt idx="717">
                  <c:v>1487.1328808822</c:v>
                </c:pt>
                <c:pt idx="718">
                  <c:v>1486.64661067465</c:v>
                </c:pt>
                <c:pt idx="719">
                  <c:v>1500.5388213904801</c:v>
                </c:pt>
                <c:pt idx="720">
                  <c:v>1495.62148592433</c:v>
                </c:pt>
                <c:pt idx="721">
                  <c:v>1514.4241246107299</c:v>
                </c:pt>
                <c:pt idx="722">
                  <c:v>1510.40216145615</c:v>
                </c:pt>
                <c:pt idx="723">
                  <c:v>1511.6033550136001</c:v>
                </c:pt>
                <c:pt idx="724">
                  <c:v>1493.7466225124899</c:v>
                </c:pt>
                <c:pt idx="725">
                  <c:v>1451.7063670986499</c:v>
                </c:pt>
                <c:pt idx="726">
                  <c:v>1549.4423563683999</c:v>
                </c:pt>
                <c:pt idx="727">
                  <c:v>1500.29828634657</c:v>
                </c:pt>
                <c:pt idx="728">
                  <c:v>1496.6319418711</c:v>
                </c:pt>
                <c:pt idx="729">
                  <c:v>1513.27541291734</c:v>
                </c:pt>
                <c:pt idx="730">
                  <c:v>1502.1788481395599</c:v>
                </c:pt>
                <c:pt idx="731">
                  <c:v>1509.5640016287555</c:v>
                </c:pt>
                <c:pt idx="732">
                  <c:v>1490.1187750607817</c:v>
                </c:pt>
                <c:pt idx="733">
                  <c:v>1501.4372629431839</c:v>
                </c:pt>
                <c:pt idx="734">
                  <c:v>1502.5865740417491</c:v>
                </c:pt>
                <c:pt idx="735">
                  <c:v>1493.6455819835621</c:v>
                </c:pt>
                <c:pt idx="736">
                  <c:v>1494.2942158951462</c:v>
                </c:pt>
                <c:pt idx="737">
                  <c:v>1489.8717119964326</c:v>
                </c:pt>
                <c:pt idx="738">
                  <c:v>1491.8292080461401</c:v>
                </c:pt>
                <c:pt idx="739">
                  <c:v>1501.664488393124</c:v>
                </c:pt>
                <c:pt idx="740">
                  <c:v>1499.8501228255066</c:v>
                </c:pt>
                <c:pt idx="741">
                  <c:v>1501.0559176172883</c:v>
                </c:pt>
                <c:pt idx="742">
                  <c:v>1483.698867423175</c:v>
                </c:pt>
                <c:pt idx="743">
                  <c:v>1500.2178816692058</c:v>
                </c:pt>
                <c:pt idx="744">
                  <c:v>1488.5791431189994</c:v>
                </c:pt>
                <c:pt idx="745">
                  <c:v>1482.5228600486175</c:v>
                </c:pt>
                <c:pt idx="746">
                  <c:v>1499.0262286919397</c:v>
                </c:pt>
                <c:pt idx="747">
                  <c:v>1499.1436626722636</c:v>
                </c:pt>
                <c:pt idx="748">
                  <c:v>1494.5943601544152</c:v>
                </c:pt>
                <c:pt idx="749">
                  <c:v>1501.4810814582277</c:v>
                </c:pt>
                <c:pt idx="750">
                  <c:v>1497.2847773794499</c:v>
                </c:pt>
                <c:pt idx="751">
                  <c:v>1512.5821124265469</c:v>
                </c:pt>
                <c:pt idx="752">
                  <c:v>1492.0793158409874</c:v>
                </c:pt>
                <c:pt idx="753">
                  <c:v>1497.3370089447119</c:v>
                </c:pt>
                <c:pt idx="754">
                  <c:v>1491.6049640628833</c:v>
                </c:pt>
                <c:pt idx="755">
                  <c:v>1493.3734399178038</c:v>
                </c:pt>
                <c:pt idx="756">
                  <c:v>1501.0291698374567</c:v>
                </c:pt>
                <c:pt idx="757">
                  <c:v>1502.5168431478526</c:v>
                </c:pt>
                <c:pt idx="758">
                  <c:v>1502.2740411446835</c:v>
                </c:pt>
                <c:pt idx="759">
                  <c:v>1502.7061621374935</c:v>
                </c:pt>
                <c:pt idx="760">
                  <c:v>1500.198862793329</c:v>
                </c:pt>
                <c:pt idx="761">
                  <c:v>1501.954557075785</c:v>
                </c:pt>
                <c:pt idx="762">
                  <c:v>1499.0303400323642</c:v>
                </c:pt>
                <c:pt idx="763">
                  <c:v>1488.3545879748233</c:v>
                </c:pt>
                <c:pt idx="764">
                  <c:v>1496.5295605293102</c:v>
                </c:pt>
                <c:pt idx="765">
                  <c:v>1497.5767430748758</c:v>
                </c:pt>
                <c:pt idx="766">
                  <c:v>1505.4299708310709</c:v>
                </c:pt>
                <c:pt idx="767">
                  <c:v>1500.1478199348719</c:v>
                </c:pt>
                <c:pt idx="768">
                  <c:v>1504.4430916292922</c:v>
                </c:pt>
                <c:pt idx="769">
                  <c:v>1510.4948693502106</c:v>
                </c:pt>
                <c:pt idx="770">
                  <c:v>1498.3618378091658</c:v>
                </c:pt>
                <c:pt idx="771">
                  <c:v>1498.0598972286925</c:v>
                </c:pt>
                <c:pt idx="772">
                  <c:v>1499.4120978677306</c:v>
                </c:pt>
                <c:pt idx="773">
                  <c:v>1492.456880388293</c:v>
                </c:pt>
                <c:pt idx="774">
                  <c:v>1497.1698511645552</c:v>
                </c:pt>
                <c:pt idx="775">
                  <c:v>1503.7660784546945</c:v>
                </c:pt>
                <c:pt idx="776">
                  <c:v>1495.4604483983544</c:v>
                </c:pt>
                <c:pt idx="777">
                  <c:v>1496.2022156001781</c:v>
                </c:pt>
                <c:pt idx="778">
                  <c:v>1510.0863821621756</c:v>
                </c:pt>
                <c:pt idx="779">
                  <c:v>1504.2814659774756</c:v>
                </c:pt>
                <c:pt idx="780">
                  <c:v>1503.1466320523182</c:v>
                </c:pt>
                <c:pt idx="781">
                  <c:v>1511.5776207294107</c:v>
                </c:pt>
                <c:pt idx="782">
                  <c:v>1508.4181588583956</c:v>
                </c:pt>
                <c:pt idx="783">
                  <c:v>1501.0600336211287</c:v>
                </c:pt>
                <c:pt idx="784">
                  <c:v>1495.1163755247485</c:v>
                </c:pt>
                <c:pt idx="785">
                  <c:v>1506.7117854788617</c:v>
                </c:pt>
                <c:pt idx="786">
                  <c:v>1501.2062596819053</c:v>
                </c:pt>
                <c:pt idx="787">
                  <c:v>1512.3132541952475</c:v>
                </c:pt>
                <c:pt idx="788">
                  <c:v>1496.065298480542</c:v>
                </c:pt>
                <c:pt idx="789">
                  <c:v>1486.9730845370666</c:v>
                </c:pt>
                <c:pt idx="790">
                  <c:v>1497.847348697258</c:v>
                </c:pt>
                <c:pt idx="791">
                  <c:v>1494.7505483787659</c:v>
                </c:pt>
                <c:pt idx="792">
                  <c:v>1488.3597958022006</c:v>
                </c:pt>
                <c:pt idx="793">
                  <c:v>1493.4412130975154</c:v>
                </c:pt>
                <c:pt idx="794">
                  <c:v>1514.5131633148867</c:v>
                </c:pt>
                <c:pt idx="795">
                  <c:v>1481.7633970526874</c:v>
                </c:pt>
                <c:pt idx="796">
                  <c:v>1486.0633994085663</c:v>
                </c:pt>
                <c:pt idx="797">
                  <c:v>1494.5491201261891</c:v>
                </c:pt>
                <c:pt idx="798">
                  <c:v>1491.5922975720109</c:v>
                </c:pt>
                <c:pt idx="799">
                  <c:v>1499.0915159984138</c:v>
                </c:pt>
                <c:pt idx="800">
                  <c:v>1502.3006562879968</c:v>
                </c:pt>
                <c:pt idx="801">
                  <c:v>1510.3330199461134</c:v>
                </c:pt>
                <c:pt idx="802">
                  <c:v>1499.8957145441452</c:v>
                </c:pt>
                <c:pt idx="803">
                  <c:v>1490.511994971554</c:v>
                </c:pt>
                <c:pt idx="804">
                  <c:v>1491.7204281769748</c:v>
                </c:pt>
                <c:pt idx="805">
                  <c:v>1494.3668530653904</c:v>
                </c:pt>
                <c:pt idx="806">
                  <c:v>1494.242271886566</c:v>
                </c:pt>
                <c:pt idx="807">
                  <c:v>1496.126063543041</c:v>
                </c:pt>
                <c:pt idx="808">
                  <c:v>1499.2701053334081</c:v>
                </c:pt>
                <c:pt idx="809">
                  <c:v>1494.3551764368235</c:v>
                </c:pt>
                <c:pt idx="810">
                  <c:v>1500.8771552165706</c:v>
                </c:pt>
                <c:pt idx="811">
                  <c:v>1494.7971735724834</c:v>
                </c:pt>
                <c:pt idx="812">
                  <c:v>1499.2945388512851</c:v>
                </c:pt>
                <c:pt idx="813">
                  <c:v>1507.9817278455598</c:v>
                </c:pt>
                <c:pt idx="814">
                  <c:v>1488.7974746939315</c:v>
                </c:pt>
                <c:pt idx="815">
                  <c:v>1496.8190742834493</c:v>
                </c:pt>
                <c:pt idx="816">
                  <c:v>1501.3707678832588</c:v>
                </c:pt>
                <c:pt idx="817">
                  <c:v>1483.6448197567636</c:v>
                </c:pt>
                <c:pt idx="818">
                  <c:v>1512.257305056107</c:v>
                </c:pt>
                <c:pt idx="819">
                  <c:v>1498.5410650379054</c:v>
                </c:pt>
                <c:pt idx="820">
                  <c:v>1491.9984294897881</c:v>
                </c:pt>
                <c:pt idx="821">
                  <c:v>1492.1482054268868</c:v>
                </c:pt>
                <c:pt idx="822">
                  <c:v>1504.2186938026659</c:v>
                </c:pt>
                <c:pt idx="823">
                  <c:v>1497.6397018146126</c:v>
                </c:pt>
                <c:pt idx="824">
                  <c:v>1501.1942017695653</c:v>
                </c:pt>
                <c:pt idx="825">
                  <c:v>1510.524046064063</c:v>
                </c:pt>
                <c:pt idx="826">
                  <c:v>1503.4795113569735</c:v>
                </c:pt>
                <c:pt idx="827">
                  <c:v>1500.8822867580648</c:v>
                </c:pt>
                <c:pt idx="828">
                  <c:v>1502.0612409850207</c:v>
                </c:pt>
                <c:pt idx="829">
                  <c:v>1508.6219100216781</c:v>
                </c:pt>
                <c:pt idx="830">
                  <c:v>1516.4013465158521</c:v>
                </c:pt>
                <c:pt idx="831">
                  <c:v>1504.5125509638503</c:v>
                </c:pt>
                <c:pt idx="832">
                  <c:v>1504.3205025191423</c:v>
                </c:pt>
                <c:pt idx="833">
                  <c:v>1506.5022823445952</c:v>
                </c:pt>
                <c:pt idx="834">
                  <c:v>1488.9295237498777</c:v>
                </c:pt>
                <c:pt idx="835">
                  <c:v>1498.1943021795614</c:v>
                </c:pt>
                <c:pt idx="836">
                  <c:v>1505.4420929523376</c:v>
                </c:pt>
                <c:pt idx="837">
                  <c:v>1502.8708026393297</c:v>
                </c:pt>
                <c:pt idx="838">
                  <c:v>1504.8703488947876</c:v>
                </c:pt>
                <c:pt idx="839">
                  <c:v>1503.3628654593053</c:v>
                </c:pt>
                <c:pt idx="840">
                  <c:v>1506.8113535919331</c:v>
                </c:pt>
                <c:pt idx="841">
                  <c:v>1497.1754980383582</c:v>
                </c:pt>
                <c:pt idx="842">
                  <c:v>1502.8641925917411</c:v>
                </c:pt>
                <c:pt idx="843">
                  <c:v>1506.4233542787313</c:v>
                </c:pt>
                <c:pt idx="844">
                  <c:v>1491.1473764598456</c:v>
                </c:pt>
                <c:pt idx="845">
                  <c:v>1506.4043543484452</c:v>
                </c:pt>
                <c:pt idx="846">
                  <c:v>1511.4615391467432</c:v>
                </c:pt>
                <c:pt idx="847">
                  <c:v>1504.7218897288237</c:v>
                </c:pt>
                <c:pt idx="848">
                  <c:v>1496.9089363789685</c:v>
                </c:pt>
                <c:pt idx="849">
                  <c:v>1499.465895376014</c:v>
                </c:pt>
                <c:pt idx="850">
                  <c:v>1502.8901232016317</c:v>
                </c:pt>
                <c:pt idx="851">
                  <c:v>1503.4486186657562</c:v>
                </c:pt>
                <c:pt idx="852">
                  <c:v>1509.105668275721</c:v>
                </c:pt>
                <c:pt idx="853">
                  <c:v>1499.7151595795151</c:v>
                </c:pt>
                <c:pt idx="854">
                  <c:v>1494.9589757937053</c:v>
                </c:pt>
                <c:pt idx="855">
                  <c:v>1508.7613979936714</c:v>
                </c:pt>
                <c:pt idx="856">
                  <c:v>1517.7877679404376</c:v>
                </c:pt>
                <c:pt idx="857">
                  <c:v>1505.3781005594383</c:v>
                </c:pt>
                <c:pt idx="858">
                  <c:v>1495.6660368256387</c:v>
                </c:pt>
                <c:pt idx="859">
                  <c:v>1504.9204476864948</c:v>
                </c:pt>
                <c:pt idx="860">
                  <c:v>1489.6361576449426</c:v>
                </c:pt>
                <c:pt idx="861">
                  <c:v>1457.7823183496264</c:v>
                </c:pt>
                <c:pt idx="862">
                  <c:v>1505.1024765220229</c:v>
                </c:pt>
                <c:pt idx="863">
                  <c:v>1502.1352793870419</c:v>
                </c:pt>
                <c:pt idx="864">
                  <c:v>1490.9422992367729</c:v>
                </c:pt>
                <c:pt idx="865">
                  <c:v>1483.6307612823416</c:v>
                </c:pt>
                <c:pt idx="866">
                  <c:v>1505.8161668529385</c:v>
                </c:pt>
                <c:pt idx="867">
                  <c:v>1500.2947959424139</c:v>
                </c:pt>
                <c:pt idx="868">
                  <c:v>1503.8878227255091</c:v>
                </c:pt>
                <c:pt idx="869">
                  <c:v>1490.5825842744121</c:v>
                </c:pt>
                <c:pt idx="870">
                  <c:v>1489.8799095166696</c:v>
                </c:pt>
                <c:pt idx="871">
                  <c:v>1500.6297426599949</c:v>
                </c:pt>
                <c:pt idx="872">
                  <c:v>1501.0817040203137</c:v>
                </c:pt>
                <c:pt idx="873">
                  <c:v>1494.81271134245</c:v>
                </c:pt>
                <c:pt idx="874">
                  <c:v>1487.5773166680131</c:v>
                </c:pt>
                <c:pt idx="875">
                  <c:v>1500.4925026428075</c:v>
                </c:pt>
                <c:pt idx="876">
                  <c:v>1494.8596595657812</c:v>
                </c:pt>
                <c:pt idx="877">
                  <c:v>1506.6117942291842</c:v>
                </c:pt>
                <c:pt idx="878">
                  <c:v>1485.4390543443724</c:v>
                </c:pt>
                <c:pt idx="879">
                  <c:v>1511.5517141892935</c:v>
                </c:pt>
                <c:pt idx="880">
                  <c:v>1485.3727776849298</c:v>
                </c:pt>
                <c:pt idx="881">
                  <c:v>1496.5947352410765</c:v>
                </c:pt>
                <c:pt idx="882">
                  <c:v>1506.4159858370867</c:v>
                </c:pt>
                <c:pt idx="883">
                  <c:v>1488.7998542454543</c:v>
                </c:pt>
                <c:pt idx="884">
                  <c:v>1487.2307142747504</c:v>
                </c:pt>
                <c:pt idx="885">
                  <c:v>1488.9029324522594</c:v>
                </c:pt>
                <c:pt idx="886">
                  <c:v>1485.7123873056871</c:v>
                </c:pt>
                <c:pt idx="887">
                  <c:v>1500.5614357935267</c:v>
                </c:pt>
                <c:pt idx="888">
                  <c:v>1504.6146949671945</c:v>
                </c:pt>
                <c:pt idx="889">
                  <c:v>1492.7144316638389</c:v>
                </c:pt>
                <c:pt idx="890">
                  <c:v>1491.8036590438583</c:v>
                </c:pt>
                <c:pt idx="891">
                  <c:v>1503.5373886903587</c:v>
                </c:pt>
                <c:pt idx="892">
                  <c:v>1498.7407022155051</c:v>
                </c:pt>
                <c:pt idx="893">
                  <c:v>1500.0113324019528</c:v>
                </c:pt>
                <c:pt idx="894">
                  <c:v>1486.5443285832303</c:v>
                </c:pt>
                <c:pt idx="895">
                  <c:v>1480.5550414253739</c:v>
                </c:pt>
                <c:pt idx="896">
                  <c:v>1495.466825468616</c:v>
                </c:pt>
                <c:pt idx="897">
                  <c:v>1501.6499994936507</c:v>
                </c:pt>
                <c:pt idx="898">
                  <c:v>1496.8071009752223</c:v>
                </c:pt>
                <c:pt idx="899">
                  <c:v>1495.3002512641426</c:v>
                </c:pt>
                <c:pt idx="900">
                  <c:v>1502.6052702281393</c:v>
                </c:pt>
                <c:pt idx="901">
                  <c:v>1497.2604106159845</c:v>
                </c:pt>
                <c:pt idx="902">
                  <c:v>1494.6346231437933</c:v>
                </c:pt>
                <c:pt idx="903">
                  <c:v>1497.9639208138351</c:v>
                </c:pt>
                <c:pt idx="904">
                  <c:v>1490.9337766337896</c:v>
                </c:pt>
                <c:pt idx="905">
                  <c:v>1507.707169252589</c:v>
                </c:pt>
                <c:pt idx="906">
                  <c:v>1506.1064296993086</c:v>
                </c:pt>
                <c:pt idx="907">
                  <c:v>1495.7669268447235</c:v>
                </c:pt>
                <c:pt idx="908">
                  <c:v>1492.4379482294296</c:v>
                </c:pt>
                <c:pt idx="909">
                  <c:v>1487.104511593767</c:v>
                </c:pt>
                <c:pt idx="910">
                  <c:v>1501.970030158828</c:v>
                </c:pt>
                <c:pt idx="911">
                  <c:v>1507.6074709949271</c:v>
                </c:pt>
                <c:pt idx="912">
                  <c:v>1485.6874081963201</c:v>
                </c:pt>
                <c:pt idx="913">
                  <c:v>1496.6923020100178</c:v>
                </c:pt>
                <c:pt idx="914">
                  <c:v>1495.1391703527581</c:v>
                </c:pt>
                <c:pt idx="915">
                  <c:v>1492.1897270863324</c:v>
                </c:pt>
                <c:pt idx="916">
                  <c:v>1515.2466856131698</c:v>
                </c:pt>
                <c:pt idx="917">
                  <c:v>1500.1209747236333</c:v>
                </c:pt>
                <c:pt idx="918">
                  <c:v>1494.1066775793486</c:v>
                </c:pt>
                <c:pt idx="919">
                  <c:v>1499.4301027873864</c:v>
                </c:pt>
                <c:pt idx="920">
                  <c:v>1500.2717905575162</c:v>
                </c:pt>
                <c:pt idx="921">
                  <c:v>1494.4774740586438</c:v>
                </c:pt>
                <c:pt idx="922">
                  <c:v>1502.1799467325882</c:v>
                </c:pt>
                <c:pt idx="923">
                  <c:v>1498.6344882613166</c:v>
                </c:pt>
                <c:pt idx="924">
                  <c:v>1502.0720625291035</c:v>
                </c:pt>
                <c:pt idx="925">
                  <c:v>1496.4535155265294</c:v>
                </c:pt>
                <c:pt idx="926">
                  <c:v>1505.2822084159181</c:v>
                </c:pt>
                <c:pt idx="927">
                  <c:v>1491.4035698475391</c:v>
                </c:pt>
                <c:pt idx="928">
                  <c:v>1493.7551879527423</c:v>
                </c:pt>
                <c:pt idx="929">
                  <c:v>1503.6044663863111</c:v>
                </c:pt>
                <c:pt idx="930">
                  <c:v>1498.73101047563</c:v>
                </c:pt>
                <c:pt idx="931">
                  <c:v>1489.1246039658631</c:v>
                </c:pt>
                <c:pt idx="932">
                  <c:v>1489.7034789367174</c:v>
                </c:pt>
                <c:pt idx="933">
                  <c:v>1488.3763229393439</c:v>
                </c:pt>
                <c:pt idx="934">
                  <c:v>1498.7847353175496</c:v>
                </c:pt>
                <c:pt idx="935">
                  <c:v>1497.5369732979029</c:v>
                </c:pt>
                <c:pt idx="936">
                  <c:v>1498.5078098275592</c:v>
                </c:pt>
                <c:pt idx="937">
                  <c:v>1503.7901185713779</c:v>
                </c:pt>
                <c:pt idx="938">
                  <c:v>1493.3225879269194</c:v>
                </c:pt>
                <c:pt idx="939">
                  <c:v>1480.2271124786344</c:v>
                </c:pt>
                <c:pt idx="940">
                  <c:v>1501.3723138289236</c:v>
                </c:pt>
                <c:pt idx="941">
                  <c:v>1496.1587513803672</c:v>
                </c:pt>
                <c:pt idx="942">
                  <c:v>1485.415931218668</c:v>
                </c:pt>
                <c:pt idx="943">
                  <c:v>1486.9418958028143</c:v>
                </c:pt>
                <c:pt idx="944">
                  <c:v>1495.5362670665595</c:v>
                </c:pt>
                <c:pt idx="945">
                  <c:v>1499.9909972723528</c:v>
                </c:pt>
                <c:pt idx="946">
                  <c:v>1494.3108070774922</c:v>
                </c:pt>
                <c:pt idx="947">
                  <c:v>1500.5752327403595</c:v>
                </c:pt>
                <c:pt idx="948">
                  <c:v>1499.4336992093729</c:v>
                </c:pt>
                <c:pt idx="949">
                  <c:v>1503.3758987528402</c:v>
                </c:pt>
                <c:pt idx="950">
                  <c:v>1506.2457411359544</c:v>
                </c:pt>
                <c:pt idx="951">
                  <c:v>1493.6655366515929</c:v>
                </c:pt>
                <c:pt idx="952">
                  <c:v>1496.0956412041476</c:v>
                </c:pt>
                <c:pt idx="953">
                  <c:v>1503.4117872973536</c:v>
                </c:pt>
                <c:pt idx="954">
                  <c:v>1515.0298591482644</c:v>
                </c:pt>
                <c:pt idx="955">
                  <c:v>1500.3084582335107</c:v>
                </c:pt>
                <c:pt idx="956">
                  <c:v>1419.0706048789409</c:v>
                </c:pt>
                <c:pt idx="957">
                  <c:v>1534.5969162420477</c:v>
                </c:pt>
                <c:pt idx="958">
                  <c:v>1515.5216947242104</c:v>
                </c:pt>
                <c:pt idx="959">
                  <c:v>1517.9588657633594</c:v>
                </c:pt>
                <c:pt idx="960">
                  <c:v>1506.4998473529758</c:v>
                </c:pt>
                <c:pt idx="961">
                  <c:v>1496.4579010794571</c:v>
                </c:pt>
                <c:pt idx="962">
                  <c:v>1506.2621589072062</c:v>
                </c:pt>
                <c:pt idx="963">
                  <c:v>1514.3458877497396</c:v>
                </c:pt>
                <c:pt idx="964">
                  <c:v>1488.0476433065053</c:v>
                </c:pt>
                <c:pt idx="965">
                  <c:v>1496.0480025241666</c:v>
                </c:pt>
                <c:pt idx="966">
                  <c:v>1493.6859757134878</c:v>
                </c:pt>
                <c:pt idx="967">
                  <c:v>1498.3972641748926</c:v>
                </c:pt>
                <c:pt idx="968">
                  <c:v>1506.8489766341952</c:v>
                </c:pt>
                <c:pt idx="969">
                  <c:v>1496.6128713404619</c:v>
                </c:pt>
                <c:pt idx="970">
                  <c:v>1506.9850205744044</c:v>
                </c:pt>
                <c:pt idx="971">
                  <c:v>1512.7823494018767</c:v>
                </c:pt>
                <c:pt idx="972">
                  <c:v>1490.1395869843718</c:v>
                </c:pt>
                <c:pt idx="973">
                  <c:v>1497.9833920039086</c:v>
                </c:pt>
                <c:pt idx="974">
                  <c:v>1507.3985837588018</c:v>
                </c:pt>
                <c:pt idx="975">
                  <c:v>1503.3882755848856</c:v>
                </c:pt>
                <c:pt idx="976">
                  <c:v>1510.1346906881195</c:v>
                </c:pt>
                <c:pt idx="977">
                  <c:v>1506.8752857099216</c:v>
                </c:pt>
                <c:pt idx="978">
                  <c:v>1510.026331723742</c:v>
                </c:pt>
                <c:pt idx="979">
                  <c:v>1502.7362727417312</c:v>
                </c:pt>
                <c:pt idx="980">
                  <c:v>1502.9340593086763</c:v>
                </c:pt>
                <c:pt idx="981">
                  <c:v>1508.1349324545736</c:v>
                </c:pt>
                <c:pt idx="982">
                  <c:v>1508.4045547522348</c:v>
                </c:pt>
                <c:pt idx="983">
                  <c:v>1516.8184520799673</c:v>
                </c:pt>
                <c:pt idx="984">
                  <c:v>1497.7340893714111</c:v>
                </c:pt>
                <c:pt idx="985">
                  <c:v>1512.0541810458121</c:v>
                </c:pt>
                <c:pt idx="986">
                  <c:v>1505.6868764809569</c:v>
                </c:pt>
                <c:pt idx="987">
                  <c:v>1498.4200721294571</c:v>
                </c:pt>
                <c:pt idx="988">
                  <c:v>1489.6497396112552</c:v>
                </c:pt>
                <c:pt idx="989">
                  <c:v>1494.0810840459817</c:v>
                </c:pt>
                <c:pt idx="990">
                  <c:v>1502.6735153646612</c:v>
                </c:pt>
                <c:pt idx="991">
                  <c:v>1501.2070343229482</c:v>
                </c:pt>
                <c:pt idx="992">
                  <c:v>1503.5121090993637</c:v>
                </c:pt>
                <c:pt idx="993">
                  <c:v>1505.9535490796707</c:v>
                </c:pt>
                <c:pt idx="994">
                  <c:v>1503.8392071835272</c:v>
                </c:pt>
                <c:pt idx="995">
                  <c:v>1499.8903421681857</c:v>
                </c:pt>
                <c:pt idx="996">
                  <c:v>1495.8677195124344</c:v>
                </c:pt>
                <c:pt idx="997">
                  <c:v>1488.1552970984762</c:v>
                </c:pt>
                <c:pt idx="998">
                  <c:v>1492.6101714210615</c:v>
                </c:pt>
                <c:pt idx="999">
                  <c:v>1497.2475224726638</c:v>
                </c:pt>
                <c:pt idx="1000">
                  <c:v>1491.9510410861933</c:v>
                </c:pt>
                <c:pt idx="1001">
                  <c:v>1484.3142337042652</c:v>
                </c:pt>
                <c:pt idx="1002">
                  <c:v>1494.7753354215649</c:v>
                </c:pt>
                <c:pt idx="1003">
                  <c:v>1493.3284980103699</c:v>
                </c:pt>
                <c:pt idx="1004">
                  <c:v>1489.6214432774664</c:v>
                </c:pt>
                <c:pt idx="1005">
                  <c:v>1483.9427215103269</c:v>
                </c:pt>
                <c:pt idx="1006">
                  <c:v>1503.5960439570003</c:v>
                </c:pt>
                <c:pt idx="1007">
                  <c:v>1513.1430257654722</c:v>
                </c:pt>
                <c:pt idx="1008">
                  <c:v>1505.0406353444978</c:v>
                </c:pt>
                <c:pt idx="1009">
                  <c:v>1481.2454991227585</c:v>
                </c:pt>
                <c:pt idx="1010">
                  <c:v>1489.3596934367417</c:v>
                </c:pt>
                <c:pt idx="1011">
                  <c:v>1493.9052930869891</c:v>
                </c:pt>
                <c:pt idx="1012">
                  <c:v>1485.9391900867124</c:v>
                </c:pt>
                <c:pt idx="1013">
                  <c:v>1490.733212944052</c:v>
                </c:pt>
                <c:pt idx="1014">
                  <c:v>1477.8448160529545</c:v>
                </c:pt>
                <c:pt idx="1015">
                  <c:v>1514.3749317191362</c:v>
                </c:pt>
                <c:pt idx="1016">
                  <c:v>1504.4504941672105</c:v>
                </c:pt>
                <c:pt idx="1017">
                  <c:v>1501.2324021706252</c:v>
                </c:pt>
                <c:pt idx="1018">
                  <c:v>1490.9722079618152</c:v>
                </c:pt>
                <c:pt idx="1019">
                  <c:v>1492.1734895174509</c:v>
                </c:pt>
                <c:pt idx="1020">
                  <c:v>1489.7561087368872</c:v>
                </c:pt>
                <c:pt idx="1021">
                  <c:v>1488.5292141659661</c:v>
                </c:pt>
                <c:pt idx="1022">
                  <c:v>1498.4291705576265</c:v>
                </c:pt>
                <c:pt idx="1023">
                  <c:v>1480.6870401180433</c:v>
                </c:pt>
                <c:pt idx="1024">
                  <c:v>1494.0280292608575</c:v>
                </c:pt>
                <c:pt idx="1025">
                  <c:v>1503.3937228486227</c:v>
                </c:pt>
                <c:pt idx="1026">
                  <c:v>1481.6354120502504</c:v>
                </c:pt>
                <c:pt idx="1027">
                  <c:v>1480.5963433565805</c:v>
                </c:pt>
                <c:pt idx="1028">
                  <c:v>1499.0371425780816</c:v>
                </c:pt>
                <c:pt idx="1029">
                  <c:v>1500.1332418648174</c:v>
                </c:pt>
                <c:pt idx="1030">
                  <c:v>1451.6448937799296</c:v>
                </c:pt>
                <c:pt idx="1031">
                  <c:v>1498.0173320538352</c:v>
                </c:pt>
                <c:pt idx="1032">
                  <c:v>1487.0565728220718</c:v>
                </c:pt>
                <c:pt idx="1033">
                  <c:v>1484.7058284611776</c:v>
                </c:pt>
                <c:pt idx="1034">
                  <c:v>1491.2300480583615</c:v>
                </c:pt>
                <c:pt idx="1035">
                  <c:v>1496.5153319920296</c:v>
                </c:pt>
                <c:pt idx="1036">
                  <c:v>1497.3129293791844</c:v>
                </c:pt>
                <c:pt idx="1037">
                  <c:v>1499.1896909534032</c:v>
                </c:pt>
                <c:pt idx="1038">
                  <c:v>1498.4910073928324</c:v>
                </c:pt>
                <c:pt idx="1039">
                  <c:v>1505.3068734059332</c:v>
                </c:pt>
                <c:pt idx="1040">
                  <c:v>1522.150344982892</c:v>
                </c:pt>
                <c:pt idx="1041">
                  <c:v>1508.5755028515227</c:v>
                </c:pt>
                <c:pt idx="1042">
                  <c:v>1494.1467574098388</c:v>
                </c:pt>
                <c:pt idx="1043">
                  <c:v>1484.9481203250821</c:v>
                </c:pt>
                <c:pt idx="1044">
                  <c:v>1490.4755890699435</c:v>
                </c:pt>
                <c:pt idx="1045">
                  <c:v>1481.6424051925453</c:v>
                </c:pt>
                <c:pt idx="1046">
                  <c:v>1498.2304838403995</c:v>
                </c:pt>
                <c:pt idx="1047">
                  <c:v>1483.6928460315621</c:v>
                </c:pt>
                <c:pt idx="1048">
                  <c:v>1483.753909048688</c:v>
                </c:pt>
                <c:pt idx="1049">
                  <c:v>1476.614307624644</c:v>
                </c:pt>
                <c:pt idx="1050">
                  <c:v>1485.2813124323643</c:v>
                </c:pt>
                <c:pt idx="1051">
                  <c:v>1494.4411043184898</c:v>
                </c:pt>
                <c:pt idx="1052">
                  <c:v>1493.7858372390151</c:v>
                </c:pt>
                <c:pt idx="1053">
                  <c:v>1502.1177346783081</c:v>
                </c:pt>
                <c:pt idx="1054">
                  <c:v>1483.8416623673902</c:v>
                </c:pt>
                <c:pt idx="1055">
                  <c:v>1482.294898890116</c:v>
                </c:pt>
                <c:pt idx="1056">
                  <c:v>1471.0457734170652</c:v>
                </c:pt>
                <c:pt idx="1057">
                  <c:v>1495.6114557566195</c:v>
                </c:pt>
                <c:pt idx="1058">
                  <c:v>1480.9037804952138</c:v>
                </c:pt>
                <c:pt idx="1059">
                  <c:v>1480.4244113647389</c:v>
                </c:pt>
                <c:pt idx="1060">
                  <c:v>1487.0473362691505</c:v>
                </c:pt>
                <c:pt idx="1061">
                  <c:v>1480.8395812283634</c:v>
                </c:pt>
                <c:pt idx="1062">
                  <c:v>1491.3815538639999</c:v>
                </c:pt>
                <c:pt idx="1063">
                  <c:v>1496.2908017907296</c:v>
                </c:pt>
                <c:pt idx="1064">
                  <c:v>1501.4926004537551</c:v>
                </c:pt>
                <c:pt idx="1065">
                  <c:v>1480.9544115204792</c:v>
                </c:pt>
                <c:pt idx="1066">
                  <c:v>1482.8835616882288</c:v>
                </c:pt>
                <c:pt idx="1067">
                  <c:v>1499.4715431393754</c:v>
                </c:pt>
                <c:pt idx="1068">
                  <c:v>1500.3117310757796</c:v>
                </c:pt>
                <c:pt idx="1069">
                  <c:v>1489.130531405754</c:v>
                </c:pt>
                <c:pt idx="1070">
                  <c:v>1486.9741220915039</c:v>
                </c:pt>
                <c:pt idx="1071">
                  <c:v>1483.6535733482399</c:v>
                </c:pt>
                <c:pt idx="1072">
                  <c:v>1509.8346537360196</c:v>
                </c:pt>
                <c:pt idx="1073">
                  <c:v>1502.4889088018501</c:v>
                </c:pt>
                <c:pt idx="1074">
                  <c:v>1492.8456822486696</c:v>
                </c:pt>
                <c:pt idx="1075">
                  <c:v>1492.4379451181399</c:v>
                </c:pt>
                <c:pt idx="1076">
                  <c:v>1497.6262222084899</c:v>
                </c:pt>
                <c:pt idx="1077">
                  <c:v>1482.036614409365</c:v>
                </c:pt>
                <c:pt idx="1078">
                  <c:v>1493.5538220085707</c:v>
                </c:pt>
                <c:pt idx="1079">
                  <c:v>1491.0590452209567</c:v>
                </c:pt>
                <c:pt idx="1080">
                  <c:v>1499.3142722774842</c:v>
                </c:pt>
                <c:pt idx="1081">
                  <c:v>1499.5693879993846</c:v>
                </c:pt>
                <c:pt idx="1082">
                  <c:v>1492.9557913254453</c:v>
                </c:pt>
                <c:pt idx="1083">
                  <c:v>1494.6807343644202</c:v>
                </c:pt>
                <c:pt idx="1084">
                  <c:v>1499.6292844439047</c:v>
                </c:pt>
                <c:pt idx="1085">
                  <c:v>1517.2324174710827</c:v>
                </c:pt>
                <c:pt idx="1086">
                  <c:v>1499.8766231793063</c:v>
                </c:pt>
                <c:pt idx="1087">
                  <c:v>1495.6972185656978</c:v>
                </c:pt>
                <c:pt idx="1088">
                  <c:v>1489.3810225152918</c:v>
                </c:pt>
                <c:pt idx="1089">
                  <c:v>1496.7667276435857</c:v>
                </c:pt>
                <c:pt idx="1090">
                  <c:v>1498.4852981173449</c:v>
                </c:pt>
                <c:pt idx="1091">
                  <c:v>1491.8512342377985</c:v>
                </c:pt>
                <c:pt idx="1092">
                  <c:v>1498.8913048812879</c:v>
                </c:pt>
                <c:pt idx="1093">
                  <c:v>1484.3915105832075</c:v>
                </c:pt>
                <c:pt idx="1094">
                  <c:v>1498.1055934062233</c:v>
                </c:pt>
                <c:pt idx="1095">
                  <c:v>1497.7084383624351</c:v>
                </c:pt>
              </c:numCache>
            </c:numRef>
          </c:xVal>
          <c:yVal>
            <c:numRef>
              <c:f>'Parameters ranges for ANN step1'!$AJ$3:$AJ$1137</c:f>
              <c:numCache>
                <c:formatCode>0</c:formatCode>
                <c:ptCount val="1135"/>
                <c:pt idx="0">
                  <c:v>337.27112550621126</c:v>
                </c:pt>
                <c:pt idx="1">
                  <c:v>333.4418600806178</c:v>
                </c:pt>
                <c:pt idx="2">
                  <c:v>318.33032846354649</c:v>
                </c:pt>
                <c:pt idx="3">
                  <c:v>315.22631688355369</c:v>
                </c:pt>
                <c:pt idx="4">
                  <c:v>316.78579005761446</c:v>
                </c:pt>
                <c:pt idx="5">
                  <c:v>323.54749737742918</c:v>
                </c:pt>
                <c:pt idx="6">
                  <c:v>353.34209513927198</c:v>
                </c:pt>
                <c:pt idx="7">
                  <c:v>323.61511199105757</c:v>
                </c:pt>
                <c:pt idx="8">
                  <c:v>320.22627222790391</c:v>
                </c:pt>
                <c:pt idx="9">
                  <c:v>318.67737385443758</c:v>
                </c:pt>
                <c:pt idx="10">
                  <c:v>314.41040471783202</c:v>
                </c:pt>
                <c:pt idx="11">
                  <c:v>315.77631771214749</c:v>
                </c:pt>
                <c:pt idx="12">
                  <c:v>325.22395307396999</c:v>
                </c:pt>
                <c:pt idx="13">
                  <c:v>349.16481830142487</c:v>
                </c:pt>
                <c:pt idx="14">
                  <c:v>326.68633965469473</c:v>
                </c:pt>
                <c:pt idx="15">
                  <c:v>313.46520313753177</c:v>
                </c:pt>
                <c:pt idx="16">
                  <c:v>310.931175431236</c:v>
                </c:pt>
                <c:pt idx="17">
                  <c:v>320.54243239691482</c:v>
                </c:pt>
                <c:pt idx="18">
                  <c:v>327.73110998308101</c:v>
                </c:pt>
                <c:pt idx="19">
                  <c:v>322.19262601025451</c:v>
                </c:pt>
                <c:pt idx="20">
                  <c:v>320.27299213302769</c:v>
                </c:pt>
                <c:pt idx="21">
                  <c:v>317.57939742664161</c:v>
                </c:pt>
                <c:pt idx="22">
                  <c:v>316.19461332211716</c:v>
                </c:pt>
                <c:pt idx="23">
                  <c:v>315.39532354709354</c:v>
                </c:pt>
                <c:pt idx="24">
                  <c:v>315.66248545074939</c:v>
                </c:pt>
                <c:pt idx="25">
                  <c:v>316.82270630319232</c:v>
                </c:pt>
                <c:pt idx="26">
                  <c:v>328.02113048645015</c:v>
                </c:pt>
                <c:pt idx="27">
                  <c:v>353.38815353065985</c:v>
                </c:pt>
                <c:pt idx="28">
                  <c:v>321.99861002954611</c:v>
                </c:pt>
                <c:pt idx="29">
                  <c:v>320.95747258053484</c:v>
                </c:pt>
                <c:pt idx="30">
                  <c:v>327.66673615498394</c:v>
                </c:pt>
                <c:pt idx="31">
                  <c:v>313.46570329571915</c:v>
                </c:pt>
                <c:pt idx="32">
                  <c:v>319.77386497872101</c:v>
                </c:pt>
                <c:pt idx="33">
                  <c:v>328.82618267854872</c:v>
                </c:pt>
                <c:pt idx="34">
                  <c:v>348.10495342262442</c:v>
                </c:pt>
                <c:pt idx="35">
                  <c:v>341.28146249310817</c:v>
                </c:pt>
                <c:pt idx="36">
                  <c:v>331.3983381867933</c:v>
                </c:pt>
                <c:pt idx="37">
                  <c:v>322.0289674859049</c:v>
                </c:pt>
                <c:pt idx="38">
                  <c:v>318.09428792925155</c:v>
                </c:pt>
                <c:pt idx="39">
                  <c:v>323.96783007459743</c:v>
                </c:pt>
                <c:pt idx="40">
                  <c:v>323.36990345280844</c:v>
                </c:pt>
                <c:pt idx="41">
                  <c:v>331.90886404149273</c:v>
                </c:pt>
                <c:pt idx="42">
                  <c:v>342.8987538193432</c:v>
                </c:pt>
                <c:pt idx="43">
                  <c:v>355.19064044996173</c:v>
                </c:pt>
                <c:pt idx="44">
                  <c:v>372.66348786370747</c:v>
                </c:pt>
                <c:pt idx="45">
                  <c:v>546.08602627672667</c:v>
                </c:pt>
                <c:pt idx="46">
                  <c:v>516.63801054933037</c:v>
                </c:pt>
                <c:pt idx="47">
                  <c:v>356.76346198362501</c:v>
                </c:pt>
                <c:pt idx="48">
                  <c:v>334.52306219826477</c:v>
                </c:pt>
                <c:pt idx="49">
                  <c:v>339.59597646070989</c:v>
                </c:pt>
                <c:pt idx="50">
                  <c:v>332.90284188019041</c:v>
                </c:pt>
                <c:pt idx="51">
                  <c:v>335.52875809093149</c:v>
                </c:pt>
                <c:pt idx="52">
                  <c:v>334.58874258599309</c:v>
                </c:pt>
                <c:pt idx="53">
                  <c:v>318.02931924876447</c:v>
                </c:pt>
                <c:pt idx="54">
                  <c:v>317.42375919289793</c:v>
                </c:pt>
                <c:pt idx="55">
                  <c:v>320.25120076963969</c:v>
                </c:pt>
                <c:pt idx="56">
                  <c:v>313.35240736514118</c:v>
                </c:pt>
                <c:pt idx="57">
                  <c:v>328.8608730893763</c:v>
                </c:pt>
                <c:pt idx="58">
                  <c:v>325.68842389334611</c:v>
                </c:pt>
                <c:pt idx="59">
                  <c:v>328.00983483047673</c:v>
                </c:pt>
                <c:pt idx="60">
                  <c:v>304.78893267734338</c:v>
                </c:pt>
                <c:pt idx="61">
                  <c:v>317.7817483222637</c:v>
                </c:pt>
                <c:pt idx="62">
                  <c:v>320.3107889527152</c:v>
                </c:pt>
                <c:pt idx="63">
                  <c:v>314.07674731811966</c:v>
                </c:pt>
                <c:pt idx="64">
                  <c:v>309.10775694536147</c:v>
                </c:pt>
                <c:pt idx="65">
                  <c:v>317.66522659276092</c:v>
                </c:pt>
                <c:pt idx="66">
                  <c:v>316.1875597670886</c:v>
                </c:pt>
                <c:pt idx="67">
                  <c:v>328.3129893324504</c:v>
                </c:pt>
                <c:pt idx="68">
                  <c:v>337.06732556173142</c:v>
                </c:pt>
                <c:pt idx="69">
                  <c:v>338.74328092915368</c:v>
                </c:pt>
                <c:pt idx="70">
                  <c:v>328.58394945045683</c:v>
                </c:pt>
                <c:pt idx="71">
                  <c:v>329.47769759536015</c:v>
                </c:pt>
                <c:pt idx="72">
                  <c:v>321.35877472493996</c:v>
                </c:pt>
                <c:pt idx="73">
                  <c:v>314.23922271927466</c:v>
                </c:pt>
                <c:pt idx="74">
                  <c:v>325.23343229685139</c:v>
                </c:pt>
                <c:pt idx="75">
                  <c:v>315.38908113759834</c:v>
                </c:pt>
                <c:pt idx="76">
                  <c:v>320.10153354299092</c:v>
                </c:pt>
                <c:pt idx="77">
                  <c:v>315.19110605743055</c:v>
                </c:pt>
                <c:pt idx="78">
                  <c:v>317.34545917843752</c:v>
                </c:pt>
                <c:pt idx="79">
                  <c:v>318.55722577993112</c:v>
                </c:pt>
                <c:pt idx="80">
                  <c:v>317.13878261026883</c:v>
                </c:pt>
                <c:pt idx="81">
                  <c:v>322.59032616974935</c:v>
                </c:pt>
                <c:pt idx="82">
                  <c:v>316.77833496965678</c:v>
                </c:pt>
                <c:pt idx="83">
                  <c:v>317.52101688661992</c:v>
                </c:pt>
                <c:pt idx="84">
                  <c:v>332.94922727766851</c:v>
                </c:pt>
                <c:pt idx="85">
                  <c:v>331.76081720662955</c:v>
                </c:pt>
                <c:pt idx="86">
                  <c:v>331.37686375835676</c:v>
                </c:pt>
                <c:pt idx="87">
                  <c:v>322.56372699770765</c:v>
                </c:pt>
                <c:pt idx="88">
                  <c:v>315.97751665886943</c:v>
                </c:pt>
                <c:pt idx="89">
                  <c:v>327.81043587752089</c:v>
                </c:pt>
                <c:pt idx="90">
                  <c:v>328.20352859494187</c:v>
                </c:pt>
                <c:pt idx="91">
                  <c:v>330.91213749063024</c:v>
                </c:pt>
                <c:pt idx="92">
                  <c:v>324.96286933642233</c:v>
                </c:pt>
                <c:pt idx="93">
                  <c:v>316.4492511485094</c:v>
                </c:pt>
                <c:pt idx="94">
                  <c:v>322.13989970149845</c:v>
                </c:pt>
                <c:pt idx="95">
                  <c:v>324.63999968729377</c:v>
                </c:pt>
                <c:pt idx="96">
                  <c:v>323.56756104121939</c:v>
                </c:pt>
                <c:pt idx="97">
                  <c:v>330.37511344686726</c:v>
                </c:pt>
                <c:pt idx="98">
                  <c:v>321.59066376974386</c:v>
                </c:pt>
                <c:pt idx="99">
                  <c:v>342.96035647907922</c:v>
                </c:pt>
                <c:pt idx="100">
                  <c:v>332.85770286775124</c:v>
                </c:pt>
                <c:pt idx="101">
                  <c:v>320.92686962257017</c:v>
                </c:pt>
                <c:pt idx="102">
                  <c:v>317.87330446406924</c:v>
                </c:pt>
                <c:pt idx="103">
                  <c:v>317.53691341847622</c:v>
                </c:pt>
                <c:pt idx="104">
                  <c:v>335.74172964614786</c:v>
                </c:pt>
                <c:pt idx="105">
                  <c:v>347.40424736394056</c:v>
                </c:pt>
                <c:pt idx="106">
                  <c:v>326.92576253978882</c:v>
                </c:pt>
                <c:pt idx="107">
                  <c:v>319.67763480683129</c:v>
                </c:pt>
                <c:pt idx="108">
                  <c:v>318.4522795191283</c:v>
                </c:pt>
                <c:pt idx="109">
                  <c:v>324.20814791651088</c:v>
                </c:pt>
                <c:pt idx="110">
                  <c:v>317.12668634149088</c:v>
                </c:pt>
                <c:pt idx="111">
                  <c:v>319.5940366518094</c:v>
                </c:pt>
                <c:pt idx="112">
                  <c:v>334.6641557711701</c:v>
                </c:pt>
                <c:pt idx="113">
                  <c:v>338.81177155634401</c:v>
                </c:pt>
                <c:pt idx="114">
                  <c:v>328.09703476176406</c:v>
                </c:pt>
                <c:pt idx="115">
                  <c:v>349.31556995306283</c:v>
                </c:pt>
                <c:pt idx="116">
                  <c:v>322.34680747192402</c:v>
                </c:pt>
                <c:pt idx="117">
                  <c:v>328.60453751817124</c:v>
                </c:pt>
                <c:pt idx="118">
                  <c:v>323.73016409554685</c:v>
                </c:pt>
                <c:pt idx="119">
                  <c:v>339.46984440387058</c:v>
                </c:pt>
                <c:pt idx="120">
                  <c:v>326.33912305378698</c:v>
                </c:pt>
                <c:pt idx="121">
                  <c:v>348.86499915909434</c:v>
                </c:pt>
                <c:pt idx="122">
                  <c:v>348.39781895527602</c:v>
                </c:pt>
                <c:pt idx="123">
                  <c:v>337.86706495280401</c:v>
                </c:pt>
                <c:pt idx="124">
                  <c:v>337.958118007471</c:v>
                </c:pt>
                <c:pt idx="125">
                  <c:v>336.60864381922198</c:v>
                </c:pt>
                <c:pt idx="126">
                  <c:v>321.54125846701697</c:v>
                </c:pt>
                <c:pt idx="127">
                  <c:v>320.91609050390599</c:v>
                </c:pt>
                <c:pt idx="128">
                  <c:v>332.400657410512</c:v>
                </c:pt>
                <c:pt idx="129">
                  <c:v>322.03233298226399</c:v>
                </c:pt>
                <c:pt idx="130">
                  <c:v>320.91599312265799</c:v>
                </c:pt>
                <c:pt idx="131">
                  <c:v>337.46054325825099</c:v>
                </c:pt>
                <c:pt idx="132">
                  <c:v>335.877824393026</c:v>
                </c:pt>
                <c:pt idx="133">
                  <c:v>337.13537847970002</c:v>
                </c:pt>
                <c:pt idx="134">
                  <c:v>339.90714011490502</c:v>
                </c:pt>
                <c:pt idx="135">
                  <c:v>335.04607123188299</c:v>
                </c:pt>
                <c:pt idx="136">
                  <c:v>319.25645078917699</c:v>
                </c:pt>
                <c:pt idx="137">
                  <c:v>326.22836976685602</c:v>
                </c:pt>
                <c:pt idx="138">
                  <c:v>329.26429957669802</c:v>
                </c:pt>
                <c:pt idx="139">
                  <c:v>330.12719044600198</c:v>
                </c:pt>
                <c:pt idx="140">
                  <c:v>346.84216887576599</c:v>
                </c:pt>
                <c:pt idx="141">
                  <c:v>384.53614505722902</c:v>
                </c:pt>
                <c:pt idx="142">
                  <c:v>446.15376707404101</c:v>
                </c:pt>
                <c:pt idx="143">
                  <c:v>446.11014213425</c:v>
                </c:pt>
                <c:pt idx="144">
                  <c:v>704.82408268098902</c:v>
                </c:pt>
                <c:pt idx="145">
                  <c:v>3293.1266070691199</c:v>
                </c:pt>
                <c:pt idx="149">
                  <c:v>708.14507490127403</c:v>
                </c:pt>
                <c:pt idx="150">
                  <c:v>498.06724427458897</c:v>
                </c:pt>
                <c:pt idx="151">
                  <c:v>331.44214338684901</c:v>
                </c:pt>
                <c:pt idx="152">
                  <c:v>318.03423848790698</c:v>
                </c:pt>
                <c:pt idx="153">
                  <c:v>321.99332374452899</c:v>
                </c:pt>
                <c:pt idx="154">
                  <c:v>318.39378363829297</c:v>
                </c:pt>
                <c:pt idx="155">
                  <c:v>321.828494457506</c:v>
                </c:pt>
                <c:pt idx="156">
                  <c:v>325.07987096546799</c:v>
                </c:pt>
                <c:pt idx="157">
                  <c:v>324.92450491337303</c:v>
                </c:pt>
                <c:pt idx="158">
                  <c:v>332.692183461144</c:v>
                </c:pt>
                <c:pt idx="159">
                  <c:v>341.48506096046799</c:v>
                </c:pt>
                <c:pt idx="160">
                  <c:v>346.40747457987698</c:v>
                </c:pt>
                <c:pt idx="161">
                  <c:v>351.716961654378</c:v>
                </c:pt>
                <c:pt idx="162">
                  <c:v>343.138916942187</c:v>
                </c:pt>
                <c:pt idx="163">
                  <c:v>329.027481750883</c:v>
                </c:pt>
                <c:pt idx="164">
                  <c:v>315.79717960949398</c:v>
                </c:pt>
                <c:pt idx="165">
                  <c:v>313.53801291549598</c:v>
                </c:pt>
                <c:pt idx="166">
                  <c:v>320.57928784755899</c:v>
                </c:pt>
                <c:pt idx="167">
                  <c:v>318.27340910342099</c:v>
                </c:pt>
                <c:pt idx="168">
                  <c:v>315.93099899675502</c:v>
                </c:pt>
                <c:pt idx="169">
                  <c:v>316.126106904577</c:v>
                </c:pt>
                <c:pt idx="170">
                  <c:v>333.66137321074098</c:v>
                </c:pt>
                <c:pt idx="171">
                  <c:v>343.89173395315601</c:v>
                </c:pt>
                <c:pt idx="172">
                  <c:v>335.251639418173</c:v>
                </c:pt>
                <c:pt idx="173">
                  <c:v>349.60284137400498</c:v>
                </c:pt>
                <c:pt idx="174">
                  <c:v>335.05782792334702</c:v>
                </c:pt>
                <c:pt idx="175">
                  <c:v>348.73092681785101</c:v>
                </c:pt>
                <c:pt idx="176">
                  <c:v>357.41869199520301</c:v>
                </c:pt>
                <c:pt idx="177">
                  <c:v>356.70455521114798</c:v>
                </c:pt>
                <c:pt idx="178">
                  <c:v>334.91379945071202</c:v>
                </c:pt>
                <c:pt idx="179">
                  <c:v>337.49776383022697</c:v>
                </c:pt>
                <c:pt idx="180">
                  <c:v>329.22209276391999</c:v>
                </c:pt>
                <c:pt idx="181">
                  <c:v>321.16982463370903</c:v>
                </c:pt>
                <c:pt idx="182">
                  <c:v>325.42861399433701</c:v>
                </c:pt>
                <c:pt idx="183">
                  <c:v>336.95154947493199</c:v>
                </c:pt>
                <c:pt idx="184">
                  <c:v>335.703949159731</c:v>
                </c:pt>
                <c:pt idx="185">
                  <c:v>338.37267516611098</c:v>
                </c:pt>
                <c:pt idx="186">
                  <c:v>328.034581262492</c:v>
                </c:pt>
                <c:pt idx="187">
                  <c:v>329.89306885563002</c:v>
                </c:pt>
                <c:pt idx="188">
                  <c:v>337.70122332737498</c:v>
                </c:pt>
                <c:pt idx="189">
                  <c:v>333.16899669389102</c:v>
                </c:pt>
                <c:pt idx="190">
                  <c:v>333.36474987773198</c:v>
                </c:pt>
                <c:pt idx="191">
                  <c:v>340.70121911886702</c:v>
                </c:pt>
                <c:pt idx="192">
                  <c:v>329.231951967192</c:v>
                </c:pt>
                <c:pt idx="193">
                  <c:v>324.24207490236699</c:v>
                </c:pt>
                <c:pt idx="194">
                  <c:v>331.88997534704902</c:v>
                </c:pt>
                <c:pt idx="195">
                  <c:v>332.34497831344203</c:v>
                </c:pt>
                <c:pt idx="196">
                  <c:v>324.91529755712997</c:v>
                </c:pt>
                <c:pt idx="197">
                  <c:v>323.60045943232899</c:v>
                </c:pt>
                <c:pt idx="198">
                  <c:v>324.24771282471698</c:v>
                </c:pt>
                <c:pt idx="199">
                  <c:v>319.949548372935</c:v>
                </c:pt>
                <c:pt idx="200">
                  <c:v>326.38139102534598</c:v>
                </c:pt>
                <c:pt idx="201">
                  <c:v>326.51470879001897</c:v>
                </c:pt>
                <c:pt idx="202">
                  <c:v>336.20557080225399</c:v>
                </c:pt>
                <c:pt idx="203">
                  <c:v>340.98608478616097</c:v>
                </c:pt>
                <c:pt idx="204">
                  <c:v>332.48778760359397</c:v>
                </c:pt>
                <c:pt idx="205">
                  <c:v>333.54014677810602</c:v>
                </c:pt>
                <c:pt idx="206">
                  <c:v>337.307221129244</c:v>
                </c:pt>
                <c:pt idx="207">
                  <c:v>328.66169346371203</c:v>
                </c:pt>
                <c:pt idx="208">
                  <c:v>317.73683270190298</c:v>
                </c:pt>
                <c:pt idx="209">
                  <c:v>320.54113931269802</c:v>
                </c:pt>
                <c:pt idx="210">
                  <c:v>317.823408069484</c:v>
                </c:pt>
                <c:pt idx="211">
                  <c:v>327.29783601145698</c:v>
                </c:pt>
                <c:pt idx="212">
                  <c:v>327.11108193535898</c:v>
                </c:pt>
                <c:pt idx="213">
                  <c:v>328.41100293690698</c:v>
                </c:pt>
                <c:pt idx="214">
                  <c:v>351.47194048062602</c:v>
                </c:pt>
                <c:pt idx="215">
                  <c:v>332.255452261541</c:v>
                </c:pt>
                <c:pt idx="216">
                  <c:v>319.67416747040897</c:v>
                </c:pt>
                <c:pt idx="217">
                  <c:v>339.39163349474001</c:v>
                </c:pt>
                <c:pt idx="218">
                  <c:v>327.29307991113097</c:v>
                </c:pt>
                <c:pt idx="219">
                  <c:v>357.173656061884</c:v>
                </c:pt>
                <c:pt idx="220">
                  <c:v>312.42925506017798</c:v>
                </c:pt>
                <c:pt idx="221">
                  <c:v>318.19970673388701</c:v>
                </c:pt>
                <c:pt idx="222">
                  <c:v>323.57573683888899</c:v>
                </c:pt>
                <c:pt idx="223">
                  <c:v>315.55895851083602</c:v>
                </c:pt>
                <c:pt idx="224">
                  <c:v>312.59211560282603</c:v>
                </c:pt>
                <c:pt idx="225">
                  <c:v>313.57025081604701</c:v>
                </c:pt>
                <c:pt idx="226">
                  <c:v>329.271733309799</c:v>
                </c:pt>
                <c:pt idx="227">
                  <c:v>314.660086566058</c:v>
                </c:pt>
                <c:pt idx="228">
                  <c:v>322.15122091793302</c:v>
                </c:pt>
                <c:pt idx="229">
                  <c:v>327.900156990592</c:v>
                </c:pt>
                <c:pt idx="230">
                  <c:v>328.97788809758401</c:v>
                </c:pt>
                <c:pt idx="231">
                  <c:v>328.44427806480002</c:v>
                </c:pt>
                <c:pt idx="232">
                  <c:v>346.869065644903</c:v>
                </c:pt>
                <c:pt idx="233">
                  <c:v>331.85880609668902</c:v>
                </c:pt>
                <c:pt idx="234">
                  <c:v>321.76254188779097</c:v>
                </c:pt>
                <c:pt idx="235">
                  <c:v>354.22415309327499</c:v>
                </c:pt>
                <c:pt idx="236">
                  <c:v>342.54850082921701</c:v>
                </c:pt>
                <c:pt idx="237">
                  <c:v>330.08522026962299</c:v>
                </c:pt>
                <c:pt idx="238">
                  <c:v>325.74425234078802</c:v>
                </c:pt>
                <c:pt idx="239">
                  <c:v>338.60152162625798</c:v>
                </c:pt>
                <c:pt idx="240">
                  <c:v>369.86289738117603</c:v>
                </c:pt>
                <c:pt idx="241">
                  <c:v>374.497493299572</c:v>
                </c:pt>
                <c:pt idx="242">
                  <c:v>362.04070426256698</c:v>
                </c:pt>
                <c:pt idx="243">
                  <c:v>362.776355234373</c:v>
                </c:pt>
                <c:pt idx="244">
                  <c:v>365.10704820643099</c:v>
                </c:pt>
                <c:pt idx="245">
                  <c:v>421.56297591179498</c:v>
                </c:pt>
                <c:pt idx="246">
                  <c:v>419.37320932385302</c:v>
                </c:pt>
                <c:pt idx="247">
                  <c:v>435.05910903021902</c:v>
                </c:pt>
                <c:pt idx="248">
                  <c:v>391.14175188551002</c:v>
                </c:pt>
                <c:pt idx="249">
                  <c:v>385.95309696167197</c:v>
                </c:pt>
                <c:pt idx="250">
                  <c:v>385.03601752360697</c:v>
                </c:pt>
                <c:pt idx="251">
                  <c:v>375.25896736175099</c:v>
                </c:pt>
                <c:pt idx="252">
                  <c:v>360.390360058738</c:v>
                </c:pt>
                <c:pt idx="253">
                  <c:v>364.68058703493898</c:v>
                </c:pt>
                <c:pt idx="254">
                  <c:v>349.28731702461903</c:v>
                </c:pt>
                <c:pt idx="255">
                  <c:v>359.32329715198699</c:v>
                </c:pt>
                <c:pt idx="256">
                  <c:v>321.38215214328198</c:v>
                </c:pt>
                <c:pt idx="257">
                  <c:v>314.81158570599098</c:v>
                </c:pt>
                <c:pt idx="258">
                  <c:v>351.80198103419201</c:v>
                </c:pt>
                <c:pt idx="259">
                  <c:v>473.16824585154802</c:v>
                </c:pt>
                <c:pt idx="260">
                  <c:v>484.49553178660898</c:v>
                </c:pt>
                <c:pt idx="261">
                  <c:v>376.65248520298098</c:v>
                </c:pt>
                <c:pt idx="262">
                  <c:v>354.30427381673701</c:v>
                </c:pt>
                <c:pt idx="263">
                  <c:v>360.58366318272601</c:v>
                </c:pt>
                <c:pt idx="264">
                  <c:v>341.84967443437898</c:v>
                </c:pt>
                <c:pt idx="265">
                  <c:v>346.65324472884498</c:v>
                </c:pt>
                <c:pt idx="266">
                  <c:v>347.22410243016998</c:v>
                </c:pt>
                <c:pt idx="267">
                  <c:v>385.28038821798901</c:v>
                </c:pt>
                <c:pt idx="268">
                  <c:v>327.26837850249598</c:v>
                </c:pt>
                <c:pt idx="269">
                  <c:v>328.885671250727</c:v>
                </c:pt>
                <c:pt idx="270">
                  <c:v>334.22840372546398</c:v>
                </c:pt>
                <c:pt idx="271">
                  <c:v>324.658398051897</c:v>
                </c:pt>
                <c:pt idx="272">
                  <c:v>317.43220788304399</c:v>
                </c:pt>
                <c:pt idx="273">
                  <c:v>320.21220681803902</c:v>
                </c:pt>
                <c:pt idx="274">
                  <c:v>335.50704274888699</c:v>
                </c:pt>
                <c:pt idx="275">
                  <c:v>341.53458589864402</c:v>
                </c:pt>
                <c:pt idx="276">
                  <c:v>337.74301452657602</c:v>
                </c:pt>
                <c:pt idx="277">
                  <c:v>345.53801571205298</c:v>
                </c:pt>
                <c:pt idx="278">
                  <c:v>358.21143427333698</c:v>
                </c:pt>
                <c:pt idx="279">
                  <c:v>324.68931511901201</c:v>
                </c:pt>
                <c:pt idx="280">
                  <c:v>317.01088397875299</c:v>
                </c:pt>
                <c:pt idx="281">
                  <c:v>317.90009549649602</c:v>
                </c:pt>
                <c:pt idx="282">
                  <c:v>317.70528507248702</c:v>
                </c:pt>
                <c:pt idx="283">
                  <c:v>321.47640219375899</c:v>
                </c:pt>
                <c:pt idx="284">
                  <c:v>322.673169757138</c:v>
                </c:pt>
                <c:pt idx="285">
                  <c:v>336.18058415013002</c:v>
                </c:pt>
                <c:pt idx="286">
                  <c:v>328.86997345739798</c:v>
                </c:pt>
                <c:pt idx="287">
                  <c:v>334.47375569696999</c:v>
                </c:pt>
                <c:pt idx="288">
                  <c:v>340.48495338311398</c:v>
                </c:pt>
                <c:pt idx="289">
                  <c:v>340.83167703528198</c:v>
                </c:pt>
                <c:pt idx="290">
                  <c:v>337.02123351233098</c:v>
                </c:pt>
                <c:pt idx="291">
                  <c:v>361.15725083602302</c:v>
                </c:pt>
                <c:pt idx="292">
                  <c:v>353.01856221929597</c:v>
                </c:pt>
                <c:pt idx="293">
                  <c:v>355.27677014739697</c:v>
                </c:pt>
                <c:pt idx="294">
                  <c:v>350.420980002492</c:v>
                </c:pt>
                <c:pt idx="295">
                  <c:v>340.49514659784103</c:v>
                </c:pt>
                <c:pt idx="296">
                  <c:v>339.93567129670799</c:v>
                </c:pt>
                <c:pt idx="297">
                  <c:v>341.97971700350098</c:v>
                </c:pt>
                <c:pt idx="298">
                  <c:v>342.58145664481799</c:v>
                </c:pt>
                <c:pt idx="299">
                  <c:v>347.35259082223803</c:v>
                </c:pt>
                <c:pt idx="300">
                  <c:v>361.918562393456</c:v>
                </c:pt>
                <c:pt idx="301">
                  <c:v>342.70521804544501</c:v>
                </c:pt>
                <c:pt idx="302">
                  <c:v>331.66087387766902</c:v>
                </c:pt>
                <c:pt idx="303">
                  <c:v>325.86408976503202</c:v>
                </c:pt>
                <c:pt idx="304">
                  <c:v>328.57010897289098</c:v>
                </c:pt>
                <c:pt idx="305">
                  <c:v>324.86750731467401</c:v>
                </c:pt>
                <c:pt idx="306">
                  <c:v>328.08526645453298</c:v>
                </c:pt>
                <c:pt idx="307">
                  <c:v>332.87210709591301</c:v>
                </c:pt>
                <c:pt idx="308">
                  <c:v>332.012633751588</c:v>
                </c:pt>
                <c:pt idx="309">
                  <c:v>334.82969444966801</c:v>
                </c:pt>
                <c:pt idx="310">
                  <c:v>335.546238908173</c:v>
                </c:pt>
                <c:pt idx="311">
                  <c:v>332.98296195125403</c:v>
                </c:pt>
                <c:pt idx="312">
                  <c:v>344.04651090596298</c:v>
                </c:pt>
                <c:pt idx="313">
                  <c:v>329.388602030144</c:v>
                </c:pt>
                <c:pt idx="314">
                  <c:v>337.17659387225598</c:v>
                </c:pt>
                <c:pt idx="315">
                  <c:v>331.795088363388</c:v>
                </c:pt>
                <c:pt idx="316">
                  <c:v>343.13559684434603</c:v>
                </c:pt>
                <c:pt idx="317">
                  <c:v>344.84055906061002</c:v>
                </c:pt>
                <c:pt idx="318">
                  <c:v>332.725517460226</c:v>
                </c:pt>
                <c:pt idx="319">
                  <c:v>333.79969762498303</c:v>
                </c:pt>
                <c:pt idx="320">
                  <c:v>334.74874716629</c:v>
                </c:pt>
                <c:pt idx="321">
                  <c:v>330.53138490746397</c:v>
                </c:pt>
                <c:pt idx="322">
                  <c:v>329.43521792551002</c:v>
                </c:pt>
                <c:pt idx="323">
                  <c:v>332.42849724113501</c:v>
                </c:pt>
                <c:pt idx="324">
                  <c:v>327.65494030386901</c:v>
                </c:pt>
                <c:pt idx="325">
                  <c:v>324.65166727802699</c:v>
                </c:pt>
                <c:pt idx="326">
                  <c:v>325.73083876390899</c:v>
                </c:pt>
                <c:pt idx="327">
                  <c:v>322.92567261338797</c:v>
                </c:pt>
                <c:pt idx="328">
                  <c:v>331.91009406032401</c:v>
                </c:pt>
                <c:pt idx="329">
                  <c:v>324.22058628898299</c:v>
                </c:pt>
                <c:pt idx="330">
                  <c:v>328.36557159622402</c:v>
                </c:pt>
                <c:pt idx="331">
                  <c:v>330.73390179320398</c:v>
                </c:pt>
                <c:pt idx="332">
                  <c:v>329.360965678821</c:v>
                </c:pt>
                <c:pt idx="333">
                  <c:v>328.80616050644898</c:v>
                </c:pt>
                <c:pt idx="334">
                  <c:v>370.56420620134401</c:v>
                </c:pt>
                <c:pt idx="335">
                  <c:v>392.06318297830097</c:v>
                </c:pt>
                <c:pt idx="336">
                  <c:v>343.77895889730001</c:v>
                </c:pt>
                <c:pt idx="337">
                  <c:v>323.86594739011002</c:v>
                </c:pt>
                <c:pt idx="338">
                  <c:v>324.14238597005601</c:v>
                </c:pt>
                <c:pt idx="339">
                  <c:v>314.66100333437601</c:v>
                </c:pt>
                <c:pt idx="340">
                  <c:v>318.36797730439002</c:v>
                </c:pt>
                <c:pt idx="341">
                  <c:v>314.09166120833203</c:v>
                </c:pt>
                <c:pt idx="342">
                  <c:v>320.98558545593897</c:v>
                </c:pt>
                <c:pt idx="343">
                  <c:v>313.27097421622602</c:v>
                </c:pt>
                <c:pt idx="344">
                  <c:v>316.42921438829802</c:v>
                </c:pt>
                <c:pt idx="345">
                  <c:v>314.18796872459001</c:v>
                </c:pt>
                <c:pt idx="346">
                  <c:v>319.85185040030302</c:v>
                </c:pt>
                <c:pt idx="347">
                  <c:v>316.59818072137801</c:v>
                </c:pt>
                <c:pt idx="348">
                  <c:v>317.29989627865098</c:v>
                </c:pt>
                <c:pt idx="349">
                  <c:v>309.48927905004501</c:v>
                </c:pt>
                <c:pt idx="350">
                  <c:v>311.59253429405902</c:v>
                </c:pt>
                <c:pt idx="351">
                  <c:v>309.14621767931902</c:v>
                </c:pt>
                <c:pt idx="352">
                  <c:v>321.25102761135298</c:v>
                </c:pt>
                <c:pt idx="353">
                  <c:v>321.985508843199</c:v>
                </c:pt>
                <c:pt idx="354">
                  <c:v>329.502785342815</c:v>
                </c:pt>
                <c:pt idx="355">
                  <c:v>331.31788895995402</c:v>
                </c:pt>
                <c:pt idx="356">
                  <c:v>333.12707547053299</c:v>
                </c:pt>
                <c:pt idx="357">
                  <c:v>321.58453554188799</c:v>
                </c:pt>
                <c:pt idx="358">
                  <c:v>329.22363998009598</c:v>
                </c:pt>
                <c:pt idx="359">
                  <c:v>309.789545817229</c:v>
                </c:pt>
                <c:pt idx="360">
                  <c:v>307.766549249305</c:v>
                </c:pt>
                <c:pt idx="361">
                  <c:v>312.86993229880699</c:v>
                </c:pt>
                <c:pt idx="362">
                  <c:v>320.54438057375</c:v>
                </c:pt>
                <c:pt idx="363">
                  <c:v>355.519213796386</c:v>
                </c:pt>
                <c:pt idx="364">
                  <c:v>465.16101269416299</c:v>
                </c:pt>
                <c:pt idx="365">
                  <c:v>533.24363355546802</c:v>
                </c:pt>
                <c:pt idx="366" formatCode="General">
                  <c:v>330.375167010106</c:v>
                </c:pt>
                <c:pt idx="367">
                  <c:v>312.12293915515102</c:v>
                </c:pt>
                <c:pt idx="368">
                  <c:v>311.77425833035898</c:v>
                </c:pt>
                <c:pt idx="369">
                  <c:v>313.38922576524197</c:v>
                </c:pt>
                <c:pt idx="370">
                  <c:v>309.30152296678898</c:v>
                </c:pt>
                <c:pt idx="371">
                  <c:v>309.76617173502399</c:v>
                </c:pt>
                <c:pt idx="372">
                  <c:v>305.39754209453599</c:v>
                </c:pt>
                <c:pt idx="373">
                  <c:v>303.3333564619</c:v>
                </c:pt>
                <c:pt idx="374">
                  <c:v>314.48821636225603</c:v>
                </c:pt>
                <c:pt idx="375">
                  <c:v>320.84238909055398</c:v>
                </c:pt>
                <c:pt idx="376">
                  <c:v>322.30862614208002</c:v>
                </c:pt>
                <c:pt idx="377">
                  <c:v>321.41469150469499</c:v>
                </c:pt>
                <c:pt idx="378">
                  <c:v>315.470382703729</c:v>
                </c:pt>
                <c:pt idx="379">
                  <c:v>310.58505829028297</c:v>
                </c:pt>
                <c:pt idx="380">
                  <c:v>305.72570460892302</c:v>
                </c:pt>
                <c:pt idx="381">
                  <c:v>303.79866535164899</c:v>
                </c:pt>
                <c:pt idx="382">
                  <c:v>307.42341138584101</c:v>
                </c:pt>
                <c:pt idx="383">
                  <c:v>314.29419259734198</c:v>
                </c:pt>
                <c:pt idx="384">
                  <c:v>312.53734126576001</c:v>
                </c:pt>
                <c:pt idx="385">
                  <c:v>308.88654672383097</c:v>
                </c:pt>
                <c:pt idx="386">
                  <c:v>306.51462836650097</c:v>
                </c:pt>
                <c:pt idx="387">
                  <c:v>308.88785072073102</c:v>
                </c:pt>
                <c:pt idx="388">
                  <c:v>308.80348368686799</c:v>
                </c:pt>
                <c:pt idx="389">
                  <c:v>311.46844598658402</c:v>
                </c:pt>
                <c:pt idx="390">
                  <c:v>309.50552063365598</c:v>
                </c:pt>
                <c:pt idx="391">
                  <c:v>308.77102470267198</c:v>
                </c:pt>
                <c:pt idx="392">
                  <c:v>311.66568302251301</c:v>
                </c:pt>
                <c:pt idx="393">
                  <c:v>308.663110531016</c:v>
                </c:pt>
                <c:pt idx="394">
                  <c:v>309.26230974543802</c:v>
                </c:pt>
                <c:pt idx="395">
                  <c:v>312.724671836006</c:v>
                </c:pt>
                <c:pt idx="396">
                  <c:v>311.96853745040198</c:v>
                </c:pt>
                <c:pt idx="397">
                  <c:v>310.91084416688898</c:v>
                </c:pt>
                <c:pt idx="398">
                  <c:v>317.77694599901901</c:v>
                </c:pt>
                <c:pt idx="399">
                  <c:v>322.00463682439403</c:v>
                </c:pt>
                <c:pt idx="400">
                  <c:v>317.85032222240602</c:v>
                </c:pt>
                <c:pt idx="401">
                  <c:v>316.33097705076102</c:v>
                </c:pt>
                <c:pt idx="402">
                  <c:v>327.979333980663</c:v>
                </c:pt>
                <c:pt idx="403">
                  <c:v>337.13218234211899</c:v>
                </c:pt>
                <c:pt idx="404">
                  <c:v>330.13564432251297</c:v>
                </c:pt>
                <c:pt idx="405">
                  <c:v>330.56942492481102</c:v>
                </c:pt>
                <c:pt idx="406">
                  <c:v>318.54087917292298</c:v>
                </c:pt>
                <c:pt idx="407">
                  <c:v>314.59494573464701</c:v>
                </c:pt>
                <c:pt idx="408">
                  <c:v>316.822994076611</c:v>
                </c:pt>
                <c:pt idx="409">
                  <c:v>314.81545164542899</c:v>
                </c:pt>
                <c:pt idx="410">
                  <c:v>324.06896613620802</c:v>
                </c:pt>
                <c:pt idx="411">
                  <c:v>319.286351808674</c:v>
                </c:pt>
                <c:pt idx="412">
                  <c:v>321.84502267196802</c:v>
                </c:pt>
                <c:pt idx="413">
                  <c:v>320.81214190969098</c:v>
                </c:pt>
                <c:pt idx="414">
                  <c:v>325.15683588419802</c:v>
                </c:pt>
                <c:pt idx="415">
                  <c:v>333.95584463637402</c:v>
                </c:pt>
                <c:pt idx="416">
                  <c:v>345.528500432952</c:v>
                </c:pt>
                <c:pt idx="417">
                  <c:v>333.03499716509901</c:v>
                </c:pt>
                <c:pt idx="418">
                  <c:v>321.96790563913902</c:v>
                </c:pt>
                <c:pt idx="419">
                  <c:v>324.50282529675701</c:v>
                </c:pt>
                <c:pt idx="420">
                  <c:v>325.10407443407701</c:v>
                </c:pt>
                <c:pt idx="421">
                  <c:v>322.411951464254</c:v>
                </c:pt>
                <c:pt idx="422">
                  <c:v>325.20849485605402</c:v>
                </c:pt>
                <c:pt idx="423">
                  <c:v>317.93445988145299</c:v>
                </c:pt>
                <c:pt idx="424">
                  <c:v>331.58983751602602</c:v>
                </c:pt>
                <c:pt idx="425">
                  <c:v>339.07033157162999</c:v>
                </c:pt>
                <c:pt idx="426">
                  <c:v>320.70656735021498</c:v>
                </c:pt>
                <c:pt idx="427">
                  <c:v>311.52488020629801</c:v>
                </c:pt>
                <c:pt idx="428">
                  <c:v>308.71757684724997</c:v>
                </c:pt>
                <c:pt idx="429">
                  <c:v>311.68695832255099</c:v>
                </c:pt>
                <c:pt idx="430">
                  <c:v>309.67691402023098</c:v>
                </c:pt>
                <c:pt idx="431">
                  <c:v>315.04526589279999</c:v>
                </c:pt>
                <c:pt idx="432">
                  <c:v>309.22839313922702</c:v>
                </c:pt>
                <c:pt idx="433">
                  <c:v>312.11938852309402</c:v>
                </c:pt>
                <c:pt idx="434">
                  <c:v>317.30182830055702</c:v>
                </c:pt>
                <c:pt idx="435">
                  <c:v>318.04956739085998</c:v>
                </c:pt>
                <c:pt idx="436">
                  <c:v>315.00720454937402</c:v>
                </c:pt>
                <c:pt idx="437">
                  <c:v>320.206047426515</c:v>
                </c:pt>
                <c:pt idx="438">
                  <c:v>322.83732499568498</c:v>
                </c:pt>
                <c:pt idx="439">
                  <c:v>318.08225789154102</c:v>
                </c:pt>
                <c:pt idx="440">
                  <c:v>323.71480231868799</c:v>
                </c:pt>
                <c:pt idx="441">
                  <c:v>324.71593334061799</c:v>
                </c:pt>
                <c:pt idx="442">
                  <c:v>321.25746310115397</c:v>
                </c:pt>
                <c:pt idx="443">
                  <c:v>313.70040753977702</c:v>
                </c:pt>
                <c:pt idx="444">
                  <c:v>312.97541013648703</c:v>
                </c:pt>
                <c:pt idx="445">
                  <c:v>312.74388728898703</c:v>
                </c:pt>
                <c:pt idx="446">
                  <c:v>314.37725198081398</c:v>
                </c:pt>
                <c:pt idx="447">
                  <c:v>323.59452989799701</c:v>
                </c:pt>
                <c:pt idx="448">
                  <c:v>328.82665242146601</c:v>
                </c:pt>
                <c:pt idx="449">
                  <c:v>328.14576496487001</c:v>
                </c:pt>
                <c:pt idx="450">
                  <c:v>315.90564483128901</c:v>
                </c:pt>
                <c:pt idx="451">
                  <c:v>314.02586578078899</c:v>
                </c:pt>
                <c:pt idx="452">
                  <c:v>309.71922941415397</c:v>
                </c:pt>
                <c:pt idx="453">
                  <c:v>315.549661884187</c:v>
                </c:pt>
                <c:pt idx="454">
                  <c:v>309.45902864463898</c:v>
                </c:pt>
                <c:pt idx="455">
                  <c:v>301.883458266861</c:v>
                </c:pt>
                <c:pt idx="456">
                  <c:v>306.46632943287102</c:v>
                </c:pt>
                <c:pt idx="457">
                  <c:v>314.48239256563397</c:v>
                </c:pt>
                <c:pt idx="458">
                  <c:v>311.48692196015702</c:v>
                </c:pt>
                <c:pt idx="459">
                  <c:v>307.04196447501602</c:v>
                </c:pt>
                <c:pt idx="460">
                  <c:v>306.96544039396298</c:v>
                </c:pt>
                <c:pt idx="461">
                  <c:v>304.15757241272001</c:v>
                </c:pt>
                <c:pt idx="462">
                  <c:v>258.95672483594097</c:v>
                </c:pt>
                <c:pt idx="463">
                  <c:v>260.23618212396502</c:v>
                </c:pt>
                <c:pt idx="464">
                  <c:v>310.454165951449</c:v>
                </c:pt>
                <c:pt idx="465">
                  <c:v>311.52208531027202</c:v>
                </c:pt>
                <c:pt idx="466">
                  <c:v>322.19591128932899</c:v>
                </c:pt>
                <c:pt idx="467">
                  <c:v>412.82721945799</c:v>
                </c:pt>
                <c:pt idx="468">
                  <c:v>609.38380791153497</c:v>
                </c:pt>
                <c:pt idx="469">
                  <c:v>347.82884289336999</c:v>
                </c:pt>
                <c:pt idx="470">
                  <c:v>322.55399455995098</c:v>
                </c:pt>
                <c:pt idx="471">
                  <c:v>314.02638419411699</c:v>
                </c:pt>
                <c:pt idx="472">
                  <c:v>323.13855714682501</c:v>
                </c:pt>
                <c:pt idx="473">
                  <c:v>321.57193976994199</c:v>
                </c:pt>
                <c:pt idx="474">
                  <c:v>317.44525408083399</c:v>
                </c:pt>
                <c:pt idx="475">
                  <c:v>320.07864439264699</c:v>
                </c:pt>
                <c:pt idx="476">
                  <c:v>322.490968303241</c:v>
                </c:pt>
                <c:pt idx="477">
                  <c:v>319.81295295520999</c:v>
                </c:pt>
                <c:pt idx="478">
                  <c:v>315.23494432243098</c:v>
                </c:pt>
                <c:pt idx="479">
                  <c:v>321.25759005068699</c:v>
                </c:pt>
                <c:pt idx="480">
                  <c:v>326.77981247816001</c:v>
                </c:pt>
                <c:pt idx="481">
                  <c:v>330.96790419604002</c:v>
                </c:pt>
                <c:pt idx="482">
                  <c:v>334.91219538109902</c:v>
                </c:pt>
                <c:pt idx="483">
                  <c:v>333.83147268136599</c:v>
                </c:pt>
                <c:pt idx="484">
                  <c:v>328.69732051566098</c:v>
                </c:pt>
                <c:pt idx="485">
                  <c:v>327.07382815972198</c:v>
                </c:pt>
                <c:pt idx="486">
                  <c:v>319.35174335495299</c:v>
                </c:pt>
                <c:pt idx="487">
                  <c:v>328.96421352403399</c:v>
                </c:pt>
                <c:pt idx="488">
                  <c:v>331.35411941580998</c:v>
                </c:pt>
                <c:pt idx="489">
                  <c:v>334.63034047593101</c:v>
                </c:pt>
                <c:pt idx="490">
                  <c:v>328.80217832232302</c:v>
                </c:pt>
                <c:pt idx="491">
                  <c:v>327.14482018236902</c:v>
                </c:pt>
                <c:pt idx="492">
                  <c:v>358.235174199673</c:v>
                </c:pt>
                <c:pt idx="493">
                  <c:v>445.16102763590999</c:v>
                </c:pt>
                <c:pt idx="494">
                  <c:v>476.22086262803998</c:v>
                </c:pt>
                <c:pt idx="495">
                  <c:v>611.17801224815105</c:v>
                </c:pt>
                <c:pt idx="496">
                  <c:v>532.20559043887795</c:v>
                </c:pt>
                <c:pt idx="498">
                  <c:v>539.70220978651901</c:v>
                </c:pt>
                <c:pt idx="499">
                  <c:v>315.49397526620697</c:v>
                </c:pt>
                <c:pt idx="500">
                  <c:v>312.07996479633601</c:v>
                </c:pt>
                <c:pt idx="501">
                  <c:v>319.97306717480399</c:v>
                </c:pt>
                <c:pt idx="502">
                  <c:v>321.439479877633</c:v>
                </c:pt>
                <c:pt idx="503">
                  <c:v>324.17536956196301</c:v>
                </c:pt>
                <c:pt idx="504">
                  <c:v>330.90906156137299</c:v>
                </c:pt>
                <c:pt idx="505">
                  <c:v>323.59973608442698</c:v>
                </c:pt>
                <c:pt idx="506">
                  <c:v>400.52931078400701</c:v>
                </c:pt>
                <c:pt idx="507">
                  <c:v>328.79389443008603</c:v>
                </c:pt>
                <c:pt idx="508">
                  <c:v>326.99348832417002</c:v>
                </c:pt>
                <c:pt idx="509">
                  <c:v>317.78521970650098</c:v>
                </c:pt>
                <c:pt idx="510">
                  <c:v>317.50748363236698</c:v>
                </c:pt>
                <c:pt idx="511">
                  <c:v>318.457762005706</c:v>
                </c:pt>
                <c:pt idx="512">
                  <c:v>319.10751635077202</c:v>
                </c:pt>
                <c:pt idx="513">
                  <c:v>309.61478917023197</c:v>
                </c:pt>
                <c:pt idx="514">
                  <c:v>314.53338394560802</c:v>
                </c:pt>
                <c:pt idx="515">
                  <c:v>313.40814298382901</c:v>
                </c:pt>
                <c:pt idx="516">
                  <c:v>312.56085619723501</c:v>
                </c:pt>
                <c:pt idx="517">
                  <c:v>328.49503449581499</c:v>
                </c:pt>
                <c:pt idx="518">
                  <c:v>320.93552785706498</c:v>
                </c:pt>
                <c:pt idx="519">
                  <c:v>313.68524651519601</c:v>
                </c:pt>
                <c:pt idx="520">
                  <c:v>312.32722097260501</c:v>
                </c:pt>
                <c:pt idx="521">
                  <c:v>309.29095619476402</c:v>
                </c:pt>
                <c:pt idx="522">
                  <c:v>308.33318559646801</c:v>
                </c:pt>
                <c:pt idx="523">
                  <c:v>309.93127246608998</c:v>
                </c:pt>
                <c:pt idx="524">
                  <c:v>309.71001228537398</c:v>
                </c:pt>
                <c:pt idx="525">
                  <c:v>318.40501555290803</c:v>
                </c:pt>
                <c:pt idx="526">
                  <c:v>332.64397949796199</c:v>
                </c:pt>
                <c:pt idx="527">
                  <c:v>349.90620809152398</c:v>
                </c:pt>
                <c:pt idx="528">
                  <c:v>344.88001614199601</c:v>
                </c:pt>
                <c:pt idx="529">
                  <c:v>371.82995923431201</c:v>
                </c:pt>
                <c:pt idx="530">
                  <c:v>331.38940015752502</c:v>
                </c:pt>
                <c:pt idx="531">
                  <c:v>337.72049456785498</c:v>
                </c:pt>
                <c:pt idx="532">
                  <c:v>346.59692428635202</c:v>
                </c:pt>
                <c:pt idx="533">
                  <c:v>353.30948381561302</c:v>
                </c:pt>
                <c:pt idx="534">
                  <c:v>340.65600117531397</c:v>
                </c:pt>
                <c:pt idx="535">
                  <c:v>327.15887683327003</c:v>
                </c:pt>
                <c:pt idx="536">
                  <c:v>333.54364375611101</c:v>
                </c:pt>
                <c:pt idx="537">
                  <c:v>337.24610147854497</c:v>
                </c:pt>
                <c:pt idx="538">
                  <c:v>329.40320725636599</c:v>
                </c:pt>
                <c:pt idx="539">
                  <c:v>332.40850880355498</c:v>
                </c:pt>
                <c:pt idx="540">
                  <c:v>346.18228643616499</c:v>
                </c:pt>
                <c:pt idx="541">
                  <c:v>361.51622916530403</c:v>
                </c:pt>
                <c:pt idx="542">
                  <c:v>350.27009386339</c:v>
                </c:pt>
                <c:pt idx="543">
                  <c:v>344.77769278698503</c:v>
                </c:pt>
                <c:pt idx="544">
                  <c:v>341.22230824869899</c:v>
                </c:pt>
                <c:pt idx="545">
                  <c:v>331.84621957300402</c:v>
                </c:pt>
                <c:pt idx="546">
                  <c:v>336.56204992839901</c:v>
                </c:pt>
                <c:pt idx="547">
                  <c:v>332.59288945487401</c:v>
                </c:pt>
                <c:pt idx="548">
                  <c:v>317.91838446678503</c:v>
                </c:pt>
                <c:pt idx="549">
                  <c:v>335.09183328264697</c:v>
                </c:pt>
                <c:pt idx="550">
                  <c:v>318.42320919182703</c:v>
                </c:pt>
                <c:pt idx="551">
                  <c:v>317.37323721983302</c:v>
                </c:pt>
                <c:pt idx="552">
                  <c:v>314.47962730835798</c:v>
                </c:pt>
                <c:pt idx="553">
                  <c:v>319.07089197496799</c:v>
                </c:pt>
                <c:pt idx="554">
                  <c:v>317.42332913447598</c:v>
                </c:pt>
                <c:pt idx="555">
                  <c:v>324.93527798018101</c:v>
                </c:pt>
                <c:pt idx="556">
                  <c:v>319.18364095955297</c:v>
                </c:pt>
                <c:pt idx="557">
                  <c:v>327.87550364213701</c:v>
                </c:pt>
                <c:pt idx="558">
                  <c:v>316.08718935296099</c:v>
                </c:pt>
                <c:pt idx="559">
                  <c:v>319.56921842415602</c:v>
                </c:pt>
                <c:pt idx="560">
                  <c:v>321.95840850629702</c:v>
                </c:pt>
                <c:pt idx="561">
                  <c:v>324.00958837029799</c:v>
                </c:pt>
                <c:pt idx="562">
                  <c:v>337.37422368263799</c:v>
                </c:pt>
                <c:pt idx="563">
                  <c:v>318.160966988501</c:v>
                </c:pt>
                <c:pt idx="564">
                  <c:v>334.83408885481902</c:v>
                </c:pt>
                <c:pt idx="565">
                  <c:v>339.25855206321</c:v>
                </c:pt>
                <c:pt idx="566">
                  <c:v>334.410664451939</c:v>
                </c:pt>
                <c:pt idx="567">
                  <c:v>329.79448185264101</c:v>
                </c:pt>
                <c:pt idx="568">
                  <c:v>348.37431430050202</c:v>
                </c:pt>
                <c:pt idx="569">
                  <c:v>343.83486338731598</c:v>
                </c:pt>
                <c:pt idx="570">
                  <c:v>349.97792455766898</c:v>
                </c:pt>
                <c:pt idx="571">
                  <c:v>340.10627176837698</c:v>
                </c:pt>
                <c:pt idx="572">
                  <c:v>338.900481463809</c:v>
                </c:pt>
                <c:pt idx="573">
                  <c:v>322.75720855810698</c:v>
                </c:pt>
                <c:pt idx="574">
                  <c:v>324.27937790988801</c:v>
                </c:pt>
                <c:pt idx="575">
                  <c:v>323.72546616700703</c:v>
                </c:pt>
                <c:pt idx="576">
                  <c:v>323.26928387699297</c:v>
                </c:pt>
                <c:pt idx="577">
                  <c:v>322.18634780920002</c:v>
                </c:pt>
                <c:pt idx="578">
                  <c:v>315.89534622172903</c:v>
                </c:pt>
                <c:pt idx="579">
                  <c:v>322.80916149528002</c:v>
                </c:pt>
                <c:pt idx="580">
                  <c:v>332.20580253877102</c:v>
                </c:pt>
                <c:pt idx="581">
                  <c:v>347.00392175212698</c:v>
                </c:pt>
                <c:pt idx="582">
                  <c:v>324.40563675112998</c:v>
                </c:pt>
                <c:pt idx="583">
                  <c:v>323.615380684505</c:v>
                </c:pt>
                <c:pt idx="584">
                  <c:v>333.47697962219399</c:v>
                </c:pt>
                <c:pt idx="585">
                  <c:v>326.67499700766501</c:v>
                </c:pt>
                <c:pt idx="586">
                  <c:v>342.49532740648601</c:v>
                </c:pt>
                <c:pt idx="587">
                  <c:v>327.45978063316301</c:v>
                </c:pt>
                <c:pt idx="588">
                  <c:v>329.64350416797498</c:v>
                </c:pt>
                <c:pt idx="589">
                  <c:v>326.51949562608303</c:v>
                </c:pt>
                <c:pt idx="590">
                  <c:v>331.80235406137598</c:v>
                </c:pt>
                <c:pt idx="591">
                  <c:v>333.04988897059201</c:v>
                </c:pt>
                <c:pt idx="592">
                  <c:v>332.922571073688</c:v>
                </c:pt>
                <c:pt idx="593">
                  <c:v>315.64168769378102</c:v>
                </c:pt>
                <c:pt idx="594">
                  <c:v>314.14391727944502</c:v>
                </c:pt>
                <c:pt idx="595">
                  <c:v>318.69887855807201</c:v>
                </c:pt>
                <c:pt idx="596">
                  <c:v>317.05814664655401</c:v>
                </c:pt>
                <c:pt idx="597">
                  <c:v>316.09772929466499</c:v>
                </c:pt>
                <c:pt idx="598">
                  <c:v>321.63903631970197</c:v>
                </c:pt>
                <c:pt idx="599">
                  <c:v>334.07061044711998</c:v>
                </c:pt>
                <c:pt idx="600">
                  <c:v>340.26817206936897</c:v>
                </c:pt>
                <c:pt idx="601">
                  <c:v>351.80546181578399</c:v>
                </c:pt>
                <c:pt idx="602">
                  <c:v>346.48650987273498</c:v>
                </c:pt>
                <c:pt idx="603">
                  <c:v>348.34992465583798</c:v>
                </c:pt>
                <c:pt idx="604">
                  <c:v>339.38074955657601</c:v>
                </c:pt>
                <c:pt idx="605">
                  <c:v>328.96070325800201</c:v>
                </c:pt>
                <c:pt idx="606">
                  <c:v>345.19159196177799</c:v>
                </c:pt>
                <c:pt idx="607">
                  <c:v>405.26449101922901</c:v>
                </c:pt>
                <c:pt idx="608">
                  <c:v>325.76070001360898</c:v>
                </c:pt>
                <c:pt idx="609">
                  <c:v>327.66351813619701</c:v>
                </c:pt>
                <c:pt idx="610">
                  <c:v>348.03888514141403</c:v>
                </c:pt>
                <c:pt idx="611">
                  <c:v>355.35273207570299</c:v>
                </c:pt>
                <c:pt idx="612">
                  <c:v>360.248403459359</c:v>
                </c:pt>
                <c:pt idx="613">
                  <c:v>328.81984740942801</c:v>
                </c:pt>
                <c:pt idx="614">
                  <c:v>321.60041782141201</c:v>
                </c:pt>
                <c:pt idx="615">
                  <c:v>329.41026230365799</c:v>
                </c:pt>
                <c:pt idx="616">
                  <c:v>339.546912862554</c:v>
                </c:pt>
                <c:pt idx="617">
                  <c:v>342.65045625550601</c:v>
                </c:pt>
                <c:pt idx="618">
                  <c:v>325.44534260604001</c:v>
                </c:pt>
                <c:pt idx="619">
                  <c:v>326.339078488018</c:v>
                </c:pt>
                <c:pt idx="620">
                  <c:v>324.333107546512</c:v>
                </c:pt>
                <c:pt idx="621">
                  <c:v>341.251328900602</c:v>
                </c:pt>
                <c:pt idx="622">
                  <c:v>340.83183196950398</c:v>
                </c:pt>
                <c:pt idx="623">
                  <c:v>365.36449657755099</c:v>
                </c:pt>
                <c:pt idx="624">
                  <c:v>369.54509067698598</c:v>
                </c:pt>
                <c:pt idx="625">
                  <c:v>392.24478254979999</c:v>
                </c:pt>
                <c:pt idx="626">
                  <c:v>388.52099167441497</c:v>
                </c:pt>
                <c:pt idx="627">
                  <c:v>408.18112241220899</c:v>
                </c:pt>
                <c:pt idx="628">
                  <c:v>387.88646533157998</c:v>
                </c:pt>
                <c:pt idx="629">
                  <c:v>347.41061771790999</c:v>
                </c:pt>
                <c:pt idx="630">
                  <c:v>336.26048793528298</c:v>
                </c:pt>
                <c:pt idx="631">
                  <c:v>331.53224019508701</c:v>
                </c:pt>
                <c:pt idx="632">
                  <c:v>328.23923928910898</c:v>
                </c:pt>
                <c:pt idx="633">
                  <c:v>335.96943591074302</c:v>
                </c:pt>
                <c:pt idx="634">
                  <c:v>325.52072409331703</c:v>
                </c:pt>
                <c:pt idx="635">
                  <c:v>330.25950701319698</c:v>
                </c:pt>
                <c:pt idx="636">
                  <c:v>331.78171217281198</c:v>
                </c:pt>
                <c:pt idx="637">
                  <c:v>333.89479309875202</c:v>
                </c:pt>
                <c:pt idx="638">
                  <c:v>345.20105398347698</c:v>
                </c:pt>
                <c:pt idx="639">
                  <c:v>389.634935469803</c:v>
                </c:pt>
                <c:pt idx="640">
                  <c:v>394.36927372021898</c:v>
                </c:pt>
                <c:pt idx="641">
                  <c:v>617.52460803464396</c:v>
                </c:pt>
                <c:pt idx="643">
                  <c:v>480.37554908220397</c:v>
                </c:pt>
                <c:pt idx="644">
                  <c:v>367.878767609026</c:v>
                </c:pt>
                <c:pt idx="645">
                  <c:v>338.206741573427</c:v>
                </c:pt>
                <c:pt idx="646">
                  <c:v>347.31857520499602</c:v>
                </c:pt>
                <c:pt idx="647">
                  <c:v>351.948269488498</c:v>
                </c:pt>
                <c:pt idx="648">
                  <c:v>348.03746836955997</c:v>
                </c:pt>
                <c:pt idx="649">
                  <c:v>336.69941536527801</c:v>
                </c:pt>
                <c:pt idx="650">
                  <c:v>330.734260729894</c:v>
                </c:pt>
                <c:pt idx="651">
                  <c:v>323.33150627132602</c:v>
                </c:pt>
                <c:pt idx="652">
                  <c:v>324.39132891687802</c:v>
                </c:pt>
                <c:pt idx="653">
                  <c:v>322.37696228766998</c:v>
                </c:pt>
                <c:pt idx="654">
                  <c:v>329.59628970563398</c:v>
                </c:pt>
                <c:pt idx="655">
                  <c:v>380.89927233364102</c:v>
                </c:pt>
                <c:pt idx="656">
                  <c:v>337.691625887545</c:v>
                </c:pt>
                <c:pt idx="657">
                  <c:v>338.45824317585101</c:v>
                </c:pt>
                <c:pt idx="658">
                  <c:v>338.38321539484201</c:v>
                </c:pt>
                <c:pt idx="659">
                  <c:v>355.45609436949297</c:v>
                </c:pt>
                <c:pt idx="660">
                  <c:v>332.520764486075</c:v>
                </c:pt>
                <c:pt idx="661">
                  <c:v>335.07609581813102</c:v>
                </c:pt>
                <c:pt idx="662">
                  <c:v>329.94940122038201</c:v>
                </c:pt>
                <c:pt idx="663">
                  <c:v>323.10645933006799</c:v>
                </c:pt>
                <c:pt idx="664">
                  <c:v>319.80108189360499</c:v>
                </c:pt>
                <c:pt idx="665">
                  <c:v>323.62251650679599</c:v>
                </c:pt>
                <c:pt idx="666">
                  <c:v>334.68821415668799</c:v>
                </c:pt>
                <c:pt idx="667">
                  <c:v>336.62282801946299</c:v>
                </c:pt>
                <c:pt idx="668">
                  <c:v>330.60948348238497</c:v>
                </c:pt>
                <c:pt idx="669">
                  <c:v>364.02362295189403</c:v>
                </c:pt>
                <c:pt idx="670">
                  <c:v>324.33120849213202</c:v>
                </c:pt>
                <c:pt idx="671">
                  <c:v>334.74922085236898</c:v>
                </c:pt>
                <c:pt idx="672">
                  <c:v>325.98751673170898</c:v>
                </c:pt>
                <c:pt idx="673">
                  <c:v>322.85120204339398</c:v>
                </c:pt>
                <c:pt idx="674">
                  <c:v>327.25535955545701</c:v>
                </c:pt>
                <c:pt idx="675">
                  <c:v>322.14869582905197</c:v>
                </c:pt>
                <c:pt idx="676">
                  <c:v>322.42305728865</c:v>
                </c:pt>
                <c:pt idx="677">
                  <c:v>340.13932823045599</c:v>
                </c:pt>
                <c:pt idx="678">
                  <c:v>327.68617605729401</c:v>
                </c:pt>
                <c:pt idx="679">
                  <c:v>333.79293745972598</c:v>
                </c:pt>
                <c:pt idx="680">
                  <c:v>324.24003839922301</c:v>
                </c:pt>
                <c:pt idx="681">
                  <c:v>347.65153109786201</c:v>
                </c:pt>
                <c:pt idx="682">
                  <c:v>345.42865719763802</c:v>
                </c:pt>
                <c:pt idx="683">
                  <c:v>314.50110661275801</c:v>
                </c:pt>
                <c:pt idx="684">
                  <c:v>328.80482800572901</c:v>
                </c:pt>
                <c:pt idx="685">
                  <c:v>321.29601041055599</c:v>
                </c:pt>
                <c:pt idx="686">
                  <c:v>321.23679173925399</c:v>
                </c:pt>
                <c:pt idx="687">
                  <c:v>323.41884497210401</c:v>
                </c:pt>
                <c:pt idx="688">
                  <c:v>323.11566076804303</c:v>
                </c:pt>
                <c:pt idx="689">
                  <c:v>324.92061107594998</c:v>
                </c:pt>
                <c:pt idx="690">
                  <c:v>323.833565904019</c:v>
                </c:pt>
                <c:pt idx="691">
                  <c:v>329.23323346573198</c:v>
                </c:pt>
                <c:pt idx="692">
                  <c:v>332.52192650276402</c:v>
                </c:pt>
                <c:pt idx="693">
                  <c:v>322.383531626425</c:v>
                </c:pt>
                <c:pt idx="694">
                  <c:v>322.275141759409</c:v>
                </c:pt>
                <c:pt idx="695">
                  <c:v>322.70046869559297</c:v>
                </c:pt>
                <c:pt idx="696">
                  <c:v>325.779022206881</c:v>
                </c:pt>
                <c:pt idx="697">
                  <c:v>326.99318740677501</c:v>
                </c:pt>
                <c:pt idx="698">
                  <c:v>322.14416634881002</c:v>
                </c:pt>
                <c:pt idx="699">
                  <c:v>323.71031251999602</c:v>
                </c:pt>
                <c:pt idx="700">
                  <c:v>331.06507475471301</c:v>
                </c:pt>
                <c:pt idx="701">
                  <c:v>387.45453960211</c:v>
                </c:pt>
                <c:pt idx="702">
                  <c:v>350.57303637148198</c:v>
                </c:pt>
                <c:pt idx="703">
                  <c:v>324.92857364442699</c:v>
                </c:pt>
                <c:pt idx="704">
                  <c:v>325.46749590608101</c:v>
                </c:pt>
                <c:pt idx="705">
                  <c:v>324.00623648569001</c:v>
                </c:pt>
                <c:pt idx="706">
                  <c:v>331.38063586017398</c:v>
                </c:pt>
                <c:pt idx="707">
                  <c:v>334.62529779002602</c:v>
                </c:pt>
                <c:pt idx="708">
                  <c:v>345.97696073246499</c:v>
                </c:pt>
                <c:pt idx="709">
                  <c:v>331.89750419952998</c:v>
                </c:pt>
                <c:pt idx="710">
                  <c:v>331.88679726492097</c:v>
                </c:pt>
                <c:pt idx="711">
                  <c:v>331.02849639295601</c:v>
                </c:pt>
                <c:pt idx="712">
                  <c:v>340.21458287228103</c:v>
                </c:pt>
                <c:pt idx="713">
                  <c:v>336.01796836656501</c:v>
                </c:pt>
                <c:pt idx="714">
                  <c:v>323.409361421401</c:v>
                </c:pt>
                <c:pt idx="715">
                  <c:v>322.07827614417897</c:v>
                </c:pt>
                <c:pt idx="716">
                  <c:v>318.213361992518</c:v>
                </c:pt>
                <c:pt idx="717">
                  <c:v>322.57482291490999</c:v>
                </c:pt>
                <c:pt idx="718">
                  <c:v>323.57713049668502</c:v>
                </c:pt>
                <c:pt idx="719">
                  <c:v>324.77705518667801</c:v>
                </c:pt>
                <c:pt idx="720">
                  <c:v>325.00218155725003</c:v>
                </c:pt>
                <c:pt idx="721">
                  <c:v>323.64730670914003</c:v>
                </c:pt>
                <c:pt idx="722">
                  <c:v>326.67519612125199</c:v>
                </c:pt>
                <c:pt idx="723">
                  <c:v>331.171647625898</c:v>
                </c:pt>
                <c:pt idx="724">
                  <c:v>383.85692345414998</c:v>
                </c:pt>
                <c:pt idx="725">
                  <c:v>776.214396611967</c:v>
                </c:pt>
                <c:pt idx="726">
                  <c:v>503.48229673947901</c:v>
                </c:pt>
                <c:pt idx="727">
                  <c:v>349.46074446929202</c:v>
                </c:pt>
                <c:pt idx="728">
                  <c:v>328.00880830653898</c:v>
                </c:pt>
                <c:pt idx="729">
                  <c:v>325.92545019233103</c:v>
                </c:pt>
                <c:pt idx="730">
                  <c:v>327.02947503205201</c:v>
                </c:pt>
                <c:pt idx="731">
                  <c:v>327.98615324554419</c:v>
                </c:pt>
                <c:pt idx="732">
                  <c:v>331.91309908129693</c:v>
                </c:pt>
                <c:pt idx="733">
                  <c:v>329.6986942958232</c:v>
                </c:pt>
                <c:pt idx="734">
                  <c:v>329.24764649261476</c:v>
                </c:pt>
                <c:pt idx="735">
                  <c:v>329.82358255706964</c:v>
                </c:pt>
                <c:pt idx="736">
                  <c:v>331.60453548391382</c:v>
                </c:pt>
                <c:pt idx="737">
                  <c:v>331.697248358781</c:v>
                </c:pt>
                <c:pt idx="738">
                  <c:v>331.44137253874794</c:v>
                </c:pt>
                <c:pt idx="739">
                  <c:v>333.46662253900115</c:v>
                </c:pt>
                <c:pt idx="740">
                  <c:v>329.20779912857358</c:v>
                </c:pt>
                <c:pt idx="741">
                  <c:v>322.89641163523174</c:v>
                </c:pt>
                <c:pt idx="742">
                  <c:v>324.54985927179371</c:v>
                </c:pt>
                <c:pt idx="743">
                  <c:v>322.89115425276418</c:v>
                </c:pt>
                <c:pt idx="744">
                  <c:v>321.56479120795314</c:v>
                </c:pt>
                <c:pt idx="745">
                  <c:v>320.47087049700474</c:v>
                </c:pt>
                <c:pt idx="746">
                  <c:v>320.43056626890245</c:v>
                </c:pt>
                <c:pt idx="747">
                  <c:v>325.8439884100585</c:v>
                </c:pt>
                <c:pt idx="748">
                  <c:v>321.12679900366663</c:v>
                </c:pt>
                <c:pt idx="749">
                  <c:v>321.17705770220016</c:v>
                </c:pt>
                <c:pt idx="750">
                  <c:v>322.23906439894307</c:v>
                </c:pt>
                <c:pt idx="751">
                  <c:v>327.21635147926412</c:v>
                </c:pt>
                <c:pt idx="752">
                  <c:v>318.95857410987531</c:v>
                </c:pt>
                <c:pt idx="753">
                  <c:v>321.05170679856712</c:v>
                </c:pt>
                <c:pt idx="754">
                  <c:v>319.381077127612</c:v>
                </c:pt>
                <c:pt idx="755">
                  <c:v>320.58861044353853</c:v>
                </c:pt>
                <c:pt idx="756">
                  <c:v>322.03639264048633</c:v>
                </c:pt>
                <c:pt idx="757">
                  <c:v>319.99893183361348</c:v>
                </c:pt>
                <c:pt idx="758">
                  <c:v>319.27099560226151</c:v>
                </c:pt>
                <c:pt idx="759">
                  <c:v>324.04834042783534</c:v>
                </c:pt>
                <c:pt idx="760">
                  <c:v>323.76464679295015</c:v>
                </c:pt>
                <c:pt idx="761">
                  <c:v>329.19941254333196</c:v>
                </c:pt>
                <c:pt idx="762">
                  <c:v>328.14951716785004</c:v>
                </c:pt>
                <c:pt idx="763">
                  <c:v>321.92032216955369</c:v>
                </c:pt>
                <c:pt idx="764">
                  <c:v>323.65419580871043</c:v>
                </c:pt>
                <c:pt idx="765">
                  <c:v>330.05982705537167</c:v>
                </c:pt>
                <c:pt idx="766">
                  <c:v>324.72322433138123</c:v>
                </c:pt>
                <c:pt idx="767">
                  <c:v>326.25246935658942</c:v>
                </c:pt>
                <c:pt idx="768">
                  <c:v>321.02947528589573</c:v>
                </c:pt>
                <c:pt idx="769">
                  <c:v>336.64067470743964</c:v>
                </c:pt>
                <c:pt idx="770">
                  <c:v>335.41263828378538</c:v>
                </c:pt>
                <c:pt idx="771">
                  <c:v>318.98713868291162</c:v>
                </c:pt>
                <c:pt idx="772">
                  <c:v>318.87272186967027</c:v>
                </c:pt>
                <c:pt idx="773">
                  <c:v>314.61319538084967</c:v>
                </c:pt>
                <c:pt idx="774">
                  <c:v>318.73176096679055</c:v>
                </c:pt>
                <c:pt idx="775">
                  <c:v>317.28133237772818</c:v>
                </c:pt>
                <c:pt idx="776">
                  <c:v>317.07322515188542</c:v>
                </c:pt>
                <c:pt idx="777">
                  <c:v>321.41437462206022</c:v>
                </c:pt>
                <c:pt idx="778">
                  <c:v>321.57138664325004</c:v>
                </c:pt>
                <c:pt idx="779">
                  <c:v>320.67681476205451</c:v>
                </c:pt>
                <c:pt idx="780">
                  <c:v>321.84599489771392</c:v>
                </c:pt>
                <c:pt idx="781">
                  <c:v>324.28290917908612</c:v>
                </c:pt>
                <c:pt idx="782">
                  <c:v>320.57347109189095</c:v>
                </c:pt>
                <c:pt idx="783">
                  <c:v>319.69186264743661</c:v>
                </c:pt>
                <c:pt idx="784">
                  <c:v>331.54764731251055</c:v>
                </c:pt>
                <c:pt idx="785">
                  <c:v>329.88085625035296</c:v>
                </c:pt>
                <c:pt idx="786">
                  <c:v>331.14880554078161</c:v>
                </c:pt>
                <c:pt idx="787">
                  <c:v>330.68917122300468</c:v>
                </c:pt>
                <c:pt idx="788">
                  <c:v>370.09276270688582</c:v>
                </c:pt>
                <c:pt idx="789">
                  <c:v>473.90302123035792</c:v>
                </c:pt>
                <c:pt idx="790">
                  <c:v>342.66852826155377</c:v>
                </c:pt>
                <c:pt idx="791">
                  <c:v>323.7009718669409</c:v>
                </c:pt>
                <c:pt idx="792">
                  <c:v>327.83721174654545</c:v>
                </c:pt>
                <c:pt idx="793">
                  <c:v>330.29023389177769</c:v>
                </c:pt>
                <c:pt idx="794">
                  <c:v>326.55623929270973</c:v>
                </c:pt>
                <c:pt idx="795">
                  <c:v>325.23188250895367</c:v>
                </c:pt>
                <c:pt idx="796">
                  <c:v>328.28308779204832</c:v>
                </c:pt>
                <c:pt idx="797">
                  <c:v>324.478610525779</c:v>
                </c:pt>
                <c:pt idx="798">
                  <c:v>324.40337974125009</c:v>
                </c:pt>
                <c:pt idx="799">
                  <c:v>326.30931836585626</c:v>
                </c:pt>
                <c:pt idx="800">
                  <c:v>329.86134602784892</c:v>
                </c:pt>
                <c:pt idx="801">
                  <c:v>324.55954190243619</c:v>
                </c:pt>
                <c:pt idx="802">
                  <c:v>332.5976694967448</c:v>
                </c:pt>
                <c:pt idx="803">
                  <c:v>330.59209518617092</c:v>
                </c:pt>
                <c:pt idx="804">
                  <c:v>329.89987024936318</c:v>
                </c:pt>
                <c:pt idx="805">
                  <c:v>333.62106336922938</c:v>
                </c:pt>
                <c:pt idx="806">
                  <c:v>331.88335566344261</c:v>
                </c:pt>
                <c:pt idx="807">
                  <c:v>330.48035474467207</c:v>
                </c:pt>
                <c:pt idx="808">
                  <c:v>334.53350120989228</c:v>
                </c:pt>
                <c:pt idx="809">
                  <c:v>342.9703897244172</c:v>
                </c:pt>
                <c:pt idx="810">
                  <c:v>346.44826512233254</c:v>
                </c:pt>
                <c:pt idx="811">
                  <c:v>351.29048252629366</c:v>
                </c:pt>
                <c:pt idx="812">
                  <c:v>355.26915643573199</c:v>
                </c:pt>
                <c:pt idx="813">
                  <c:v>354.90662136316928</c:v>
                </c:pt>
                <c:pt idx="814">
                  <c:v>355.81860400528478</c:v>
                </c:pt>
                <c:pt idx="815">
                  <c:v>346.68640005619358</c:v>
                </c:pt>
                <c:pt idx="816">
                  <c:v>337.0626877207377</c:v>
                </c:pt>
                <c:pt idx="817">
                  <c:v>328.74543919126847</c:v>
                </c:pt>
                <c:pt idx="818">
                  <c:v>332.26495212009786</c:v>
                </c:pt>
                <c:pt idx="819">
                  <c:v>334.93217065403138</c:v>
                </c:pt>
                <c:pt idx="820">
                  <c:v>325.88789138129926</c:v>
                </c:pt>
                <c:pt idx="821">
                  <c:v>348.94536427810925</c:v>
                </c:pt>
                <c:pt idx="822">
                  <c:v>350.83738063171626</c:v>
                </c:pt>
                <c:pt idx="823">
                  <c:v>341.92197502049447</c:v>
                </c:pt>
                <c:pt idx="824">
                  <c:v>343.38293211347377</c:v>
                </c:pt>
                <c:pt idx="825">
                  <c:v>363.58016395842861</c:v>
                </c:pt>
                <c:pt idx="826">
                  <c:v>355.25297275573467</c:v>
                </c:pt>
                <c:pt idx="827">
                  <c:v>361.94962313714211</c:v>
                </c:pt>
                <c:pt idx="828">
                  <c:v>374.27984581025544</c:v>
                </c:pt>
                <c:pt idx="829">
                  <c:v>368.69039623856355</c:v>
                </c:pt>
                <c:pt idx="830">
                  <c:v>372.28030575262954</c:v>
                </c:pt>
                <c:pt idx="831">
                  <c:v>371.95859079410673</c:v>
                </c:pt>
                <c:pt idx="832">
                  <c:v>370.44087348814605</c:v>
                </c:pt>
                <c:pt idx="833">
                  <c:v>356.88989279571331</c:v>
                </c:pt>
                <c:pt idx="834">
                  <c:v>350.74110063346757</c:v>
                </c:pt>
                <c:pt idx="835">
                  <c:v>327.11154972113735</c:v>
                </c:pt>
                <c:pt idx="836">
                  <c:v>327.65030329340533</c:v>
                </c:pt>
                <c:pt idx="837">
                  <c:v>326.49343615956701</c:v>
                </c:pt>
                <c:pt idx="838">
                  <c:v>323.84754457824675</c:v>
                </c:pt>
                <c:pt idx="839">
                  <c:v>329.32904409366751</c:v>
                </c:pt>
                <c:pt idx="840">
                  <c:v>330.66168174695946</c:v>
                </c:pt>
                <c:pt idx="841">
                  <c:v>332.82356413625865</c:v>
                </c:pt>
                <c:pt idx="842">
                  <c:v>333.34285497290205</c:v>
                </c:pt>
                <c:pt idx="843">
                  <c:v>336.12182113364116</c:v>
                </c:pt>
                <c:pt idx="844">
                  <c:v>336.69530549359928</c:v>
                </c:pt>
                <c:pt idx="845">
                  <c:v>332.91573472069751</c:v>
                </c:pt>
                <c:pt idx="846">
                  <c:v>341.71502160931612</c:v>
                </c:pt>
                <c:pt idx="847">
                  <c:v>332.73758865295446</c:v>
                </c:pt>
                <c:pt idx="848">
                  <c:v>328.66400162920559</c:v>
                </c:pt>
                <c:pt idx="849">
                  <c:v>348.11484340733705</c:v>
                </c:pt>
                <c:pt idx="850">
                  <c:v>327.85001756729537</c:v>
                </c:pt>
                <c:pt idx="851">
                  <c:v>323.10945570653132</c:v>
                </c:pt>
                <c:pt idx="852">
                  <c:v>343.70304697589307</c:v>
                </c:pt>
                <c:pt idx="853">
                  <c:v>328.3868628913998</c:v>
                </c:pt>
                <c:pt idx="854">
                  <c:v>333.65593260767577</c:v>
                </c:pt>
                <c:pt idx="855">
                  <c:v>334.16512349482815</c:v>
                </c:pt>
                <c:pt idx="856">
                  <c:v>335.4471686821567</c:v>
                </c:pt>
                <c:pt idx="857">
                  <c:v>333.2721119904474</c:v>
                </c:pt>
                <c:pt idx="858">
                  <c:v>330.82663538250438</c:v>
                </c:pt>
                <c:pt idx="859">
                  <c:v>345.46745225437462</c:v>
                </c:pt>
                <c:pt idx="860">
                  <c:v>370.50687541900379</c:v>
                </c:pt>
                <c:pt idx="861">
                  <c:v>495.42191721980686</c:v>
                </c:pt>
                <c:pt idx="862">
                  <c:v>365.98254032217886</c:v>
                </c:pt>
                <c:pt idx="863">
                  <c:v>326.29273330156695</c:v>
                </c:pt>
                <c:pt idx="864">
                  <c:v>395.2899164046629</c:v>
                </c:pt>
                <c:pt idx="865">
                  <c:v>414.88814777455678</c:v>
                </c:pt>
                <c:pt idx="866">
                  <c:v>320.60833294332588</c:v>
                </c:pt>
                <c:pt idx="867">
                  <c:v>326.80509471935807</c:v>
                </c:pt>
                <c:pt idx="868">
                  <c:v>330.47581519905521</c:v>
                </c:pt>
                <c:pt idx="869">
                  <c:v>327.06853372497204</c:v>
                </c:pt>
                <c:pt idx="870">
                  <c:v>323.28512515663897</c:v>
                </c:pt>
                <c:pt idx="871">
                  <c:v>323.24935503446579</c:v>
                </c:pt>
                <c:pt idx="872">
                  <c:v>324.31872018409842</c:v>
                </c:pt>
                <c:pt idx="873">
                  <c:v>327.95439886159949</c:v>
                </c:pt>
                <c:pt idx="874">
                  <c:v>327.95439886159949</c:v>
                </c:pt>
                <c:pt idx="875">
                  <c:v>327.69739849368909</c:v>
                </c:pt>
                <c:pt idx="876">
                  <c:v>327.73251725066439</c:v>
                </c:pt>
                <c:pt idx="877">
                  <c:v>327.60772295880236</c:v>
                </c:pt>
                <c:pt idx="878">
                  <c:v>325.85610434938991</c:v>
                </c:pt>
                <c:pt idx="879">
                  <c:v>321.07455154237505</c:v>
                </c:pt>
                <c:pt idx="880">
                  <c:v>323.98619119743597</c:v>
                </c:pt>
                <c:pt idx="881">
                  <c:v>321.64377939126547</c:v>
                </c:pt>
                <c:pt idx="882">
                  <c:v>330.8921074711144</c:v>
                </c:pt>
                <c:pt idx="883">
                  <c:v>329.50568700655072</c:v>
                </c:pt>
                <c:pt idx="884">
                  <c:v>337.44464203029185</c:v>
                </c:pt>
                <c:pt idx="885">
                  <c:v>341.63648177733444</c:v>
                </c:pt>
                <c:pt idx="886">
                  <c:v>335.82292833370445</c:v>
                </c:pt>
                <c:pt idx="887">
                  <c:v>329.73408750793118</c:v>
                </c:pt>
                <c:pt idx="888">
                  <c:v>329.27216716493945</c:v>
                </c:pt>
                <c:pt idx="889">
                  <c:v>328.79702784549033</c:v>
                </c:pt>
                <c:pt idx="890">
                  <c:v>331.89705199841944</c:v>
                </c:pt>
                <c:pt idx="891">
                  <c:v>332.93641052185467</c:v>
                </c:pt>
                <c:pt idx="892">
                  <c:v>334.7837312780909</c:v>
                </c:pt>
                <c:pt idx="893">
                  <c:v>333.61437335448534</c:v>
                </c:pt>
                <c:pt idx="894">
                  <c:v>333.78090297889003</c:v>
                </c:pt>
                <c:pt idx="895">
                  <c:v>333.41031652830816</c:v>
                </c:pt>
                <c:pt idx="896">
                  <c:v>326.7529679040133</c:v>
                </c:pt>
                <c:pt idx="897">
                  <c:v>334.11796074721224</c:v>
                </c:pt>
                <c:pt idx="898">
                  <c:v>344.59181760332194</c:v>
                </c:pt>
                <c:pt idx="899">
                  <c:v>328.90343143081316</c:v>
                </c:pt>
                <c:pt idx="900">
                  <c:v>334.13080302176297</c:v>
                </c:pt>
                <c:pt idx="901">
                  <c:v>335.21463445487967</c:v>
                </c:pt>
                <c:pt idx="902">
                  <c:v>328.95604710995832</c:v>
                </c:pt>
                <c:pt idx="903">
                  <c:v>327.83941639504764</c:v>
                </c:pt>
                <c:pt idx="904">
                  <c:v>330.47326356749801</c:v>
                </c:pt>
                <c:pt idx="905">
                  <c:v>334.9232215311622</c:v>
                </c:pt>
                <c:pt idx="906">
                  <c:v>336.6200279755422</c:v>
                </c:pt>
                <c:pt idx="907">
                  <c:v>340.54027045596962</c:v>
                </c:pt>
                <c:pt idx="908">
                  <c:v>337.52250293672409</c:v>
                </c:pt>
                <c:pt idx="909">
                  <c:v>356.29923506015427</c:v>
                </c:pt>
                <c:pt idx="910">
                  <c:v>335.01809408410242</c:v>
                </c:pt>
                <c:pt idx="911">
                  <c:v>353.19861986281086</c:v>
                </c:pt>
                <c:pt idx="912">
                  <c:v>340.1854532472413</c:v>
                </c:pt>
                <c:pt idx="913">
                  <c:v>327.48505403439253</c:v>
                </c:pt>
                <c:pt idx="914">
                  <c:v>326.98340675732078</c:v>
                </c:pt>
                <c:pt idx="915">
                  <c:v>327.70294360775739</c:v>
                </c:pt>
                <c:pt idx="916">
                  <c:v>328.97668822468728</c:v>
                </c:pt>
                <c:pt idx="917">
                  <c:v>327.84948382916303</c:v>
                </c:pt>
                <c:pt idx="918">
                  <c:v>330.76396053995558</c:v>
                </c:pt>
                <c:pt idx="919">
                  <c:v>334.63788547597494</c:v>
                </c:pt>
                <c:pt idx="920">
                  <c:v>342.26056499204412</c:v>
                </c:pt>
                <c:pt idx="921">
                  <c:v>344.41913088276533</c:v>
                </c:pt>
                <c:pt idx="922">
                  <c:v>365.31722133592115</c:v>
                </c:pt>
                <c:pt idx="923">
                  <c:v>377.45814310254013</c:v>
                </c:pt>
                <c:pt idx="924">
                  <c:v>364.78873718457089</c:v>
                </c:pt>
                <c:pt idx="925">
                  <c:v>356.68256647528045</c:v>
                </c:pt>
                <c:pt idx="926">
                  <c:v>337.24813596521108</c:v>
                </c:pt>
                <c:pt idx="927">
                  <c:v>324.33002531674151</c:v>
                </c:pt>
                <c:pt idx="928">
                  <c:v>326.04227074397454</c:v>
                </c:pt>
                <c:pt idx="929">
                  <c:v>355.51007941237225</c:v>
                </c:pt>
                <c:pt idx="930">
                  <c:v>326.87332932214554</c:v>
                </c:pt>
                <c:pt idx="931">
                  <c:v>337.72147928552641</c:v>
                </c:pt>
                <c:pt idx="932">
                  <c:v>338.93044935057816</c:v>
                </c:pt>
                <c:pt idx="933">
                  <c:v>330.64095321197073</c:v>
                </c:pt>
                <c:pt idx="934">
                  <c:v>330.63106979033455</c:v>
                </c:pt>
                <c:pt idx="935">
                  <c:v>329.33624238794351</c:v>
                </c:pt>
                <c:pt idx="936">
                  <c:v>314.61707909566741</c:v>
                </c:pt>
                <c:pt idx="937">
                  <c:v>314.61707909566741</c:v>
                </c:pt>
                <c:pt idx="938">
                  <c:v>314.61707909566741</c:v>
                </c:pt>
                <c:pt idx="939">
                  <c:v>314.61707909566741</c:v>
                </c:pt>
                <c:pt idx="940">
                  <c:v>316.34295153631922</c:v>
                </c:pt>
                <c:pt idx="941">
                  <c:v>318.13585381808559</c:v>
                </c:pt>
                <c:pt idx="942">
                  <c:v>324.38368719207057</c:v>
                </c:pt>
                <c:pt idx="943">
                  <c:v>323.75617221020866</c:v>
                </c:pt>
                <c:pt idx="944">
                  <c:v>326.90255243786447</c:v>
                </c:pt>
                <c:pt idx="945">
                  <c:v>327.73910828233176</c:v>
                </c:pt>
                <c:pt idx="946">
                  <c:v>325.22929128088896</c:v>
                </c:pt>
                <c:pt idx="947">
                  <c:v>328.38708615968898</c:v>
                </c:pt>
                <c:pt idx="948">
                  <c:v>335.48053510658787</c:v>
                </c:pt>
                <c:pt idx="949">
                  <c:v>331.59810150717436</c:v>
                </c:pt>
                <c:pt idx="950">
                  <c:v>332.99577094146548</c:v>
                </c:pt>
                <c:pt idx="951">
                  <c:v>334.61845557635803</c:v>
                </c:pt>
                <c:pt idx="952">
                  <c:v>328.59824851170958</c:v>
                </c:pt>
                <c:pt idx="953">
                  <c:v>327.90036467433004</c:v>
                </c:pt>
                <c:pt idx="954">
                  <c:v>341.47948943236349</c:v>
                </c:pt>
                <c:pt idx="955">
                  <c:v>425.53884555956148</c:v>
                </c:pt>
                <c:pt idx="956">
                  <c:v>795.39222084912046</c:v>
                </c:pt>
                <c:pt idx="957">
                  <c:v>656.68215345676424</c:v>
                </c:pt>
                <c:pt idx="958">
                  <c:v>409.33789222248492</c:v>
                </c:pt>
                <c:pt idx="959">
                  <c:v>333.93752689854387</c:v>
                </c:pt>
                <c:pt idx="960">
                  <c:v>337.87627851981443</c:v>
                </c:pt>
                <c:pt idx="961">
                  <c:v>327.78756702676435</c:v>
                </c:pt>
                <c:pt idx="962">
                  <c:v>330.32509742135778</c:v>
                </c:pt>
                <c:pt idx="963">
                  <c:v>349.89483709475655</c:v>
                </c:pt>
                <c:pt idx="964">
                  <c:v>334.74854842886674</c:v>
                </c:pt>
                <c:pt idx="965">
                  <c:v>330.92646273064486</c:v>
                </c:pt>
                <c:pt idx="966">
                  <c:v>322.93510551565669</c:v>
                </c:pt>
                <c:pt idx="967">
                  <c:v>323.5139016982269</c:v>
                </c:pt>
                <c:pt idx="968">
                  <c:v>324.01548784290526</c:v>
                </c:pt>
                <c:pt idx="969">
                  <c:v>324.68114518430008</c:v>
                </c:pt>
                <c:pt idx="970">
                  <c:v>326.68609616110223</c:v>
                </c:pt>
                <c:pt idx="971">
                  <c:v>330.51128875389452</c:v>
                </c:pt>
                <c:pt idx="972">
                  <c:v>322.20612253667667</c:v>
                </c:pt>
                <c:pt idx="973">
                  <c:v>321.76822657225313</c:v>
                </c:pt>
                <c:pt idx="974">
                  <c:v>320.6192245015435</c:v>
                </c:pt>
                <c:pt idx="975">
                  <c:v>321.75613148280667</c:v>
                </c:pt>
                <c:pt idx="976">
                  <c:v>321.6728741359679</c:v>
                </c:pt>
                <c:pt idx="977">
                  <c:v>322.5414392808093</c:v>
                </c:pt>
                <c:pt idx="978">
                  <c:v>322.23692529495406</c:v>
                </c:pt>
                <c:pt idx="979">
                  <c:v>321.88999308597681</c:v>
                </c:pt>
                <c:pt idx="980">
                  <c:v>321.88440351673</c:v>
                </c:pt>
                <c:pt idx="981">
                  <c:v>324.02797688890598</c:v>
                </c:pt>
                <c:pt idx="982">
                  <c:v>328.5253692577337</c:v>
                </c:pt>
                <c:pt idx="983">
                  <c:v>334.6057440668398</c:v>
                </c:pt>
                <c:pt idx="984">
                  <c:v>345.57219132934478</c:v>
                </c:pt>
                <c:pt idx="985">
                  <c:v>339.6743061941001</c:v>
                </c:pt>
                <c:pt idx="986">
                  <c:v>357.5049593897179</c:v>
                </c:pt>
                <c:pt idx="987">
                  <c:v>345.33580928382798</c:v>
                </c:pt>
                <c:pt idx="988">
                  <c:v>328.07669719541622</c:v>
                </c:pt>
                <c:pt idx="989">
                  <c:v>324.63347426332695</c:v>
                </c:pt>
                <c:pt idx="990">
                  <c:v>325.11267108754981</c:v>
                </c:pt>
                <c:pt idx="991">
                  <c:v>326.16574691967537</c:v>
                </c:pt>
                <c:pt idx="992">
                  <c:v>324.87290362387876</c:v>
                </c:pt>
                <c:pt idx="993">
                  <c:v>330.7492858738571</c:v>
                </c:pt>
                <c:pt idx="994">
                  <c:v>327.15884455095153</c:v>
                </c:pt>
                <c:pt idx="995">
                  <c:v>327.97780517717302</c:v>
                </c:pt>
                <c:pt idx="996">
                  <c:v>333.17911642715535</c:v>
                </c:pt>
                <c:pt idx="997">
                  <c:v>359.41219272310639</c:v>
                </c:pt>
                <c:pt idx="998">
                  <c:v>360.88397277898116</c:v>
                </c:pt>
                <c:pt idx="999">
                  <c:v>358.44470900697928</c:v>
                </c:pt>
                <c:pt idx="1000">
                  <c:v>347.50248613185715</c:v>
                </c:pt>
                <c:pt idx="1001">
                  <c:v>345.41776119237193</c:v>
                </c:pt>
                <c:pt idx="1002">
                  <c:v>323.4325483981695</c:v>
                </c:pt>
                <c:pt idx="1003">
                  <c:v>325.86837709188353</c:v>
                </c:pt>
                <c:pt idx="1004">
                  <c:v>325.46370103166652</c:v>
                </c:pt>
                <c:pt idx="1005">
                  <c:v>318.31394231062779</c:v>
                </c:pt>
                <c:pt idx="1006">
                  <c:v>326.32464459963865</c:v>
                </c:pt>
                <c:pt idx="1007">
                  <c:v>325.80920340062983</c:v>
                </c:pt>
                <c:pt idx="1008">
                  <c:v>334.20847709897663</c:v>
                </c:pt>
                <c:pt idx="1009">
                  <c:v>328.57281037091502</c:v>
                </c:pt>
                <c:pt idx="1010">
                  <c:v>339.63000627902818</c:v>
                </c:pt>
                <c:pt idx="1011">
                  <c:v>347.7948890885425</c:v>
                </c:pt>
                <c:pt idx="1012">
                  <c:v>348.08252620421246</c:v>
                </c:pt>
                <c:pt idx="1013">
                  <c:v>334.29540030442655</c:v>
                </c:pt>
                <c:pt idx="1014">
                  <c:v>330.26375246191515</c:v>
                </c:pt>
                <c:pt idx="1015">
                  <c:v>330.16047809888721</c:v>
                </c:pt>
                <c:pt idx="1016">
                  <c:v>329.60414549185128</c:v>
                </c:pt>
                <c:pt idx="1017">
                  <c:v>338.93788085756239</c:v>
                </c:pt>
                <c:pt idx="1018">
                  <c:v>332.20398715008628</c:v>
                </c:pt>
                <c:pt idx="1019">
                  <c:v>336.70299947358768</c:v>
                </c:pt>
                <c:pt idx="1020">
                  <c:v>345.79715514895054</c:v>
                </c:pt>
                <c:pt idx="1021">
                  <c:v>356.52261310398018</c:v>
                </c:pt>
                <c:pt idx="1022">
                  <c:v>347.84077861051901</c:v>
                </c:pt>
                <c:pt idx="1023">
                  <c:v>331.16903810579339</c:v>
                </c:pt>
                <c:pt idx="1024">
                  <c:v>335.83703901038825</c:v>
                </c:pt>
                <c:pt idx="1025">
                  <c:v>336.48519496856159</c:v>
                </c:pt>
                <c:pt idx="1026">
                  <c:v>348.24742261529042</c:v>
                </c:pt>
                <c:pt idx="1027">
                  <c:v>361.50285620174219</c:v>
                </c:pt>
                <c:pt idx="1028">
                  <c:v>378.32964523916695</c:v>
                </c:pt>
                <c:pt idx="1029">
                  <c:v>374.12804840324281</c:v>
                </c:pt>
                <c:pt idx="1030">
                  <c:v>540.57366857199781</c:v>
                </c:pt>
                <c:pt idx="1031">
                  <c:v>704.73520826378831</c:v>
                </c:pt>
                <c:pt idx="1032">
                  <c:v>361.79238092835726</c:v>
                </c:pt>
                <c:pt idx="1033">
                  <c:v>336.01052771939192</c:v>
                </c:pt>
                <c:pt idx="1034">
                  <c:v>333.51737568989569</c:v>
                </c:pt>
                <c:pt idx="1035">
                  <c:v>338.16422492104437</c:v>
                </c:pt>
                <c:pt idx="1036">
                  <c:v>350.44286895935409</c:v>
                </c:pt>
                <c:pt idx="1037">
                  <c:v>342.36819553646353</c:v>
                </c:pt>
                <c:pt idx="1038">
                  <c:v>400.95527467153158</c:v>
                </c:pt>
                <c:pt idx="1039">
                  <c:v>361.44849577341745</c:v>
                </c:pt>
                <c:pt idx="1040">
                  <c:v>387.06407833988203</c:v>
                </c:pt>
                <c:pt idx="1041">
                  <c:v>374.21988510449034</c:v>
                </c:pt>
                <c:pt idx="1042">
                  <c:v>353.28973208625786</c:v>
                </c:pt>
                <c:pt idx="1043">
                  <c:v>385.76678383254597</c:v>
                </c:pt>
                <c:pt idx="1044">
                  <c:v>338.58592091599553</c:v>
                </c:pt>
                <c:pt idx="1045">
                  <c:v>331.279657319813</c:v>
                </c:pt>
                <c:pt idx="1046">
                  <c:v>331.77644776542911</c:v>
                </c:pt>
                <c:pt idx="1047">
                  <c:v>328.95502526628741</c:v>
                </c:pt>
                <c:pt idx="1048">
                  <c:v>330.23474676245365</c:v>
                </c:pt>
                <c:pt idx="1049">
                  <c:v>329.65625473282847</c:v>
                </c:pt>
                <c:pt idx="1050">
                  <c:v>332.31104771417722</c:v>
                </c:pt>
                <c:pt idx="1051">
                  <c:v>325.53832997469351</c:v>
                </c:pt>
                <c:pt idx="1052">
                  <c:v>329.62279059396622</c:v>
                </c:pt>
                <c:pt idx="1053">
                  <c:v>340.19486348911374</c:v>
                </c:pt>
                <c:pt idx="1054">
                  <c:v>365.46750765533733</c:v>
                </c:pt>
                <c:pt idx="1055">
                  <c:v>353.04299201971264</c:v>
                </c:pt>
                <c:pt idx="1056">
                  <c:v>337.21069877279018</c:v>
                </c:pt>
                <c:pt idx="1057">
                  <c:v>331.21521874770593</c:v>
                </c:pt>
                <c:pt idx="1058">
                  <c:v>355.21684603228073</c:v>
                </c:pt>
                <c:pt idx="1059">
                  <c:v>349.82540556863262</c:v>
                </c:pt>
                <c:pt idx="1060">
                  <c:v>332.87722039961113</c:v>
                </c:pt>
                <c:pt idx="1061">
                  <c:v>335.40647394334502</c:v>
                </c:pt>
                <c:pt idx="1062">
                  <c:v>337.22850394031008</c:v>
                </c:pt>
                <c:pt idx="1063">
                  <c:v>342.9294581357853</c:v>
                </c:pt>
                <c:pt idx="1064">
                  <c:v>346.77206382399572</c:v>
                </c:pt>
                <c:pt idx="1065">
                  <c:v>347.68863183575854</c:v>
                </c:pt>
                <c:pt idx="1066">
                  <c:v>337.1549300732085</c:v>
                </c:pt>
                <c:pt idx="1067">
                  <c:v>329.42198523124239</c:v>
                </c:pt>
                <c:pt idx="1068">
                  <c:v>342.85640762230753</c:v>
                </c:pt>
                <c:pt idx="1069">
                  <c:v>349.55311870237193</c:v>
                </c:pt>
                <c:pt idx="1070">
                  <c:v>351.45046817134664</c:v>
                </c:pt>
                <c:pt idx="1071">
                  <c:v>358.37285652720436</c:v>
                </c:pt>
                <c:pt idx="1072">
                  <c:v>349.22113551327834</c:v>
                </c:pt>
                <c:pt idx="1073">
                  <c:v>349.43275622750207</c:v>
                </c:pt>
                <c:pt idx="1074">
                  <c:v>356.14230981340916</c:v>
                </c:pt>
                <c:pt idx="1075">
                  <c:v>362.39277338503109</c:v>
                </c:pt>
                <c:pt idx="1076">
                  <c:v>385.5192449431982</c:v>
                </c:pt>
                <c:pt idx="1077">
                  <c:v>374.93964682002809</c:v>
                </c:pt>
                <c:pt idx="1078">
                  <c:v>350.72047525203755</c:v>
                </c:pt>
                <c:pt idx="1079">
                  <c:v>351.69506062914365</c:v>
                </c:pt>
                <c:pt idx="1080">
                  <c:v>355.27732637670118</c:v>
                </c:pt>
                <c:pt idx="1081">
                  <c:v>363.04657958196015</c:v>
                </c:pt>
                <c:pt idx="1082">
                  <c:v>365.50324513548878</c:v>
                </c:pt>
                <c:pt idx="1083">
                  <c:v>394.41894427389457</c:v>
                </c:pt>
                <c:pt idx="1084">
                  <c:v>425.29172348138121</c:v>
                </c:pt>
                <c:pt idx="1085">
                  <c:v>387.23886537275695</c:v>
                </c:pt>
                <c:pt idx="1086">
                  <c:v>368.3443087414193</c:v>
                </c:pt>
                <c:pt idx="1087">
                  <c:v>347.35646626349796</c:v>
                </c:pt>
                <c:pt idx="1088">
                  <c:v>337.39963957308868</c:v>
                </c:pt>
                <c:pt idx="1089">
                  <c:v>337.5741545775</c:v>
                </c:pt>
                <c:pt idx="1090">
                  <c:v>337.64757181346005</c:v>
                </c:pt>
                <c:pt idx="1091">
                  <c:v>337.83400046527765</c:v>
                </c:pt>
                <c:pt idx="1092">
                  <c:v>341.2193151075794</c:v>
                </c:pt>
                <c:pt idx="1093">
                  <c:v>338.32741188813861</c:v>
                </c:pt>
                <c:pt idx="1094">
                  <c:v>338.11562734000216</c:v>
                </c:pt>
                <c:pt idx="1095">
                  <c:v>345.28084597425584</c:v>
                </c:pt>
              </c:numCache>
            </c:numRef>
          </c:yVal>
          <c:smooth val="0"/>
          <c:extLst>
            <c:ext xmlns:c16="http://schemas.microsoft.com/office/drawing/2014/chart" uri="{C3380CC4-5D6E-409C-BE32-E72D297353CC}">
              <c16:uniqueId val="{00000000-B13C-420F-86BD-3662EE2A7B99}"/>
            </c:ext>
          </c:extLst>
        </c:ser>
        <c:dLbls>
          <c:showLegendKey val="0"/>
          <c:showVal val="0"/>
          <c:showCatName val="0"/>
          <c:showSerName val="0"/>
          <c:showPercent val="0"/>
          <c:showBubbleSize val="0"/>
        </c:dLbls>
        <c:axId val="1714071823"/>
        <c:axId val="1714073903"/>
      </c:scatterChart>
      <c:valAx>
        <c:axId val="1714071823"/>
        <c:scaling>
          <c:orientation val="minMax"/>
          <c:max val="1520"/>
          <c:min val="148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4073903"/>
        <c:crosses val="autoZero"/>
        <c:crossBetween val="midCat"/>
      </c:valAx>
      <c:valAx>
        <c:axId val="1714073903"/>
        <c:scaling>
          <c:orientation val="minMax"/>
          <c:max val="380"/>
          <c:min val="3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4071823"/>
        <c:crosses val="autoZero"/>
        <c:crossBetween val="midCat"/>
      </c:valAx>
      <c:spPr>
        <a:noFill/>
        <a:ln>
          <a:noFill/>
        </a:ln>
        <a:effectLst/>
      </c:spPr>
    </c:plotArea>
    <c:plotVisOnly val="1"/>
    <c:dispBlanksAs val="gap"/>
    <c:showDLblsOverMax val="0"/>
  </c:chart>
  <c:spPr>
    <a:noFill/>
    <a:ln w="9525">
      <a:solidFill>
        <a:srgbClr val="141462"/>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8E336D-C0FA-4259-BFA4-ADDFBBF70424}" type="doc">
      <dgm:prSet loTypeId="urn:microsoft.com/office/officeart/2005/8/layout/hList6" loCatId="list" qsTypeId="urn:microsoft.com/office/officeart/2005/8/quickstyle/simple4" qsCatId="simple" csTypeId="urn:microsoft.com/office/officeart/2005/8/colors/accent1_2" csCatId="accent1" phldr="1"/>
      <dgm:spPr/>
      <dgm:t>
        <a:bodyPr/>
        <a:lstStyle/>
        <a:p>
          <a:endParaRPr lang="en-US"/>
        </a:p>
      </dgm:t>
    </dgm:pt>
    <dgm:pt modelId="{54714F03-7744-4154-AD8D-91080D28C088}">
      <dgm:prSet phldrT="[Text]"/>
      <dgm:spPr/>
      <dgm:t>
        <a:bodyPr/>
        <a:lstStyle/>
        <a:p>
          <a:r>
            <a:rPr lang="en-US" dirty="0" smtClean="0">
              <a:latin typeface="Verdana" panose="020B0604030504040204" pitchFamily="34" charset="0"/>
              <a:ea typeface="Verdana" panose="020B0604030504040204" pitchFamily="34" charset="0"/>
            </a:rPr>
            <a:t>Ironmaking process adopts relatively complete process technology and equipment, which provides a good research and development foundation and supporting environment for the application of blast furnace big data technology and the improvement of the level of ironmaking intelligence. </a:t>
          </a:r>
          <a:endParaRPr lang="en-US" dirty="0"/>
        </a:p>
      </dgm:t>
    </dgm:pt>
    <dgm:pt modelId="{4FCF8208-DD51-4370-8E03-CD0EF34F714D}" type="parTrans" cxnId="{551B1E53-0F2D-4549-B048-1A6EB5051C74}">
      <dgm:prSet/>
      <dgm:spPr/>
      <dgm:t>
        <a:bodyPr/>
        <a:lstStyle/>
        <a:p>
          <a:endParaRPr lang="en-US"/>
        </a:p>
      </dgm:t>
    </dgm:pt>
    <dgm:pt modelId="{DECBDC7E-6161-49A2-B5E5-5C8E9C2A56F5}" type="sibTrans" cxnId="{551B1E53-0F2D-4549-B048-1A6EB5051C74}">
      <dgm:prSet/>
      <dgm:spPr/>
      <dgm:t>
        <a:bodyPr/>
        <a:lstStyle/>
        <a:p>
          <a:endParaRPr lang="en-US"/>
        </a:p>
      </dgm:t>
    </dgm:pt>
    <dgm:pt modelId="{B98DBCCC-3F78-4AA0-99ED-6DCE39374F77}">
      <dgm:prSet phldrT="[Text]"/>
      <dgm:spPr/>
      <dgm:t>
        <a:bodyPr/>
        <a:lstStyle/>
        <a:p>
          <a:endParaRPr lang="en-US" dirty="0" smtClean="0">
            <a:latin typeface="Verdana" panose="020B0604030504040204" pitchFamily="34" charset="0"/>
            <a:ea typeface="Verdana" panose="020B0604030504040204" pitchFamily="34" charset="0"/>
          </a:endParaRPr>
        </a:p>
        <a:p>
          <a:r>
            <a:rPr lang="en-US" dirty="0" smtClean="0">
              <a:latin typeface="Verdana" panose="020B0604030504040204" pitchFamily="34" charset="0"/>
              <a:ea typeface="Verdana" panose="020B0604030504040204" pitchFamily="34" charset="0"/>
            </a:rPr>
            <a:t>During the long-term operation of the blast furnace, a large amount of smelting process data will be accumulated, giving full play to the value of big data, and deep mining of the inherent laws contained in big data through artificial intelligence technology. </a:t>
          </a:r>
          <a:endParaRPr lang="en-US" dirty="0"/>
        </a:p>
      </dgm:t>
    </dgm:pt>
    <dgm:pt modelId="{AAF528E2-8140-4667-9D90-51DDC4BDBE77}" type="parTrans" cxnId="{3DA64FD5-8316-4AEA-8461-F0250A8A801E}">
      <dgm:prSet/>
      <dgm:spPr/>
      <dgm:t>
        <a:bodyPr/>
        <a:lstStyle/>
        <a:p>
          <a:endParaRPr lang="en-US"/>
        </a:p>
      </dgm:t>
    </dgm:pt>
    <dgm:pt modelId="{50069F19-863A-4FF4-9F0C-D789BFF5F2B6}" type="sibTrans" cxnId="{3DA64FD5-8316-4AEA-8461-F0250A8A801E}">
      <dgm:prSet/>
      <dgm:spPr/>
      <dgm:t>
        <a:bodyPr/>
        <a:lstStyle/>
        <a:p>
          <a:endParaRPr lang="en-US"/>
        </a:p>
      </dgm:t>
    </dgm:pt>
    <dgm:pt modelId="{515D5D22-C79B-4992-9FE3-1A437A03B8E8}">
      <dgm:prSet phldrT="[Text]"/>
      <dgm:spPr/>
      <dgm:t>
        <a:bodyPr/>
        <a:lstStyle/>
        <a:p>
          <a:endParaRPr lang="en-US" dirty="0" smtClean="0">
            <a:latin typeface="Verdana" panose="020B0604030504040204" pitchFamily="34" charset="0"/>
            <a:ea typeface="Verdana" panose="020B0604030504040204" pitchFamily="34" charset="0"/>
          </a:endParaRPr>
        </a:p>
        <a:p>
          <a:r>
            <a:rPr lang="en-US" dirty="0" smtClean="0">
              <a:latin typeface="Verdana" panose="020B0604030504040204" pitchFamily="34" charset="0"/>
              <a:ea typeface="Verdana" panose="020B0604030504040204" pitchFamily="34" charset="0"/>
            </a:rPr>
            <a:t>The blast furnace process is a "black box" operation, and the smelting process is unpredictable. </a:t>
          </a:r>
        </a:p>
        <a:p>
          <a:r>
            <a:rPr lang="en-US" dirty="0" smtClean="0">
              <a:latin typeface="Verdana" panose="020B0604030504040204" pitchFamily="34" charset="0"/>
              <a:ea typeface="Verdana" panose="020B0604030504040204" pitchFamily="34" charset="0"/>
            </a:rPr>
            <a:t>Effectively forecasting and guiding production, and finally achieving refined and intelligent ironmaking, is of great significance to the steel industry.</a:t>
          </a:r>
          <a:endParaRPr lang="en-US" dirty="0"/>
        </a:p>
      </dgm:t>
    </dgm:pt>
    <dgm:pt modelId="{8798C78B-FBC0-4690-8FCB-5B35733565BA}" type="parTrans" cxnId="{767EDD91-735D-4B52-A53B-2AF4A18CE5C6}">
      <dgm:prSet/>
      <dgm:spPr/>
      <dgm:t>
        <a:bodyPr/>
        <a:lstStyle/>
        <a:p>
          <a:endParaRPr lang="en-US"/>
        </a:p>
      </dgm:t>
    </dgm:pt>
    <dgm:pt modelId="{2E6DC915-BD9B-411F-9F58-DCF6F3B6A6BF}" type="sibTrans" cxnId="{767EDD91-735D-4B52-A53B-2AF4A18CE5C6}">
      <dgm:prSet/>
      <dgm:spPr/>
      <dgm:t>
        <a:bodyPr/>
        <a:lstStyle/>
        <a:p>
          <a:endParaRPr lang="en-US"/>
        </a:p>
      </dgm:t>
    </dgm:pt>
    <dgm:pt modelId="{11F46D7D-531F-4CF4-A9A1-36F79907A324}" type="pres">
      <dgm:prSet presAssocID="{9D8E336D-C0FA-4259-BFA4-ADDFBBF70424}" presName="Name0" presStyleCnt="0">
        <dgm:presLayoutVars>
          <dgm:dir/>
          <dgm:resizeHandles val="exact"/>
        </dgm:presLayoutVars>
      </dgm:prSet>
      <dgm:spPr/>
    </dgm:pt>
    <dgm:pt modelId="{3886D4D5-FA22-4166-BFA0-4F63FB07134B}" type="pres">
      <dgm:prSet presAssocID="{54714F03-7744-4154-AD8D-91080D28C088}" presName="node" presStyleLbl="node1" presStyleIdx="0" presStyleCnt="3">
        <dgm:presLayoutVars>
          <dgm:bulletEnabled val="1"/>
        </dgm:presLayoutVars>
      </dgm:prSet>
      <dgm:spPr/>
      <dgm:t>
        <a:bodyPr/>
        <a:lstStyle/>
        <a:p>
          <a:endParaRPr lang="en-US"/>
        </a:p>
      </dgm:t>
    </dgm:pt>
    <dgm:pt modelId="{53550712-4317-403A-AE9B-79A302D4849E}" type="pres">
      <dgm:prSet presAssocID="{DECBDC7E-6161-49A2-B5E5-5C8E9C2A56F5}" presName="sibTrans" presStyleCnt="0"/>
      <dgm:spPr/>
    </dgm:pt>
    <dgm:pt modelId="{DA8D20C2-052C-4BCE-BFBA-0BC4B3928D9D}" type="pres">
      <dgm:prSet presAssocID="{B98DBCCC-3F78-4AA0-99ED-6DCE39374F77}" presName="node" presStyleLbl="node1" presStyleIdx="1" presStyleCnt="3" custLinFactNeighborX="1">
        <dgm:presLayoutVars>
          <dgm:bulletEnabled val="1"/>
        </dgm:presLayoutVars>
      </dgm:prSet>
      <dgm:spPr/>
      <dgm:t>
        <a:bodyPr/>
        <a:lstStyle/>
        <a:p>
          <a:endParaRPr lang="en-US"/>
        </a:p>
      </dgm:t>
    </dgm:pt>
    <dgm:pt modelId="{5E4895A2-461E-4A4E-802A-74C756E6CC55}" type="pres">
      <dgm:prSet presAssocID="{50069F19-863A-4FF4-9F0C-D789BFF5F2B6}" presName="sibTrans" presStyleCnt="0"/>
      <dgm:spPr/>
    </dgm:pt>
    <dgm:pt modelId="{931E2299-281C-49A4-9D06-B5CC2BF4BD0D}" type="pres">
      <dgm:prSet presAssocID="{515D5D22-C79B-4992-9FE3-1A437A03B8E8}" presName="node" presStyleLbl="node1" presStyleIdx="2" presStyleCnt="3">
        <dgm:presLayoutVars>
          <dgm:bulletEnabled val="1"/>
        </dgm:presLayoutVars>
      </dgm:prSet>
      <dgm:spPr/>
      <dgm:t>
        <a:bodyPr/>
        <a:lstStyle/>
        <a:p>
          <a:endParaRPr lang="en-US"/>
        </a:p>
      </dgm:t>
    </dgm:pt>
  </dgm:ptLst>
  <dgm:cxnLst>
    <dgm:cxn modelId="{3DA64FD5-8316-4AEA-8461-F0250A8A801E}" srcId="{9D8E336D-C0FA-4259-BFA4-ADDFBBF70424}" destId="{B98DBCCC-3F78-4AA0-99ED-6DCE39374F77}" srcOrd="1" destOrd="0" parTransId="{AAF528E2-8140-4667-9D90-51DDC4BDBE77}" sibTransId="{50069F19-863A-4FF4-9F0C-D789BFF5F2B6}"/>
    <dgm:cxn modelId="{B1120750-10CD-43A3-B79A-62FEA07F04D9}" type="presOf" srcId="{9D8E336D-C0FA-4259-BFA4-ADDFBBF70424}" destId="{11F46D7D-531F-4CF4-A9A1-36F79907A324}" srcOrd="0" destOrd="0" presId="urn:microsoft.com/office/officeart/2005/8/layout/hList6"/>
    <dgm:cxn modelId="{432213D7-214C-46A6-9610-F0BC2E1FCB54}" type="presOf" srcId="{54714F03-7744-4154-AD8D-91080D28C088}" destId="{3886D4D5-FA22-4166-BFA0-4F63FB07134B}" srcOrd="0" destOrd="0" presId="urn:microsoft.com/office/officeart/2005/8/layout/hList6"/>
    <dgm:cxn modelId="{551B1E53-0F2D-4549-B048-1A6EB5051C74}" srcId="{9D8E336D-C0FA-4259-BFA4-ADDFBBF70424}" destId="{54714F03-7744-4154-AD8D-91080D28C088}" srcOrd="0" destOrd="0" parTransId="{4FCF8208-DD51-4370-8E03-CD0EF34F714D}" sibTransId="{DECBDC7E-6161-49A2-B5E5-5C8E9C2A56F5}"/>
    <dgm:cxn modelId="{FC4EC5CC-FDA4-4FBB-9D8D-8A01F8BD0E39}" type="presOf" srcId="{515D5D22-C79B-4992-9FE3-1A437A03B8E8}" destId="{931E2299-281C-49A4-9D06-B5CC2BF4BD0D}" srcOrd="0" destOrd="0" presId="urn:microsoft.com/office/officeart/2005/8/layout/hList6"/>
    <dgm:cxn modelId="{03C1EB8F-94E9-4B83-A362-67EFA6D96F25}" type="presOf" srcId="{B98DBCCC-3F78-4AA0-99ED-6DCE39374F77}" destId="{DA8D20C2-052C-4BCE-BFBA-0BC4B3928D9D}" srcOrd="0" destOrd="0" presId="urn:microsoft.com/office/officeart/2005/8/layout/hList6"/>
    <dgm:cxn modelId="{767EDD91-735D-4B52-A53B-2AF4A18CE5C6}" srcId="{9D8E336D-C0FA-4259-BFA4-ADDFBBF70424}" destId="{515D5D22-C79B-4992-9FE3-1A437A03B8E8}" srcOrd="2" destOrd="0" parTransId="{8798C78B-FBC0-4690-8FCB-5B35733565BA}" sibTransId="{2E6DC915-BD9B-411F-9F58-DCF6F3B6A6BF}"/>
    <dgm:cxn modelId="{6EA5A174-6319-426D-B0BD-7E15E1206511}" type="presParOf" srcId="{11F46D7D-531F-4CF4-A9A1-36F79907A324}" destId="{3886D4D5-FA22-4166-BFA0-4F63FB07134B}" srcOrd="0" destOrd="0" presId="urn:microsoft.com/office/officeart/2005/8/layout/hList6"/>
    <dgm:cxn modelId="{6F284B5B-38BB-44DB-8BC3-8CB94E090DC9}" type="presParOf" srcId="{11F46D7D-531F-4CF4-A9A1-36F79907A324}" destId="{53550712-4317-403A-AE9B-79A302D4849E}" srcOrd="1" destOrd="0" presId="urn:microsoft.com/office/officeart/2005/8/layout/hList6"/>
    <dgm:cxn modelId="{9C7B3377-A60A-44BB-8A66-D7E8E88934FB}" type="presParOf" srcId="{11F46D7D-531F-4CF4-A9A1-36F79907A324}" destId="{DA8D20C2-052C-4BCE-BFBA-0BC4B3928D9D}" srcOrd="2" destOrd="0" presId="urn:microsoft.com/office/officeart/2005/8/layout/hList6"/>
    <dgm:cxn modelId="{39FDB397-48B9-41F3-9A63-3A55C53B230D}" type="presParOf" srcId="{11F46D7D-531F-4CF4-A9A1-36F79907A324}" destId="{5E4895A2-461E-4A4E-802A-74C756E6CC55}" srcOrd="3" destOrd="0" presId="urn:microsoft.com/office/officeart/2005/8/layout/hList6"/>
    <dgm:cxn modelId="{D8414290-A2D7-494D-9F7C-42E4036A7F17}" type="presParOf" srcId="{11F46D7D-531F-4CF4-A9A1-36F79907A324}" destId="{931E2299-281C-49A4-9D06-B5CC2BF4BD0D}"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125F4EA-E2B1-4FE5-88B6-8D01094C601C}"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en-US"/>
        </a:p>
      </dgm:t>
    </dgm:pt>
    <dgm:pt modelId="{54437E9C-79C9-4F75-87C5-96AC89F3ED19}">
      <dgm:prSet phldrT="[Text]" custT="1"/>
      <dgm:spPr/>
      <dgm:t>
        <a:bodyPr/>
        <a:lstStyle/>
        <a:p>
          <a:r>
            <a:rPr lang="en-US" sz="1600" dirty="0" smtClean="0">
              <a:latin typeface="Verdana" panose="020B0604030504040204" pitchFamily="34" charset="0"/>
              <a:ea typeface="Verdana" panose="020B0604030504040204" pitchFamily="34" charset="0"/>
            </a:rPr>
            <a:t>Cleaning and processing of Blast Furnace data to identify the interrelationships between input and output parameters.</a:t>
          </a:r>
          <a:endParaRPr lang="en-US" sz="1600" dirty="0">
            <a:latin typeface="Verdana" panose="020B0604030504040204" pitchFamily="34" charset="0"/>
            <a:ea typeface="Verdana" panose="020B0604030504040204" pitchFamily="34" charset="0"/>
          </a:endParaRPr>
        </a:p>
      </dgm:t>
    </dgm:pt>
    <dgm:pt modelId="{D461756F-F1F8-4061-B038-D711E8DBB482}" type="parTrans" cxnId="{A2E5E817-6F6C-469A-8B88-9F391266C356}">
      <dgm:prSet/>
      <dgm:spPr/>
      <dgm:t>
        <a:bodyPr/>
        <a:lstStyle/>
        <a:p>
          <a:endParaRPr lang="en-US"/>
        </a:p>
      </dgm:t>
    </dgm:pt>
    <dgm:pt modelId="{F9A84B4C-76EF-4A4A-987B-2B76CA4AB8F5}" type="sibTrans" cxnId="{A2E5E817-6F6C-469A-8B88-9F391266C356}">
      <dgm:prSet/>
      <dgm:spPr/>
      <dgm:t>
        <a:bodyPr/>
        <a:lstStyle/>
        <a:p>
          <a:endParaRPr lang="en-US" sz="1400">
            <a:latin typeface="Verdana" panose="020B0604030504040204" pitchFamily="34" charset="0"/>
            <a:ea typeface="Verdana" panose="020B0604030504040204" pitchFamily="34" charset="0"/>
          </a:endParaRPr>
        </a:p>
      </dgm:t>
    </dgm:pt>
    <dgm:pt modelId="{B383B6DA-6364-45A4-B2E2-A8BC984937D9}">
      <dgm:prSet phldrT="[Text]" custT="1"/>
      <dgm:spPr/>
      <dgm:t>
        <a:bodyPr/>
        <a:lstStyle/>
        <a:p>
          <a:r>
            <a:rPr lang="en-US" sz="1600" dirty="0" smtClean="0">
              <a:latin typeface="Verdana" panose="020B0604030504040204" pitchFamily="34" charset="0"/>
              <a:ea typeface="Verdana" panose="020B0604030504040204" pitchFamily="34" charset="0"/>
            </a:rPr>
            <a:t>Energy balance in blast furnace by finding input and output energies</a:t>
          </a:r>
          <a:endParaRPr lang="en-US" sz="1600" dirty="0">
            <a:latin typeface="Verdana" panose="020B0604030504040204" pitchFamily="34" charset="0"/>
            <a:ea typeface="Verdana" panose="020B0604030504040204" pitchFamily="34" charset="0"/>
          </a:endParaRPr>
        </a:p>
      </dgm:t>
    </dgm:pt>
    <dgm:pt modelId="{C8D087A8-1388-47F7-A2A2-1D51B4E6601D}" type="parTrans" cxnId="{70D19408-8DB2-4321-91A3-E6F73CBC997D}">
      <dgm:prSet/>
      <dgm:spPr/>
      <dgm:t>
        <a:bodyPr/>
        <a:lstStyle/>
        <a:p>
          <a:endParaRPr lang="en-US"/>
        </a:p>
      </dgm:t>
    </dgm:pt>
    <dgm:pt modelId="{B6866EBA-BCF3-40B3-B371-3735B9DBCC71}" type="sibTrans" cxnId="{70D19408-8DB2-4321-91A3-E6F73CBC997D}">
      <dgm:prSet/>
      <dgm:spPr/>
      <dgm:t>
        <a:bodyPr/>
        <a:lstStyle/>
        <a:p>
          <a:endParaRPr lang="en-US"/>
        </a:p>
      </dgm:t>
    </dgm:pt>
    <dgm:pt modelId="{5F7D07B7-DE8F-4D30-B112-1E726ED483ED}">
      <dgm:prSet custT="1"/>
      <dgm:spPr/>
      <dgm:t>
        <a:bodyPr/>
        <a:lstStyle/>
        <a:p>
          <a:r>
            <a:rPr lang="en-US" sz="1600" dirty="0" smtClean="0">
              <a:latin typeface="Verdana" panose="020B0604030504040204" pitchFamily="34" charset="0"/>
              <a:ea typeface="Verdana" panose="020B0604030504040204" pitchFamily="34" charset="0"/>
            </a:rPr>
            <a:t>Optimization techniques to minimize input energy</a:t>
          </a:r>
        </a:p>
      </dgm:t>
    </dgm:pt>
    <dgm:pt modelId="{69126D34-0212-4E2D-AE5D-E124F92B9E34}" type="parTrans" cxnId="{6352F25B-E313-49C8-AD9E-5FF401048328}">
      <dgm:prSet/>
      <dgm:spPr/>
      <dgm:t>
        <a:bodyPr/>
        <a:lstStyle/>
        <a:p>
          <a:endParaRPr lang="en-US"/>
        </a:p>
      </dgm:t>
    </dgm:pt>
    <dgm:pt modelId="{979E0408-BB96-40B2-AA1E-7D6E78B9205E}" type="sibTrans" cxnId="{6352F25B-E313-49C8-AD9E-5FF401048328}">
      <dgm:prSet/>
      <dgm:spPr/>
      <dgm:t>
        <a:bodyPr/>
        <a:lstStyle/>
        <a:p>
          <a:endParaRPr lang="en-US"/>
        </a:p>
      </dgm:t>
    </dgm:pt>
    <dgm:pt modelId="{DCAF5486-B89F-4D2F-9F0E-BA113075F060}">
      <dgm:prSet custT="1"/>
      <dgm:spPr/>
      <dgm:t>
        <a:bodyPr/>
        <a:lstStyle/>
        <a:p>
          <a:r>
            <a:rPr lang="en-US" sz="1600" dirty="0" smtClean="0">
              <a:latin typeface="Verdana" panose="020B0604030504040204" pitchFamily="34" charset="0"/>
              <a:ea typeface="Verdana" panose="020B0604030504040204" pitchFamily="34" charset="0"/>
            </a:rPr>
            <a:t>Developing of constraints  on the input parameters using the interrelation of input and output parameters from historical data</a:t>
          </a:r>
        </a:p>
      </dgm:t>
    </dgm:pt>
    <dgm:pt modelId="{3DADBFEE-23A8-48E2-A87F-E64CEEBA0BD1}" type="parTrans" cxnId="{8B7A5E62-ED15-4969-968E-9A4C686E6681}">
      <dgm:prSet/>
      <dgm:spPr/>
      <dgm:t>
        <a:bodyPr/>
        <a:lstStyle/>
        <a:p>
          <a:endParaRPr lang="en-US"/>
        </a:p>
      </dgm:t>
    </dgm:pt>
    <dgm:pt modelId="{37E455E0-280A-4852-A055-E323C3995E07}" type="sibTrans" cxnId="{8B7A5E62-ED15-4969-968E-9A4C686E6681}">
      <dgm:prSet/>
      <dgm:spPr/>
      <dgm:t>
        <a:bodyPr/>
        <a:lstStyle/>
        <a:p>
          <a:endParaRPr lang="en-US"/>
        </a:p>
      </dgm:t>
    </dgm:pt>
    <dgm:pt modelId="{0CEBE5AA-C46B-4280-BC66-3E3291DA5AA0}" type="pres">
      <dgm:prSet presAssocID="{B125F4EA-E2B1-4FE5-88B6-8D01094C601C}" presName="Name0" presStyleCnt="0">
        <dgm:presLayoutVars>
          <dgm:chMax val="7"/>
          <dgm:chPref val="7"/>
          <dgm:dir/>
        </dgm:presLayoutVars>
      </dgm:prSet>
      <dgm:spPr/>
      <dgm:t>
        <a:bodyPr/>
        <a:lstStyle/>
        <a:p>
          <a:endParaRPr lang="en-US"/>
        </a:p>
      </dgm:t>
    </dgm:pt>
    <dgm:pt modelId="{B53E7AA7-4BF8-44F6-8D75-8DB787B35E15}" type="pres">
      <dgm:prSet presAssocID="{B125F4EA-E2B1-4FE5-88B6-8D01094C601C}" presName="Name1" presStyleCnt="0"/>
      <dgm:spPr/>
    </dgm:pt>
    <dgm:pt modelId="{84A6E7B7-5A50-4E2F-B08C-9DB34B46D260}" type="pres">
      <dgm:prSet presAssocID="{B125F4EA-E2B1-4FE5-88B6-8D01094C601C}" presName="cycle" presStyleCnt="0"/>
      <dgm:spPr/>
    </dgm:pt>
    <dgm:pt modelId="{3DD8B150-51D5-43DF-842E-CFFAE0BBC90B}" type="pres">
      <dgm:prSet presAssocID="{B125F4EA-E2B1-4FE5-88B6-8D01094C601C}" presName="srcNode" presStyleLbl="node1" presStyleIdx="0" presStyleCnt="4"/>
      <dgm:spPr/>
    </dgm:pt>
    <dgm:pt modelId="{8128816C-DC93-4BC6-ABCC-4AEFD26A1757}" type="pres">
      <dgm:prSet presAssocID="{B125F4EA-E2B1-4FE5-88B6-8D01094C601C}" presName="conn" presStyleLbl="parChTrans1D2" presStyleIdx="0" presStyleCnt="1"/>
      <dgm:spPr/>
      <dgm:t>
        <a:bodyPr/>
        <a:lstStyle/>
        <a:p>
          <a:endParaRPr lang="en-US"/>
        </a:p>
      </dgm:t>
    </dgm:pt>
    <dgm:pt modelId="{497A9AFC-8B2D-4628-B509-356336BD42D2}" type="pres">
      <dgm:prSet presAssocID="{B125F4EA-E2B1-4FE5-88B6-8D01094C601C}" presName="extraNode" presStyleLbl="node1" presStyleIdx="0" presStyleCnt="4"/>
      <dgm:spPr/>
    </dgm:pt>
    <dgm:pt modelId="{3E5CCE2B-A5CA-4CC5-95C8-3D830351EEF5}" type="pres">
      <dgm:prSet presAssocID="{B125F4EA-E2B1-4FE5-88B6-8D01094C601C}" presName="dstNode" presStyleLbl="node1" presStyleIdx="0" presStyleCnt="4"/>
      <dgm:spPr/>
    </dgm:pt>
    <dgm:pt modelId="{52E55620-7871-44AF-8E29-AD4A1F68564C}" type="pres">
      <dgm:prSet presAssocID="{54437E9C-79C9-4F75-87C5-96AC89F3ED19}" presName="text_1" presStyleLbl="node1" presStyleIdx="0" presStyleCnt="4" custLinFactNeighborX="-585" custLinFactNeighborY="2133">
        <dgm:presLayoutVars>
          <dgm:bulletEnabled val="1"/>
        </dgm:presLayoutVars>
      </dgm:prSet>
      <dgm:spPr/>
      <dgm:t>
        <a:bodyPr/>
        <a:lstStyle/>
        <a:p>
          <a:endParaRPr lang="en-US"/>
        </a:p>
      </dgm:t>
    </dgm:pt>
    <dgm:pt modelId="{1F93CA5A-A1A2-40FB-B1B3-03270D441C2C}" type="pres">
      <dgm:prSet presAssocID="{54437E9C-79C9-4F75-87C5-96AC89F3ED19}" presName="accent_1" presStyleCnt="0"/>
      <dgm:spPr/>
    </dgm:pt>
    <dgm:pt modelId="{0C8FEB0D-8DC9-4FCC-BFE3-E60B0FF9BD3E}" type="pres">
      <dgm:prSet presAssocID="{54437E9C-79C9-4F75-87C5-96AC89F3ED19}" presName="accentRepeatNode" presStyleLbl="solidFgAcc1" presStyleIdx="0" presStyleCnt="4"/>
      <dgm:spPr>
        <a:solidFill>
          <a:schemeClr val="accent1">
            <a:lumMod val="40000"/>
            <a:lumOff val="60000"/>
          </a:schemeClr>
        </a:solidFill>
        <a:ln>
          <a:solidFill>
            <a:schemeClr val="tx2">
              <a:lumMod val="60000"/>
              <a:lumOff val="40000"/>
            </a:schemeClr>
          </a:solidFill>
        </a:ln>
      </dgm:spPr>
      <dgm:t>
        <a:bodyPr/>
        <a:lstStyle/>
        <a:p>
          <a:endParaRPr lang="en-US"/>
        </a:p>
      </dgm:t>
    </dgm:pt>
    <dgm:pt modelId="{E33EEFC0-081F-4B83-89FC-79AA0680C58E}" type="pres">
      <dgm:prSet presAssocID="{B383B6DA-6364-45A4-B2E2-A8BC984937D9}" presName="text_2" presStyleLbl="node1" presStyleIdx="1" presStyleCnt="4">
        <dgm:presLayoutVars>
          <dgm:bulletEnabled val="1"/>
        </dgm:presLayoutVars>
      </dgm:prSet>
      <dgm:spPr/>
      <dgm:t>
        <a:bodyPr/>
        <a:lstStyle/>
        <a:p>
          <a:endParaRPr lang="en-US"/>
        </a:p>
      </dgm:t>
    </dgm:pt>
    <dgm:pt modelId="{561A53A3-8D9B-45A1-88F1-3D2A856B6B10}" type="pres">
      <dgm:prSet presAssocID="{B383B6DA-6364-45A4-B2E2-A8BC984937D9}" presName="accent_2" presStyleCnt="0"/>
      <dgm:spPr/>
    </dgm:pt>
    <dgm:pt modelId="{59E555BE-FA6B-4C5A-A561-CB2E196C6BB9}" type="pres">
      <dgm:prSet presAssocID="{B383B6DA-6364-45A4-B2E2-A8BC984937D9}" presName="accentRepeatNode" presStyleLbl="solidFgAcc1" presStyleIdx="1" presStyleCnt="4"/>
      <dgm:spPr>
        <a:solidFill>
          <a:schemeClr val="accent1">
            <a:lumMod val="40000"/>
            <a:lumOff val="60000"/>
          </a:schemeClr>
        </a:solidFill>
        <a:ln>
          <a:solidFill>
            <a:schemeClr val="tx2">
              <a:lumMod val="60000"/>
              <a:lumOff val="40000"/>
            </a:schemeClr>
          </a:solidFill>
        </a:ln>
      </dgm:spPr>
    </dgm:pt>
    <dgm:pt modelId="{6ACF86FB-CCEA-4DE8-A5CA-24D75083835C}" type="pres">
      <dgm:prSet presAssocID="{DCAF5486-B89F-4D2F-9F0E-BA113075F060}" presName="text_3" presStyleLbl="node1" presStyleIdx="2" presStyleCnt="4" custLinFactNeighborX="-107" custLinFactNeighborY="-2353">
        <dgm:presLayoutVars>
          <dgm:bulletEnabled val="1"/>
        </dgm:presLayoutVars>
      </dgm:prSet>
      <dgm:spPr/>
      <dgm:t>
        <a:bodyPr/>
        <a:lstStyle/>
        <a:p>
          <a:endParaRPr lang="en-US"/>
        </a:p>
      </dgm:t>
    </dgm:pt>
    <dgm:pt modelId="{9BD54031-AF02-46B0-91FE-C9D1043BD1BA}" type="pres">
      <dgm:prSet presAssocID="{DCAF5486-B89F-4D2F-9F0E-BA113075F060}" presName="accent_3" presStyleCnt="0"/>
      <dgm:spPr/>
    </dgm:pt>
    <dgm:pt modelId="{F78843E7-4AC4-4096-B718-2D74E14C3198}" type="pres">
      <dgm:prSet presAssocID="{DCAF5486-B89F-4D2F-9F0E-BA113075F060}" presName="accentRepeatNode" presStyleLbl="solidFgAcc1" presStyleIdx="2" presStyleCnt="4" custLinFactNeighborX="-2630" custLinFactNeighborY="-512"/>
      <dgm:spPr>
        <a:solidFill>
          <a:schemeClr val="accent1">
            <a:lumMod val="40000"/>
            <a:lumOff val="60000"/>
          </a:schemeClr>
        </a:solidFill>
        <a:ln>
          <a:solidFill>
            <a:schemeClr val="tx2">
              <a:lumMod val="60000"/>
              <a:lumOff val="40000"/>
            </a:schemeClr>
          </a:solidFill>
        </a:ln>
      </dgm:spPr>
    </dgm:pt>
    <dgm:pt modelId="{61650419-49CD-4C9B-8073-1859838B1880}" type="pres">
      <dgm:prSet presAssocID="{5F7D07B7-DE8F-4D30-B112-1E726ED483ED}" presName="text_4" presStyleLbl="node1" presStyleIdx="3" presStyleCnt="4">
        <dgm:presLayoutVars>
          <dgm:bulletEnabled val="1"/>
        </dgm:presLayoutVars>
      </dgm:prSet>
      <dgm:spPr/>
      <dgm:t>
        <a:bodyPr/>
        <a:lstStyle/>
        <a:p>
          <a:endParaRPr lang="en-US"/>
        </a:p>
      </dgm:t>
    </dgm:pt>
    <dgm:pt modelId="{5B25EC78-17C3-477A-9EEC-C9C0E0F6134A}" type="pres">
      <dgm:prSet presAssocID="{5F7D07B7-DE8F-4D30-B112-1E726ED483ED}" presName="accent_4" presStyleCnt="0"/>
      <dgm:spPr/>
    </dgm:pt>
    <dgm:pt modelId="{9932E8E3-6A5A-4F53-80AB-D86FBBD6FA25}" type="pres">
      <dgm:prSet presAssocID="{5F7D07B7-DE8F-4D30-B112-1E726ED483ED}" presName="accentRepeatNode" presStyleLbl="solidFgAcc1" presStyleIdx="3" presStyleCnt="4"/>
      <dgm:spPr>
        <a:solidFill>
          <a:schemeClr val="accent1">
            <a:lumMod val="40000"/>
            <a:lumOff val="60000"/>
          </a:schemeClr>
        </a:solidFill>
        <a:ln>
          <a:solidFill>
            <a:schemeClr val="tx2">
              <a:lumMod val="60000"/>
              <a:lumOff val="40000"/>
            </a:schemeClr>
          </a:solidFill>
        </a:ln>
      </dgm:spPr>
    </dgm:pt>
  </dgm:ptLst>
  <dgm:cxnLst>
    <dgm:cxn modelId="{CEBB9A86-E7A0-4CB7-A5E2-F00B6978EEAC}" type="presOf" srcId="{54437E9C-79C9-4F75-87C5-96AC89F3ED19}" destId="{52E55620-7871-44AF-8E29-AD4A1F68564C}" srcOrd="0" destOrd="0" presId="urn:microsoft.com/office/officeart/2008/layout/VerticalCurvedList"/>
    <dgm:cxn modelId="{6352F25B-E313-49C8-AD9E-5FF401048328}" srcId="{B125F4EA-E2B1-4FE5-88B6-8D01094C601C}" destId="{5F7D07B7-DE8F-4D30-B112-1E726ED483ED}" srcOrd="3" destOrd="0" parTransId="{69126D34-0212-4E2D-AE5D-E124F92B9E34}" sibTransId="{979E0408-BB96-40B2-AA1E-7D6E78B9205E}"/>
    <dgm:cxn modelId="{BB5ACF08-281B-438A-BE4E-C2D81C4747E1}" type="presOf" srcId="{B125F4EA-E2B1-4FE5-88B6-8D01094C601C}" destId="{0CEBE5AA-C46B-4280-BC66-3E3291DA5AA0}" srcOrd="0" destOrd="0" presId="urn:microsoft.com/office/officeart/2008/layout/VerticalCurvedList"/>
    <dgm:cxn modelId="{FA1AD5DD-9125-484F-96C9-7B736C4D5EF5}" type="presOf" srcId="{F9A84B4C-76EF-4A4A-987B-2B76CA4AB8F5}" destId="{8128816C-DC93-4BC6-ABCC-4AEFD26A1757}" srcOrd="0" destOrd="0" presId="urn:microsoft.com/office/officeart/2008/layout/VerticalCurvedList"/>
    <dgm:cxn modelId="{1FAB6F88-D967-4162-B7FE-4B099B0BB16E}" type="presOf" srcId="{B383B6DA-6364-45A4-B2E2-A8BC984937D9}" destId="{E33EEFC0-081F-4B83-89FC-79AA0680C58E}" srcOrd="0" destOrd="0" presId="urn:microsoft.com/office/officeart/2008/layout/VerticalCurvedList"/>
    <dgm:cxn modelId="{8B7A5E62-ED15-4969-968E-9A4C686E6681}" srcId="{B125F4EA-E2B1-4FE5-88B6-8D01094C601C}" destId="{DCAF5486-B89F-4D2F-9F0E-BA113075F060}" srcOrd="2" destOrd="0" parTransId="{3DADBFEE-23A8-48E2-A87F-E64CEEBA0BD1}" sibTransId="{37E455E0-280A-4852-A055-E323C3995E07}"/>
    <dgm:cxn modelId="{BF1CFD61-AED9-425D-B5E1-11CEBD2317FB}" type="presOf" srcId="{5F7D07B7-DE8F-4D30-B112-1E726ED483ED}" destId="{61650419-49CD-4C9B-8073-1859838B1880}" srcOrd="0" destOrd="0" presId="urn:microsoft.com/office/officeart/2008/layout/VerticalCurvedList"/>
    <dgm:cxn modelId="{BC0147AC-E54D-4AA3-8450-7DF825722565}" type="presOf" srcId="{DCAF5486-B89F-4D2F-9F0E-BA113075F060}" destId="{6ACF86FB-CCEA-4DE8-A5CA-24D75083835C}" srcOrd="0" destOrd="0" presId="urn:microsoft.com/office/officeart/2008/layout/VerticalCurvedList"/>
    <dgm:cxn modelId="{70D19408-8DB2-4321-91A3-E6F73CBC997D}" srcId="{B125F4EA-E2B1-4FE5-88B6-8D01094C601C}" destId="{B383B6DA-6364-45A4-B2E2-A8BC984937D9}" srcOrd="1" destOrd="0" parTransId="{C8D087A8-1388-47F7-A2A2-1D51B4E6601D}" sibTransId="{B6866EBA-BCF3-40B3-B371-3735B9DBCC71}"/>
    <dgm:cxn modelId="{A2E5E817-6F6C-469A-8B88-9F391266C356}" srcId="{B125F4EA-E2B1-4FE5-88B6-8D01094C601C}" destId="{54437E9C-79C9-4F75-87C5-96AC89F3ED19}" srcOrd="0" destOrd="0" parTransId="{D461756F-F1F8-4061-B038-D711E8DBB482}" sibTransId="{F9A84B4C-76EF-4A4A-987B-2B76CA4AB8F5}"/>
    <dgm:cxn modelId="{E0C0AA3A-930B-4A6A-98F1-CB524F8900B1}" type="presParOf" srcId="{0CEBE5AA-C46B-4280-BC66-3E3291DA5AA0}" destId="{B53E7AA7-4BF8-44F6-8D75-8DB787B35E15}" srcOrd="0" destOrd="0" presId="urn:microsoft.com/office/officeart/2008/layout/VerticalCurvedList"/>
    <dgm:cxn modelId="{A5098B92-FA93-46C5-9A45-66B7D7B87B9E}" type="presParOf" srcId="{B53E7AA7-4BF8-44F6-8D75-8DB787B35E15}" destId="{84A6E7B7-5A50-4E2F-B08C-9DB34B46D260}" srcOrd="0" destOrd="0" presId="urn:microsoft.com/office/officeart/2008/layout/VerticalCurvedList"/>
    <dgm:cxn modelId="{0547CA5D-73B6-4389-9062-885EA1E39CA8}" type="presParOf" srcId="{84A6E7B7-5A50-4E2F-B08C-9DB34B46D260}" destId="{3DD8B150-51D5-43DF-842E-CFFAE0BBC90B}" srcOrd="0" destOrd="0" presId="urn:microsoft.com/office/officeart/2008/layout/VerticalCurvedList"/>
    <dgm:cxn modelId="{D7CAF047-BC22-4AE3-B2A4-7C091904EC6B}" type="presParOf" srcId="{84A6E7B7-5A50-4E2F-B08C-9DB34B46D260}" destId="{8128816C-DC93-4BC6-ABCC-4AEFD26A1757}" srcOrd="1" destOrd="0" presId="urn:microsoft.com/office/officeart/2008/layout/VerticalCurvedList"/>
    <dgm:cxn modelId="{C51CE273-990D-4F42-8E8F-B6025BAE5A73}" type="presParOf" srcId="{84A6E7B7-5A50-4E2F-B08C-9DB34B46D260}" destId="{497A9AFC-8B2D-4628-B509-356336BD42D2}" srcOrd="2" destOrd="0" presId="urn:microsoft.com/office/officeart/2008/layout/VerticalCurvedList"/>
    <dgm:cxn modelId="{8AE1BA29-917D-4ED8-B974-13A85C6803D5}" type="presParOf" srcId="{84A6E7B7-5A50-4E2F-B08C-9DB34B46D260}" destId="{3E5CCE2B-A5CA-4CC5-95C8-3D830351EEF5}" srcOrd="3" destOrd="0" presId="urn:microsoft.com/office/officeart/2008/layout/VerticalCurvedList"/>
    <dgm:cxn modelId="{A0EBDCC7-713E-4BD4-BF8A-914322451560}" type="presParOf" srcId="{B53E7AA7-4BF8-44F6-8D75-8DB787B35E15}" destId="{52E55620-7871-44AF-8E29-AD4A1F68564C}" srcOrd="1" destOrd="0" presId="urn:microsoft.com/office/officeart/2008/layout/VerticalCurvedList"/>
    <dgm:cxn modelId="{6EA94D29-6ECA-42C0-A74E-A1AAA402F4FC}" type="presParOf" srcId="{B53E7AA7-4BF8-44F6-8D75-8DB787B35E15}" destId="{1F93CA5A-A1A2-40FB-B1B3-03270D441C2C}" srcOrd="2" destOrd="0" presId="urn:microsoft.com/office/officeart/2008/layout/VerticalCurvedList"/>
    <dgm:cxn modelId="{B78C1BDF-039F-4B76-8F88-BA00BF3727CC}" type="presParOf" srcId="{1F93CA5A-A1A2-40FB-B1B3-03270D441C2C}" destId="{0C8FEB0D-8DC9-4FCC-BFE3-E60B0FF9BD3E}" srcOrd="0" destOrd="0" presId="urn:microsoft.com/office/officeart/2008/layout/VerticalCurvedList"/>
    <dgm:cxn modelId="{F9E56CE5-6D9E-46A7-A920-852DD488FB2D}" type="presParOf" srcId="{B53E7AA7-4BF8-44F6-8D75-8DB787B35E15}" destId="{E33EEFC0-081F-4B83-89FC-79AA0680C58E}" srcOrd="3" destOrd="0" presId="urn:microsoft.com/office/officeart/2008/layout/VerticalCurvedList"/>
    <dgm:cxn modelId="{1C3304F7-AAC0-43E5-8B99-16B0AE37D399}" type="presParOf" srcId="{B53E7AA7-4BF8-44F6-8D75-8DB787B35E15}" destId="{561A53A3-8D9B-45A1-88F1-3D2A856B6B10}" srcOrd="4" destOrd="0" presId="urn:microsoft.com/office/officeart/2008/layout/VerticalCurvedList"/>
    <dgm:cxn modelId="{31D6C447-BADB-46AC-9DC8-446D011BF5B9}" type="presParOf" srcId="{561A53A3-8D9B-45A1-88F1-3D2A856B6B10}" destId="{59E555BE-FA6B-4C5A-A561-CB2E196C6BB9}" srcOrd="0" destOrd="0" presId="urn:microsoft.com/office/officeart/2008/layout/VerticalCurvedList"/>
    <dgm:cxn modelId="{2C6A06DC-5916-4745-B872-A2308B4DEED7}" type="presParOf" srcId="{B53E7AA7-4BF8-44F6-8D75-8DB787B35E15}" destId="{6ACF86FB-CCEA-4DE8-A5CA-24D75083835C}" srcOrd="5" destOrd="0" presId="urn:microsoft.com/office/officeart/2008/layout/VerticalCurvedList"/>
    <dgm:cxn modelId="{80C52DB6-D56A-4198-A691-CC8D41D61749}" type="presParOf" srcId="{B53E7AA7-4BF8-44F6-8D75-8DB787B35E15}" destId="{9BD54031-AF02-46B0-91FE-C9D1043BD1BA}" srcOrd="6" destOrd="0" presId="urn:microsoft.com/office/officeart/2008/layout/VerticalCurvedList"/>
    <dgm:cxn modelId="{88314767-0BEC-4820-BD6A-A661AD1C89CC}" type="presParOf" srcId="{9BD54031-AF02-46B0-91FE-C9D1043BD1BA}" destId="{F78843E7-4AC4-4096-B718-2D74E14C3198}" srcOrd="0" destOrd="0" presId="urn:microsoft.com/office/officeart/2008/layout/VerticalCurvedList"/>
    <dgm:cxn modelId="{2695BED2-A590-4690-B7C1-7FD3DCAE4680}" type="presParOf" srcId="{B53E7AA7-4BF8-44F6-8D75-8DB787B35E15}" destId="{61650419-49CD-4C9B-8073-1859838B1880}" srcOrd="7" destOrd="0" presId="urn:microsoft.com/office/officeart/2008/layout/VerticalCurvedList"/>
    <dgm:cxn modelId="{0B158CC1-BB8E-4144-92FF-1EFAA62E72BD}" type="presParOf" srcId="{B53E7AA7-4BF8-44F6-8D75-8DB787B35E15}" destId="{5B25EC78-17C3-477A-9EEC-C9C0E0F6134A}" srcOrd="8" destOrd="0" presId="urn:microsoft.com/office/officeart/2008/layout/VerticalCurvedList"/>
    <dgm:cxn modelId="{E9B58304-7B8A-4858-ACCF-8DCCC28CAB2B}" type="presParOf" srcId="{5B25EC78-17C3-477A-9EEC-C9C0E0F6134A}" destId="{9932E8E3-6A5A-4F53-80AB-D86FBBD6FA2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BA1C6D-2DF0-4B71-BC28-EF02DDF46E5B}" type="doc">
      <dgm:prSet loTypeId="urn:microsoft.com/office/officeart/2005/8/layout/hList6" loCatId="list" qsTypeId="urn:microsoft.com/office/officeart/2005/8/quickstyle/simple4" qsCatId="simple" csTypeId="urn:microsoft.com/office/officeart/2005/8/colors/accent1_2" csCatId="accent1" phldr="1"/>
      <dgm:spPr/>
      <dgm:t>
        <a:bodyPr/>
        <a:lstStyle/>
        <a:p>
          <a:endParaRPr lang="en-US"/>
        </a:p>
      </dgm:t>
    </dgm:pt>
    <dgm:pt modelId="{2C1EB9E3-344B-4766-9F35-0C3D701BF2B8}">
      <dgm:prSet phldrT="[Text]"/>
      <dgm:spPr/>
      <dgm:t>
        <a:bodyPr/>
        <a:lstStyle/>
        <a:p>
          <a:r>
            <a:rPr lang="en-US" dirty="0" smtClean="0">
              <a:latin typeface="Verdana" panose="020B0604030504040204" pitchFamily="34" charset="0"/>
              <a:ea typeface="Verdana" panose="020B0604030504040204" pitchFamily="34" charset="0"/>
            </a:rPr>
            <a:t>There is a time lag of about 4-5 hours, from the time when the raw material is added and the time when the output material is tapped due to the pressure </a:t>
          </a:r>
          <a:r>
            <a:rPr lang="en-US" dirty="0" smtClean="0">
              <a:latin typeface="Verdana" panose="020B0604030504040204" pitchFamily="34" charset="0"/>
              <a:ea typeface="Verdana" panose="020B0604030504040204" pitchFamily="34" charset="0"/>
            </a:rPr>
            <a:t>applied by hot blast gas. </a:t>
          </a:r>
          <a:r>
            <a:rPr lang="en-US" dirty="0" smtClean="0">
              <a:latin typeface="Verdana" panose="020B0604030504040204" pitchFamily="34" charset="0"/>
              <a:ea typeface="Verdana" panose="020B0604030504040204" pitchFamily="34" charset="0"/>
            </a:rPr>
            <a:t>This leads to decrease in speed of descent of material dropped from top of the Blast Furnace  </a:t>
          </a:r>
          <a:endParaRPr lang="en-US" dirty="0"/>
        </a:p>
      </dgm:t>
    </dgm:pt>
    <dgm:pt modelId="{B948CE9F-5D25-46F7-BE2C-C9EB31837A71}" type="parTrans" cxnId="{2F716EB9-4814-42A1-9751-FCA94F6597EF}">
      <dgm:prSet/>
      <dgm:spPr/>
      <dgm:t>
        <a:bodyPr/>
        <a:lstStyle/>
        <a:p>
          <a:endParaRPr lang="en-US"/>
        </a:p>
      </dgm:t>
    </dgm:pt>
    <dgm:pt modelId="{10DC58E6-948C-4CDF-9F4E-7257969496B0}" type="sibTrans" cxnId="{2F716EB9-4814-42A1-9751-FCA94F6597EF}">
      <dgm:prSet/>
      <dgm:spPr/>
      <dgm:t>
        <a:bodyPr/>
        <a:lstStyle/>
        <a:p>
          <a:endParaRPr lang="en-US"/>
        </a:p>
      </dgm:t>
    </dgm:pt>
    <dgm:pt modelId="{17F4FA1F-F224-4E6C-8758-2C1C8AA4055C}">
      <dgm:prSet phldrT="[Text]"/>
      <dgm:spPr/>
      <dgm:t>
        <a:bodyPr/>
        <a:lstStyle/>
        <a:p>
          <a:r>
            <a:rPr lang="en-US" dirty="0" smtClean="0">
              <a:latin typeface="Verdana" panose="020B0604030504040204" pitchFamily="34" charset="0"/>
              <a:ea typeface="Verdana" panose="020B0604030504040204" pitchFamily="34" charset="0"/>
            </a:rPr>
            <a:t>The Principal components are Burden descent rate, Top gas Temperature, Gas Utilization, Differential Pressures and gas Permeability resistance for predicting the Hot Metal Temperature. Channeling is a non-homogenous condition of the Burden distribution where ascending gases tries to preferentially flow, resulting in changes in the Gas flow pattern in top gas and subsequently affects the Burden movement down the stock line.</a:t>
          </a:r>
          <a:endParaRPr lang="en-US" dirty="0"/>
        </a:p>
      </dgm:t>
    </dgm:pt>
    <dgm:pt modelId="{9D3EC524-DA47-4DC6-A251-2D870783074E}" type="parTrans" cxnId="{CB2F4F63-FA08-46A4-9990-300A875D4725}">
      <dgm:prSet/>
      <dgm:spPr/>
      <dgm:t>
        <a:bodyPr/>
        <a:lstStyle/>
        <a:p>
          <a:endParaRPr lang="en-US"/>
        </a:p>
      </dgm:t>
    </dgm:pt>
    <dgm:pt modelId="{F4AC5968-C677-49C1-A4A5-4774DA1EE2E2}" type="sibTrans" cxnId="{CB2F4F63-FA08-46A4-9990-300A875D4725}">
      <dgm:prSet/>
      <dgm:spPr/>
      <dgm:t>
        <a:bodyPr/>
        <a:lstStyle/>
        <a:p>
          <a:endParaRPr lang="en-US"/>
        </a:p>
      </dgm:t>
    </dgm:pt>
    <dgm:pt modelId="{0881B0A9-3008-4725-B91F-52CBC33FE5BE}">
      <dgm:prSet phldrT="[Text]"/>
      <dgm:spPr/>
      <dgm:t>
        <a:bodyPr/>
        <a:lstStyle/>
        <a:p>
          <a:r>
            <a:rPr lang="en-US" dirty="0" smtClean="0">
              <a:latin typeface="Verdana" panose="020B0604030504040204" pitchFamily="34" charset="0"/>
              <a:ea typeface="Verdana" panose="020B0604030504040204" pitchFamily="34" charset="0"/>
            </a:rPr>
            <a:t>During residence of hot metal inside the blast furnace, the hot metal comes in contact with dead man zone and hearth refractory, wherein the gradual thermal loss takes place. So, the longer it remains in the blast furnace the cooler it’s temperature gets.</a:t>
          </a:r>
          <a:endParaRPr lang="en-US" dirty="0"/>
        </a:p>
      </dgm:t>
    </dgm:pt>
    <dgm:pt modelId="{432FA9D8-90F1-4A94-BF6B-F1E1334569F0}" type="sibTrans" cxnId="{32FC4531-F81D-4075-8E0C-585AE741EAA2}">
      <dgm:prSet/>
      <dgm:spPr/>
      <dgm:t>
        <a:bodyPr/>
        <a:lstStyle/>
        <a:p>
          <a:endParaRPr lang="en-US"/>
        </a:p>
      </dgm:t>
    </dgm:pt>
    <dgm:pt modelId="{D8ADC203-5A6A-4B71-9DBF-B5DFFE617DA7}" type="parTrans" cxnId="{32FC4531-F81D-4075-8E0C-585AE741EAA2}">
      <dgm:prSet/>
      <dgm:spPr/>
      <dgm:t>
        <a:bodyPr/>
        <a:lstStyle/>
        <a:p>
          <a:endParaRPr lang="en-US"/>
        </a:p>
      </dgm:t>
    </dgm:pt>
    <dgm:pt modelId="{8DAE3DFA-358D-4BB3-9EA9-3FB992AF645E}" type="pres">
      <dgm:prSet presAssocID="{EABA1C6D-2DF0-4B71-BC28-EF02DDF46E5B}" presName="Name0" presStyleCnt="0">
        <dgm:presLayoutVars>
          <dgm:dir/>
          <dgm:resizeHandles val="exact"/>
        </dgm:presLayoutVars>
      </dgm:prSet>
      <dgm:spPr/>
      <dgm:t>
        <a:bodyPr/>
        <a:lstStyle/>
        <a:p>
          <a:endParaRPr lang="en-US"/>
        </a:p>
      </dgm:t>
    </dgm:pt>
    <dgm:pt modelId="{17021CB8-9713-4034-91AC-DCA6BFF0B7C0}" type="pres">
      <dgm:prSet presAssocID="{2C1EB9E3-344B-4766-9F35-0C3D701BF2B8}" presName="node" presStyleLbl="node1" presStyleIdx="0" presStyleCnt="3">
        <dgm:presLayoutVars>
          <dgm:bulletEnabled val="1"/>
        </dgm:presLayoutVars>
      </dgm:prSet>
      <dgm:spPr/>
      <dgm:t>
        <a:bodyPr/>
        <a:lstStyle/>
        <a:p>
          <a:endParaRPr lang="en-US"/>
        </a:p>
      </dgm:t>
    </dgm:pt>
    <dgm:pt modelId="{224C1D29-A770-460E-BFE8-1D647780E960}" type="pres">
      <dgm:prSet presAssocID="{10DC58E6-948C-4CDF-9F4E-7257969496B0}" presName="sibTrans" presStyleCnt="0"/>
      <dgm:spPr/>
      <dgm:t>
        <a:bodyPr/>
        <a:lstStyle/>
        <a:p>
          <a:endParaRPr lang="en-US"/>
        </a:p>
      </dgm:t>
    </dgm:pt>
    <dgm:pt modelId="{44768B14-A005-43BA-8760-2ED146A06CF1}" type="pres">
      <dgm:prSet presAssocID="{0881B0A9-3008-4725-B91F-52CBC33FE5BE}" presName="node" presStyleLbl="node1" presStyleIdx="1" presStyleCnt="3" custLinFactNeighborX="1875" custLinFactNeighborY="0">
        <dgm:presLayoutVars>
          <dgm:bulletEnabled val="1"/>
        </dgm:presLayoutVars>
      </dgm:prSet>
      <dgm:spPr/>
      <dgm:t>
        <a:bodyPr/>
        <a:lstStyle/>
        <a:p>
          <a:endParaRPr lang="en-US"/>
        </a:p>
      </dgm:t>
    </dgm:pt>
    <dgm:pt modelId="{803201D0-1DE9-4B6D-8500-9B055B95B116}" type="pres">
      <dgm:prSet presAssocID="{432FA9D8-90F1-4A94-BF6B-F1E1334569F0}" presName="sibTrans" presStyleCnt="0"/>
      <dgm:spPr/>
      <dgm:t>
        <a:bodyPr/>
        <a:lstStyle/>
        <a:p>
          <a:endParaRPr lang="en-US"/>
        </a:p>
      </dgm:t>
    </dgm:pt>
    <dgm:pt modelId="{6AF620DB-EE17-442C-AFDE-ACCA58360FF2}" type="pres">
      <dgm:prSet presAssocID="{17F4FA1F-F224-4E6C-8758-2C1C8AA4055C}" presName="node" presStyleLbl="node1" presStyleIdx="2" presStyleCnt="3" custLinFactNeighborX="2">
        <dgm:presLayoutVars>
          <dgm:bulletEnabled val="1"/>
        </dgm:presLayoutVars>
      </dgm:prSet>
      <dgm:spPr/>
      <dgm:t>
        <a:bodyPr/>
        <a:lstStyle/>
        <a:p>
          <a:endParaRPr lang="en-US"/>
        </a:p>
      </dgm:t>
    </dgm:pt>
  </dgm:ptLst>
  <dgm:cxnLst>
    <dgm:cxn modelId="{19FFED6F-8B83-4001-B685-B97766038A38}" type="presOf" srcId="{EABA1C6D-2DF0-4B71-BC28-EF02DDF46E5B}" destId="{8DAE3DFA-358D-4BB3-9EA9-3FB992AF645E}" srcOrd="0" destOrd="0" presId="urn:microsoft.com/office/officeart/2005/8/layout/hList6"/>
    <dgm:cxn modelId="{A3D232D2-3BF1-47F4-AE1D-789FAB888A57}" type="presOf" srcId="{2C1EB9E3-344B-4766-9F35-0C3D701BF2B8}" destId="{17021CB8-9713-4034-91AC-DCA6BFF0B7C0}" srcOrd="0" destOrd="0" presId="urn:microsoft.com/office/officeart/2005/8/layout/hList6"/>
    <dgm:cxn modelId="{C1AC50A1-C05D-4C31-8FC2-B28471C73792}" type="presOf" srcId="{17F4FA1F-F224-4E6C-8758-2C1C8AA4055C}" destId="{6AF620DB-EE17-442C-AFDE-ACCA58360FF2}" srcOrd="0" destOrd="0" presId="urn:microsoft.com/office/officeart/2005/8/layout/hList6"/>
    <dgm:cxn modelId="{2F716EB9-4814-42A1-9751-FCA94F6597EF}" srcId="{EABA1C6D-2DF0-4B71-BC28-EF02DDF46E5B}" destId="{2C1EB9E3-344B-4766-9F35-0C3D701BF2B8}" srcOrd="0" destOrd="0" parTransId="{B948CE9F-5D25-46F7-BE2C-C9EB31837A71}" sibTransId="{10DC58E6-948C-4CDF-9F4E-7257969496B0}"/>
    <dgm:cxn modelId="{CB2F4F63-FA08-46A4-9990-300A875D4725}" srcId="{EABA1C6D-2DF0-4B71-BC28-EF02DDF46E5B}" destId="{17F4FA1F-F224-4E6C-8758-2C1C8AA4055C}" srcOrd="2" destOrd="0" parTransId="{9D3EC524-DA47-4DC6-A251-2D870783074E}" sibTransId="{F4AC5968-C677-49C1-A4A5-4774DA1EE2E2}"/>
    <dgm:cxn modelId="{16B04DC7-6BFF-459E-BE2F-31DD553D4EBD}" type="presOf" srcId="{0881B0A9-3008-4725-B91F-52CBC33FE5BE}" destId="{44768B14-A005-43BA-8760-2ED146A06CF1}" srcOrd="0" destOrd="0" presId="urn:microsoft.com/office/officeart/2005/8/layout/hList6"/>
    <dgm:cxn modelId="{32FC4531-F81D-4075-8E0C-585AE741EAA2}" srcId="{EABA1C6D-2DF0-4B71-BC28-EF02DDF46E5B}" destId="{0881B0A9-3008-4725-B91F-52CBC33FE5BE}" srcOrd="1" destOrd="0" parTransId="{D8ADC203-5A6A-4B71-9DBF-B5DFFE617DA7}" sibTransId="{432FA9D8-90F1-4A94-BF6B-F1E1334569F0}"/>
    <dgm:cxn modelId="{B1BE6FB8-CBF5-4A88-AF7E-04C18A8BE899}" type="presParOf" srcId="{8DAE3DFA-358D-4BB3-9EA9-3FB992AF645E}" destId="{17021CB8-9713-4034-91AC-DCA6BFF0B7C0}" srcOrd="0" destOrd="0" presId="urn:microsoft.com/office/officeart/2005/8/layout/hList6"/>
    <dgm:cxn modelId="{0D8E8CA1-032E-4F3E-A01C-8057D11E6007}" type="presParOf" srcId="{8DAE3DFA-358D-4BB3-9EA9-3FB992AF645E}" destId="{224C1D29-A770-460E-BFE8-1D647780E960}" srcOrd="1" destOrd="0" presId="urn:microsoft.com/office/officeart/2005/8/layout/hList6"/>
    <dgm:cxn modelId="{85899677-8380-4262-8D67-C4B7F0CFA53E}" type="presParOf" srcId="{8DAE3DFA-358D-4BB3-9EA9-3FB992AF645E}" destId="{44768B14-A005-43BA-8760-2ED146A06CF1}" srcOrd="2" destOrd="0" presId="urn:microsoft.com/office/officeart/2005/8/layout/hList6"/>
    <dgm:cxn modelId="{B3740330-B3D7-4A32-B1A9-070E90C632A4}" type="presParOf" srcId="{8DAE3DFA-358D-4BB3-9EA9-3FB992AF645E}" destId="{803201D0-1DE9-4B6D-8500-9B055B95B116}" srcOrd="3" destOrd="0" presId="urn:microsoft.com/office/officeart/2005/8/layout/hList6"/>
    <dgm:cxn modelId="{DDED29AF-1AF2-40F6-8D3A-A2FDC23FF0EF}" type="presParOf" srcId="{8DAE3DFA-358D-4BB3-9EA9-3FB992AF645E}" destId="{6AF620DB-EE17-442C-AFDE-ACCA58360FF2}"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A70E05-2B89-4047-AFDF-BEC5AE94D6BF}" type="doc">
      <dgm:prSet loTypeId="urn:microsoft.com/office/officeart/2005/8/layout/vProcess5" loCatId="process" qsTypeId="urn:microsoft.com/office/officeart/2005/8/quickstyle/simple4" qsCatId="simple" csTypeId="urn:microsoft.com/office/officeart/2005/8/colors/accent1_2" csCatId="accent1" phldr="1"/>
      <dgm:spPr/>
      <dgm:t>
        <a:bodyPr/>
        <a:lstStyle/>
        <a:p>
          <a:endParaRPr lang="en-IN"/>
        </a:p>
      </dgm:t>
    </dgm:pt>
    <dgm:pt modelId="{43340F2D-466A-48AE-B9DB-B282F047215C}">
      <dgm:prSet phldrT="[Text]" custT="1"/>
      <dgm:spPr/>
      <dgm:t>
        <a:bodyPr/>
        <a:lstStyle/>
        <a:p>
          <a:r>
            <a:rPr lang="en-IN" sz="1800" dirty="0" smtClean="0">
              <a:latin typeface="Verdana" panose="020B0604030504040204" pitchFamily="34" charset="0"/>
              <a:ea typeface="Verdana" panose="020B0604030504040204" pitchFamily="34" charset="0"/>
            </a:rPr>
            <a:t>     Minimizing objective function  -    using Linear Optimisation</a:t>
          </a:r>
          <a:endParaRPr lang="en-IN" sz="1800" dirty="0">
            <a:latin typeface="Verdana" panose="020B0604030504040204" pitchFamily="34" charset="0"/>
            <a:ea typeface="Verdana" panose="020B0604030504040204" pitchFamily="34" charset="0"/>
          </a:endParaRPr>
        </a:p>
      </dgm:t>
    </dgm:pt>
    <dgm:pt modelId="{3832BFE6-4F1F-48FB-AAD0-6DCDAB9A1A19}" type="parTrans" cxnId="{9A06B551-E410-4DE8-91F4-D8821F967FF6}">
      <dgm:prSet/>
      <dgm:spPr/>
      <dgm:t>
        <a:bodyPr/>
        <a:lstStyle/>
        <a:p>
          <a:endParaRPr lang="en-IN"/>
        </a:p>
      </dgm:t>
    </dgm:pt>
    <dgm:pt modelId="{25CC9EDA-BDB2-4DA9-8151-E13FCBF8B845}" type="sibTrans" cxnId="{9A06B551-E410-4DE8-91F4-D8821F967FF6}">
      <dgm:prSet/>
      <dgm:spPr/>
      <dgm:t>
        <a:bodyPr/>
        <a:lstStyle/>
        <a:p>
          <a:endParaRPr lang="en-IN"/>
        </a:p>
      </dgm:t>
    </dgm:pt>
    <dgm:pt modelId="{AA3E0EC9-9073-4283-99BF-1F14B1CEFD79}">
      <dgm:prSet phldrT="[Text]" custT="1"/>
      <dgm:spPr/>
      <dgm:t>
        <a:bodyPr/>
        <a:lstStyle/>
        <a:p>
          <a:r>
            <a:rPr lang="en-IN" sz="1800" dirty="0" smtClean="0">
              <a:latin typeface="Verdana" panose="020B0604030504040204" pitchFamily="34" charset="0"/>
              <a:ea typeface="Verdana" panose="020B0604030504040204" pitchFamily="34" charset="0"/>
            </a:rPr>
            <a:t>Preparation of Objective function for       input energy</a:t>
          </a:r>
          <a:endParaRPr lang="en-IN" sz="1800" dirty="0">
            <a:latin typeface="Verdana" panose="020B0604030504040204" pitchFamily="34" charset="0"/>
            <a:ea typeface="Verdana" panose="020B0604030504040204" pitchFamily="34" charset="0"/>
          </a:endParaRPr>
        </a:p>
      </dgm:t>
    </dgm:pt>
    <dgm:pt modelId="{0772CC26-A7C7-4E65-86D0-BD0A030051F3}" type="parTrans" cxnId="{D2459649-6B40-4562-AF43-AC4F6053D019}">
      <dgm:prSet/>
      <dgm:spPr/>
      <dgm:t>
        <a:bodyPr/>
        <a:lstStyle/>
        <a:p>
          <a:endParaRPr lang="en-IN"/>
        </a:p>
      </dgm:t>
    </dgm:pt>
    <dgm:pt modelId="{731E130A-8176-4AEB-9CDF-6670F9A09FDE}" type="sibTrans" cxnId="{D2459649-6B40-4562-AF43-AC4F6053D019}">
      <dgm:prSet custT="1"/>
      <dgm:spPr/>
      <dgm:t>
        <a:bodyPr/>
        <a:lstStyle/>
        <a:p>
          <a:endParaRPr lang="en-IN" sz="1800">
            <a:latin typeface="Verdana" panose="020B0604030504040204" pitchFamily="34" charset="0"/>
            <a:ea typeface="Verdana" panose="020B0604030504040204" pitchFamily="34" charset="0"/>
          </a:endParaRPr>
        </a:p>
      </dgm:t>
    </dgm:pt>
    <dgm:pt modelId="{B46B8D17-C9CA-4242-848E-701719CA5465}">
      <dgm:prSet phldrT="[Text]" custT="1"/>
      <dgm:spPr/>
      <dgm:t>
        <a:bodyPr/>
        <a:lstStyle/>
        <a:p>
          <a:r>
            <a:rPr lang="en-IN" sz="1800" dirty="0" smtClean="0">
              <a:latin typeface="Verdana" panose="020B0604030504040204" pitchFamily="34" charset="0"/>
              <a:ea typeface="Verdana" panose="020B0604030504040204" pitchFamily="34" charset="0"/>
            </a:rPr>
            <a:t>Obtaining Constraints on Output Parameters</a:t>
          </a:r>
          <a:endParaRPr lang="en-IN" sz="1800" dirty="0">
            <a:latin typeface="Verdana" panose="020B0604030504040204" pitchFamily="34" charset="0"/>
            <a:ea typeface="Verdana" panose="020B0604030504040204" pitchFamily="34" charset="0"/>
          </a:endParaRPr>
        </a:p>
      </dgm:t>
    </dgm:pt>
    <dgm:pt modelId="{50347481-A44F-496E-8685-F29D00F99ED5}" type="parTrans" cxnId="{2E1F181B-8802-46D0-8433-CAF7D469AB54}">
      <dgm:prSet/>
      <dgm:spPr/>
      <dgm:t>
        <a:bodyPr/>
        <a:lstStyle/>
        <a:p>
          <a:endParaRPr lang="en-IN"/>
        </a:p>
      </dgm:t>
    </dgm:pt>
    <dgm:pt modelId="{6EA9E918-9AF4-4EAC-B915-01F1045149A7}" type="sibTrans" cxnId="{2E1F181B-8802-46D0-8433-CAF7D469AB54}">
      <dgm:prSet custT="1"/>
      <dgm:spPr/>
      <dgm:t>
        <a:bodyPr/>
        <a:lstStyle/>
        <a:p>
          <a:endParaRPr lang="en-IN" sz="1800" dirty="0">
            <a:latin typeface="Verdana" panose="020B0604030504040204" pitchFamily="34" charset="0"/>
            <a:ea typeface="Verdana" panose="020B0604030504040204" pitchFamily="34" charset="0"/>
          </a:endParaRPr>
        </a:p>
      </dgm:t>
    </dgm:pt>
    <dgm:pt modelId="{BD5353E1-4402-45D9-8E31-9D0C5C5DCB25}">
      <dgm:prSet phldrT="[Text]" custT="1"/>
      <dgm:spPr/>
      <dgm:t>
        <a:bodyPr/>
        <a:lstStyle/>
        <a:p>
          <a:r>
            <a:rPr lang="en-IN" sz="1800" dirty="0" smtClean="0">
              <a:latin typeface="Verdana" panose="020B0604030504040204" pitchFamily="34" charset="0"/>
              <a:ea typeface="Verdana" panose="020B0604030504040204" pitchFamily="34" charset="0"/>
            </a:rPr>
            <a:t>      Selecting  KPI’s in Output Parameters</a:t>
          </a:r>
          <a:endParaRPr lang="en-IN" sz="1800" dirty="0">
            <a:latin typeface="Verdana" panose="020B0604030504040204" pitchFamily="34" charset="0"/>
            <a:ea typeface="Verdana" panose="020B0604030504040204" pitchFamily="34" charset="0"/>
          </a:endParaRPr>
        </a:p>
      </dgm:t>
    </dgm:pt>
    <dgm:pt modelId="{6B2F5387-DBDA-4E1D-9B25-B149C760CC70}" type="sibTrans" cxnId="{BAD4A9B6-2896-4E5F-8008-CE6FF913A8A0}">
      <dgm:prSet custT="1"/>
      <dgm:spPr/>
      <dgm:t>
        <a:bodyPr/>
        <a:lstStyle/>
        <a:p>
          <a:endParaRPr lang="en-IN" sz="1800">
            <a:latin typeface="Verdana" panose="020B0604030504040204" pitchFamily="34" charset="0"/>
            <a:ea typeface="Verdana" panose="020B0604030504040204" pitchFamily="34" charset="0"/>
          </a:endParaRPr>
        </a:p>
      </dgm:t>
    </dgm:pt>
    <dgm:pt modelId="{51259645-9344-40CD-BC04-047BE8FD55A9}" type="parTrans" cxnId="{BAD4A9B6-2896-4E5F-8008-CE6FF913A8A0}">
      <dgm:prSet/>
      <dgm:spPr/>
      <dgm:t>
        <a:bodyPr/>
        <a:lstStyle/>
        <a:p>
          <a:endParaRPr lang="en-IN"/>
        </a:p>
      </dgm:t>
    </dgm:pt>
    <dgm:pt modelId="{D8D5F8B4-4824-4B4B-B9C0-0875F8A46BA1}">
      <dgm:prSet phldrT="[Text]" custT="1"/>
      <dgm:spPr/>
      <dgm:t>
        <a:bodyPr/>
        <a:lstStyle/>
        <a:p>
          <a:r>
            <a:rPr lang="en-IN" sz="1800" dirty="0" smtClean="0">
              <a:latin typeface="Verdana" panose="020B0604030504040204" pitchFamily="34" charset="0"/>
              <a:ea typeface="Verdana" panose="020B0604030504040204" pitchFamily="34" charset="0"/>
            </a:rPr>
            <a:t>    Obtaining Constraints on Input       …..parameters using output constraints</a:t>
          </a:r>
          <a:endParaRPr lang="en-IN" sz="1800" dirty="0">
            <a:latin typeface="Verdana" panose="020B0604030504040204" pitchFamily="34" charset="0"/>
            <a:ea typeface="Verdana" panose="020B0604030504040204" pitchFamily="34" charset="0"/>
          </a:endParaRPr>
        </a:p>
      </dgm:t>
    </dgm:pt>
    <dgm:pt modelId="{A7756AC2-744F-4E7C-909B-F2657CC7707B}" type="sibTrans" cxnId="{9867ED7B-C640-4914-AB5C-0E443CEA51A2}">
      <dgm:prSet custT="1"/>
      <dgm:spPr/>
      <dgm:t>
        <a:bodyPr/>
        <a:lstStyle/>
        <a:p>
          <a:endParaRPr lang="en-IN" sz="1800">
            <a:latin typeface="Verdana" panose="020B0604030504040204" pitchFamily="34" charset="0"/>
            <a:ea typeface="Verdana" panose="020B0604030504040204" pitchFamily="34" charset="0"/>
          </a:endParaRPr>
        </a:p>
      </dgm:t>
    </dgm:pt>
    <dgm:pt modelId="{7096D648-3717-4E3F-97EF-CC3E3C005501}" type="parTrans" cxnId="{9867ED7B-C640-4914-AB5C-0E443CEA51A2}">
      <dgm:prSet/>
      <dgm:spPr/>
      <dgm:t>
        <a:bodyPr/>
        <a:lstStyle/>
        <a:p>
          <a:endParaRPr lang="en-IN"/>
        </a:p>
      </dgm:t>
    </dgm:pt>
    <dgm:pt modelId="{EDF35800-CB4A-43C6-8D02-95AD97C3C01A}" type="pres">
      <dgm:prSet presAssocID="{65A70E05-2B89-4047-AFDF-BEC5AE94D6BF}" presName="outerComposite" presStyleCnt="0">
        <dgm:presLayoutVars>
          <dgm:chMax val="5"/>
          <dgm:dir/>
          <dgm:resizeHandles val="exact"/>
        </dgm:presLayoutVars>
      </dgm:prSet>
      <dgm:spPr/>
      <dgm:t>
        <a:bodyPr/>
        <a:lstStyle/>
        <a:p>
          <a:endParaRPr lang="en-US"/>
        </a:p>
      </dgm:t>
    </dgm:pt>
    <dgm:pt modelId="{B38DD3DE-4D4A-4E96-BFC9-6790068330F1}" type="pres">
      <dgm:prSet presAssocID="{65A70E05-2B89-4047-AFDF-BEC5AE94D6BF}" presName="dummyMaxCanvas" presStyleCnt="0">
        <dgm:presLayoutVars/>
      </dgm:prSet>
      <dgm:spPr/>
      <dgm:t>
        <a:bodyPr/>
        <a:lstStyle/>
        <a:p>
          <a:endParaRPr lang="en-US"/>
        </a:p>
      </dgm:t>
    </dgm:pt>
    <dgm:pt modelId="{FF33EA4C-EBA8-4043-B6FF-6B33AC44D438}" type="pres">
      <dgm:prSet presAssocID="{65A70E05-2B89-4047-AFDF-BEC5AE94D6BF}" presName="FiveNodes_1" presStyleLbl="node1" presStyleIdx="0" presStyleCnt="5" custScaleX="83607" custScaleY="71860" custLinFactNeighborX="14156" custLinFactNeighborY="-6354">
        <dgm:presLayoutVars>
          <dgm:bulletEnabled val="1"/>
        </dgm:presLayoutVars>
      </dgm:prSet>
      <dgm:spPr/>
      <dgm:t>
        <a:bodyPr/>
        <a:lstStyle/>
        <a:p>
          <a:endParaRPr lang="en-US"/>
        </a:p>
      </dgm:t>
    </dgm:pt>
    <dgm:pt modelId="{BB41B39B-307D-4EC8-9F9B-8429A7184837}" type="pres">
      <dgm:prSet presAssocID="{65A70E05-2B89-4047-AFDF-BEC5AE94D6BF}" presName="FiveNodes_2" presStyleLbl="node1" presStyleIdx="1" presStyleCnt="5" custScaleX="54018" custScaleY="75885" custLinFactNeighborX="7468" custLinFactNeighborY="-7728">
        <dgm:presLayoutVars>
          <dgm:bulletEnabled val="1"/>
        </dgm:presLayoutVars>
      </dgm:prSet>
      <dgm:spPr/>
      <dgm:t>
        <a:bodyPr/>
        <a:lstStyle/>
        <a:p>
          <a:endParaRPr lang="en-US"/>
        </a:p>
      </dgm:t>
    </dgm:pt>
    <dgm:pt modelId="{998F49EF-7020-441C-B2A2-65FEC2B105F9}" type="pres">
      <dgm:prSet presAssocID="{65A70E05-2B89-4047-AFDF-BEC5AE94D6BF}" presName="FiveNodes_3" presStyleLbl="node1" presStyleIdx="2" presStyleCnt="5" custScaleX="82266" custScaleY="71859" custLinFactNeighborX="910" custLinFactNeighborY="-10367">
        <dgm:presLayoutVars>
          <dgm:bulletEnabled val="1"/>
        </dgm:presLayoutVars>
      </dgm:prSet>
      <dgm:spPr/>
      <dgm:t>
        <a:bodyPr/>
        <a:lstStyle/>
        <a:p>
          <a:endParaRPr lang="en-US"/>
        </a:p>
      </dgm:t>
    </dgm:pt>
    <dgm:pt modelId="{7E519EA2-7F57-4D66-9B1A-57246BB88006}" type="pres">
      <dgm:prSet presAssocID="{65A70E05-2B89-4047-AFDF-BEC5AE94D6BF}" presName="FiveNodes_4" presStyleLbl="node1" presStyleIdx="3" presStyleCnt="5" custScaleX="76860" custScaleY="75965" custLinFactNeighborX="-7468" custLinFactNeighborY="-15349">
        <dgm:presLayoutVars>
          <dgm:bulletEnabled val="1"/>
        </dgm:presLayoutVars>
      </dgm:prSet>
      <dgm:spPr/>
      <dgm:t>
        <a:bodyPr/>
        <a:lstStyle/>
        <a:p>
          <a:endParaRPr lang="en-US"/>
        </a:p>
      </dgm:t>
    </dgm:pt>
    <dgm:pt modelId="{B86B0CF9-DCF4-4975-8EEA-54F62CFEF327}" type="pres">
      <dgm:prSet presAssocID="{65A70E05-2B89-4047-AFDF-BEC5AE94D6BF}" presName="FiveNodes_5" presStyleLbl="node1" presStyleIdx="4" presStyleCnt="5" custScaleX="68259" custScaleY="69753" custLinFactNeighborX="-11097" custLinFactNeighborY="-15432">
        <dgm:presLayoutVars>
          <dgm:bulletEnabled val="1"/>
        </dgm:presLayoutVars>
      </dgm:prSet>
      <dgm:spPr/>
      <dgm:t>
        <a:bodyPr/>
        <a:lstStyle/>
        <a:p>
          <a:endParaRPr lang="en-US"/>
        </a:p>
      </dgm:t>
    </dgm:pt>
    <dgm:pt modelId="{04B0673B-9D00-4FE8-AECD-23E45878747E}" type="pres">
      <dgm:prSet presAssocID="{65A70E05-2B89-4047-AFDF-BEC5AE94D6BF}" presName="FiveConn_1-2" presStyleLbl="fgAccFollowNode1" presStyleIdx="0" presStyleCnt="4" custLinFactX="-175253" custLinFactNeighborX="-200000" custLinFactNeighborY="-17426">
        <dgm:presLayoutVars>
          <dgm:bulletEnabled val="1"/>
        </dgm:presLayoutVars>
      </dgm:prSet>
      <dgm:spPr/>
      <dgm:t>
        <a:bodyPr/>
        <a:lstStyle/>
        <a:p>
          <a:endParaRPr lang="en-US"/>
        </a:p>
      </dgm:t>
    </dgm:pt>
    <dgm:pt modelId="{14E5CF5F-F885-4304-B8EB-13E19D87CD9B}" type="pres">
      <dgm:prSet presAssocID="{65A70E05-2B89-4047-AFDF-BEC5AE94D6BF}" presName="FiveConn_2-3" presStyleLbl="fgAccFollowNode1" presStyleIdx="1" presStyleCnt="4" custLinFactX="-200000" custLinFactNeighborX="-260228" custLinFactNeighborY="-7530">
        <dgm:presLayoutVars>
          <dgm:bulletEnabled val="1"/>
        </dgm:presLayoutVars>
      </dgm:prSet>
      <dgm:spPr/>
      <dgm:t>
        <a:bodyPr/>
        <a:lstStyle/>
        <a:p>
          <a:endParaRPr lang="en-US"/>
        </a:p>
      </dgm:t>
    </dgm:pt>
    <dgm:pt modelId="{83E23A2B-BEBE-4466-8084-F67F6A035EA6}" type="pres">
      <dgm:prSet presAssocID="{65A70E05-2B89-4047-AFDF-BEC5AE94D6BF}" presName="FiveConn_3-4" presStyleLbl="fgAccFollowNode1" presStyleIdx="2" presStyleCnt="4" custLinFactX="-237865" custLinFactNeighborX="-300000" custLinFactNeighborY="-4597">
        <dgm:presLayoutVars>
          <dgm:bulletEnabled val="1"/>
        </dgm:presLayoutVars>
      </dgm:prSet>
      <dgm:spPr/>
      <dgm:t>
        <a:bodyPr/>
        <a:lstStyle/>
        <a:p>
          <a:endParaRPr lang="en-US"/>
        </a:p>
      </dgm:t>
    </dgm:pt>
    <dgm:pt modelId="{CC8A9EA6-383B-49F7-986F-559E253C7484}" type="pres">
      <dgm:prSet presAssocID="{65A70E05-2B89-4047-AFDF-BEC5AE94D6BF}" presName="FiveConn_4-5" presStyleLbl="fgAccFollowNode1" presStyleIdx="3" presStyleCnt="4" custLinFactX="-300000" custLinFactNeighborX="-320211" custLinFactNeighborY="-19896">
        <dgm:presLayoutVars>
          <dgm:bulletEnabled val="1"/>
        </dgm:presLayoutVars>
      </dgm:prSet>
      <dgm:spPr/>
      <dgm:t>
        <a:bodyPr/>
        <a:lstStyle/>
        <a:p>
          <a:endParaRPr lang="en-US"/>
        </a:p>
      </dgm:t>
    </dgm:pt>
    <dgm:pt modelId="{CA57FC57-C363-4F2D-9868-166EEB9744AE}" type="pres">
      <dgm:prSet presAssocID="{65A70E05-2B89-4047-AFDF-BEC5AE94D6BF}" presName="FiveNodes_1_text" presStyleLbl="node1" presStyleIdx="4" presStyleCnt="5">
        <dgm:presLayoutVars>
          <dgm:bulletEnabled val="1"/>
        </dgm:presLayoutVars>
      </dgm:prSet>
      <dgm:spPr/>
      <dgm:t>
        <a:bodyPr/>
        <a:lstStyle/>
        <a:p>
          <a:endParaRPr lang="en-US"/>
        </a:p>
      </dgm:t>
    </dgm:pt>
    <dgm:pt modelId="{B8FD1A86-5FF3-46E0-A7F4-564DADD0701C}" type="pres">
      <dgm:prSet presAssocID="{65A70E05-2B89-4047-AFDF-BEC5AE94D6BF}" presName="FiveNodes_2_text" presStyleLbl="node1" presStyleIdx="4" presStyleCnt="5">
        <dgm:presLayoutVars>
          <dgm:bulletEnabled val="1"/>
        </dgm:presLayoutVars>
      </dgm:prSet>
      <dgm:spPr/>
      <dgm:t>
        <a:bodyPr/>
        <a:lstStyle/>
        <a:p>
          <a:endParaRPr lang="en-US"/>
        </a:p>
      </dgm:t>
    </dgm:pt>
    <dgm:pt modelId="{797CCA22-E446-4692-B278-0FFB05FA8E57}" type="pres">
      <dgm:prSet presAssocID="{65A70E05-2B89-4047-AFDF-BEC5AE94D6BF}" presName="FiveNodes_3_text" presStyleLbl="node1" presStyleIdx="4" presStyleCnt="5">
        <dgm:presLayoutVars>
          <dgm:bulletEnabled val="1"/>
        </dgm:presLayoutVars>
      </dgm:prSet>
      <dgm:spPr/>
      <dgm:t>
        <a:bodyPr/>
        <a:lstStyle/>
        <a:p>
          <a:endParaRPr lang="en-US"/>
        </a:p>
      </dgm:t>
    </dgm:pt>
    <dgm:pt modelId="{BD18558A-DCC0-42B0-B2F8-F8F3D63767F9}" type="pres">
      <dgm:prSet presAssocID="{65A70E05-2B89-4047-AFDF-BEC5AE94D6BF}" presName="FiveNodes_4_text" presStyleLbl="node1" presStyleIdx="4" presStyleCnt="5">
        <dgm:presLayoutVars>
          <dgm:bulletEnabled val="1"/>
        </dgm:presLayoutVars>
      </dgm:prSet>
      <dgm:spPr/>
      <dgm:t>
        <a:bodyPr/>
        <a:lstStyle/>
        <a:p>
          <a:endParaRPr lang="en-US"/>
        </a:p>
      </dgm:t>
    </dgm:pt>
    <dgm:pt modelId="{EE47B521-C879-439B-B7D3-D94469E98E27}" type="pres">
      <dgm:prSet presAssocID="{65A70E05-2B89-4047-AFDF-BEC5AE94D6BF}" presName="FiveNodes_5_text" presStyleLbl="node1" presStyleIdx="4" presStyleCnt="5">
        <dgm:presLayoutVars>
          <dgm:bulletEnabled val="1"/>
        </dgm:presLayoutVars>
      </dgm:prSet>
      <dgm:spPr/>
      <dgm:t>
        <a:bodyPr/>
        <a:lstStyle/>
        <a:p>
          <a:endParaRPr lang="en-US"/>
        </a:p>
      </dgm:t>
    </dgm:pt>
  </dgm:ptLst>
  <dgm:cxnLst>
    <dgm:cxn modelId="{63CCAFF9-5E71-4684-88C1-856CB24B2656}" type="presOf" srcId="{65A70E05-2B89-4047-AFDF-BEC5AE94D6BF}" destId="{EDF35800-CB4A-43C6-8D02-95AD97C3C01A}" srcOrd="0" destOrd="0" presId="urn:microsoft.com/office/officeart/2005/8/layout/vProcess5"/>
    <dgm:cxn modelId="{2E1F181B-8802-46D0-8433-CAF7D469AB54}" srcId="{65A70E05-2B89-4047-AFDF-BEC5AE94D6BF}" destId="{B46B8D17-C9CA-4242-848E-701719CA5465}" srcOrd="1" destOrd="0" parTransId="{50347481-A44F-496E-8685-F29D00F99ED5}" sibTransId="{6EA9E918-9AF4-4EAC-B915-01F1045149A7}"/>
    <dgm:cxn modelId="{3B6B7EB9-1F88-48E2-91B6-B9D38D1FDE4C}" type="presOf" srcId="{D8D5F8B4-4824-4B4B-B9C0-0875F8A46BA1}" destId="{998F49EF-7020-441C-B2A2-65FEC2B105F9}" srcOrd="0" destOrd="0" presId="urn:microsoft.com/office/officeart/2005/8/layout/vProcess5"/>
    <dgm:cxn modelId="{217FF0C2-5E0E-4D3A-B3DB-4DC14D9ADBB6}" type="presOf" srcId="{43340F2D-466A-48AE-B9DB-B282F047215C}" destId="{EE47B521-C879-439B-B7D3-D94469E98E27}" srcOrd="1" destOrd="0" presId="urn:microsoft.com/office/officeart/2005/8/layout/vProcess5"/>
    <dgm:cxn modelId="{E60935D1-7E38-4751-AD6C-4F31F78F1299}" type="presOf" srcId="{D8D5F8B4-4824-4B4B-B9C0-0875F8A46BA1}" destId="{797CCA22-E446-4692-B278-0FFB05FA8E57}" srcOrd="1" destOrd="0" presId="urn:microsoft.com/office/officeart/2005/8/layout/vProcess5"/>
    <dgm:cxn modelId="{BF9DBF2B-59BA-496B-B81F-F8F9D7EB801F}" type="presOf" srcId="{B46B8D17-C9CA-4242-848E-701719CA5465}" destId="{BB41B39B-307D-4EC8-9F9B-8429A7184837}" srcOrd="0" destOrd="0" presId="urn:microsoft.com/office/officeart/2005/8/layout/vProcess5"/>
    <dgm:cxn modelId="{7C8EFB49-61E7-45D5-A750-8EA2E9531D84}" type="presOf" srcId="{AA3E0EC9-9073-4283-99BF-1F14B1CEFD79}" destId="{7E519EA2-7F57-4D66-9B1A-57246BB88006}" srcOrd="0" destOrd="0" presId="urn:microsoft.com/office/officeart/2005/8/layout/vProcess5"/>
    <dgm:cxn modelId="{253909F5-8492-477C-BA1C-D28B0F0E2C9D}" type="presOf" srcId="{BD5353E1-4402-45D9-8E31-9D0C5C5DCB25}" destId="{CA57FC57-C363-4F2D-9868-166EEB9744AE}" srcOrd="1" destOrd="0" presId="urn:microsoft.com/office/officeart/2005/8/layout/vProcess5"/>
    <dgm:cxn modelId="{936468A5-94F4-44A9-9D61-0317D402B009}" type="presOf" srcId="{B46B8D17-C9CA-4242-848E-701719CA5465}" destId="{B8FD1A86-5FF3-46E0-A7F4-564DADD0701C}" srcOrd="1" destOrd="0" presId="urn:microsoft.com/office/officeart/2005/8/layout/vProcess5"/>
    <dgm:cxn modelId="{BAD4A9B6-2896-4E5F-8008-CE6FF913A8A0}" srcId="{65A70E05-2B89-4047-AFDF-BEC5AE94D6BF}" destId="{BD5353E1-4402-45D9-8E31-9D0C5C5DCB25}" srcOrd="0" destOrd="0" parTransId="{51259645-9344-40CD-BC04-047BE8FD55A9}" sibTransId="{6B2F5387-DBDA-4E1D-9B25-B149C760CC70}"/>
    <dgm:cxn modelId="{EA7B84EB-778F-4E41-8117-E4D0AD942CA8}" type="presOf" srcId="{731E130A-8176-4AEB-9CDF-6670F9A09FDE}" destId="{CC8A9EA6-383B-49F7-986F-559E253C7484}" srcOrd="0" destOrd="0" presId="urn:microsoft.com/office/officeart/2005/8/layout/vProcess5"/>
    <dgm:cxn modelId="{557C2195-2100-433B-BE8F-5E0D16C81A57}" type="presOf" srcId="{AA3E0EC9-9073-4283-99BF-1F14B1CEFD79}" destId="{BD18558A-DCC0-42B0-B2F8-F8F3D63767F9}" srcOrd="1" destOrd="0" presId="urn:microsoft.com/office/officeart/2005/8/layout/vProcess5"/>
    <dgm:cxn modelId="{D512ADE7-1FF7-4434-BAF3-52D9DBDFEF53}" type="presOf" srcId="{BD5353E1-4402-45D9-8E31-9D0C5C5DCB25}" destId="{FF33EA4C-EBA8-4043-B6FF-6B33AC44D438}" srcOrd="0" destOrd="0" presId="urn:microsoft.com/office/officeart/2005/8/layout/vProcess5"/>
    <dgm:cxn modelId="{DAF7B058-C51A-4B4D-92AF-F748DDCD84C2}" type="presOf" srcId="{6B2F5387-DBDA-4E1D-9B25-B149C760CC70}" destId="{04B0673B-9D00-4FE8-AECD-23E45878747E}" srcOrd="0" destOrd="0" presId="urn:microsoft.com/office/officeart/2005/8/layout/vProcess5"/>
    <dgm:cxn modelId="{9A06B551-E410-4DE8-91F4-D8821F967FF6}" srcId="{65A70E05-2B89-4047-AFDF-BEC5AE94D6BF}" destId="{43340F2D-466A-48AE-B9DB-B282F047215C}" srcOrd="4" destOrd="0" parTransId="{3832BFE6-4F1F-48FB-AAD0-6DCDAB9A1A19}" sibTransId="{25CC9EDA-BDB2-4DA9-8151-E13FCBF8B845}"/>
    <dgm:cxn modelId="{9867ED7B-C640-4914-AB5C-0E443CEA51A2}" srcId="{65A70E05-2B89-4047-AFDF-BEC5AE94D6BF}" destId="{D8D5F8B4-4824-4B4B-B9C0-0875F8A46BA1}" srcOrd="2" destOrd="0" parTransId="{7096D648-3717-4E3F-97EF-CC3E3C005501}" sibTransId="{A7756AC2-744F-4E7C-909B-F2657CC7707B}"/>
    <dgm:cxn modelId="{A2895F60-4125-41AA-9EE5-0C4EC5BD2896}" type="presOf" srcId="{43340F2D-466A-48AE-B9DB-B282F047215C}" destId="{B86B0CF9-DCF4-4975-8EEA-54F62CFEF327}" srcOrd="0" destOrd="0" presId="urn:microsoft.com/office/officeart/2005/8/layout/vProcess5"/>
    <dgm:cxn modelId="{E329E96D-5B17-4872-B4BA-ECDD78D20B3B}" type="presOf" srcId="{A7756AC2-744F-4E7C-909B-F2657CC7707B}" destId="{83E23A2B-BEBE-4466-8084-F67F6A035EA6}" srcOrd="0" destOrd="0" presId="urn:microsoft.com/office/officeart/2005/8/layout/vProcess5"/>
    <dgm:cxn modelId="{5FBCC2A7-804C-44BA-8B6A-B586E00D926B}" type="presOf" srcId="{6EA9E918-9AF4-4EAC-B915-01F1045149A7}" destId="{14E5CF5F-F885-4304-B8EB-13E19D87CD9B}" srcOrd="0" destOrd="0" presId="urn:microsoft.com/office/officeart/2005/8/layout/vProcess5"/>
    <dgm:cxn modelId="{D2459649-6B40-4562-AF43-AC4F6053D019}" srcId="{65A70E05-2B89-4047-AFDF-BEC5AE94D6BF}" destId="{AA3E0EC9-9073-4283-99BF-1F14B1CEFD79}" srcOrd="3" destOrd="0" parTransId="{0772CC26-A7C7-4E65-86D0-BD0A030051F3}" sibTransId="{731E130A-8176-4AEB-9CDF-6670F9A09FDE}"/>
    <dgm:cxn modelId="{369A1987-C48A-4A03-BA37-A475C7582B77}" type="presParOf" srcId="{EDF35800-CB4A-43C6-8D02-95AD97C3C01A}" destId="{B38DD3DE-4D4A-4E96-BFC9-6790068330F1}" srcOrd="0" destOrd="0" presId="urn:microsoft.com/office/officeart/2005/8/layout/vProcess5"/>
    <dgm:cxn modelId="{9A748B93-928A-4F1F-B99C-1103C147D05D}" type="presParOf" srcId="{EDF35800-CB4A-43C6-8D02-95AD97C3C01A}" destId="{FF33EA4C-EBA8-4043-B6FF-6B33AC44D438}" srcOrd="1" destOrd="0" presId="urn:microsoft.com/office/officeart/2005/8/layout/vProcess5"/>
    <dgm:cxn modelId="{8A43A8FE-F3C1-4B3F-8312-BE15BF7AAD10}" type="presParOf" srcId="{EDF35800-CB4A-43C6-8D02-95AD97C3C01A}" destId="{BB41B39B-307D-4EC8-9F9B-8429A7184837}" srcOrd="2" destOrd="0" presId="urn:microsoft.com/office/officeart/2005/8/layout/vProcess5"/>
    <dgm:cxn modelId="{26612236-5E0E-49A0-956C-530859CB914C}" type="presParOf" srcId="{EDF35800-CB4A-43C6-8D02-95AD97C3C01A}" destId="{998F49EF-7020-441C-B2A2-65FEC2B105F9}" srcOrd="3" destOrd="0" presId="urn:microsoft.com/office/officeart/2005/8/layout/vProcess5"/>
    <dgm:cxn modelId="{15A6E454-5700-4673-AADC-DEFE425E8B93}" type="presParOf" srcId="{EDF35800-CB4A-43C6-8D02-95AD97C3C01A}" destId="{7E519EA2-7F57-4D66-9B1A-57246BB88006}" srcOrd="4" destOrd="0" presId="urn:microsoft.com/office/officeart/2005/8/layout/vProcess5"/>
    <dgm:cxn modelId="{266E4824-9A6D-4913-B915-3950463B9D28}" type="presParOf" srcId="{EDF35800-CB4A-43C6-8D02-95AD97C3C01A}" destId="{B86B0CF9-DCF4-4975-8EEA-54F62CFEF327}" srcOrd="5" destOrd="0" presId="urn:microsoft.com/office/officeart/2005/8/layout/vProcess5"/>
    <dgm:cxn modelId="{3386F5F8-4620-44BE-9918-063D8F32B3F9}" type="presParOf" srcId="{EDF35800-CB4A-43C6-8D02-95AD97C3C01A}" destId="{04B0673B-9D00-4FE8-AECD-23E45878747E}" srcOrd="6" destOrd="0" presId="urn:microsoft.com/office/officeart/2005/8/layout/vProcess5"/>
    <dgm:cxn modelId="{19DEEDBF-A1C3-4CEA-B676-875D98BAB4A8}" type="presParOf" srcId="{EDF35800-CB4A-43C6-8D02-95AD97C3C01A}" destId="{14E5CF5F-F885-4304-B8EB-13E19D87CD9B}" srcOrd="7" destOrd="0" presId="urn:microsoft.com/office/officeart/2005/8/layout/vProcess5"/>
    <dgm:cxn modelId="{C3733D65-38DD-427B-88B5-681B6674A431}" type="presParOf" srcId="{EDF35800-CB4A-43C6-8D02-95AD97C3C01A}" destId="{83E23A2B-BEBE-4466-8084-F67F6A035EA6}" srcOrd="8" destOrd="0" presId="urn:microsoft.com/office/officeart/2005/8/layout/vProcess5"/>
    <dgm:cxn modelId="{E1E6A4D7-9954-4181-8529-ED553B8F97D6}" type="presParOf" srcId="{EDF35800-CB4A-43C6-8D02-95AD97C3C01A}" destId="{CC8A9EA6-383B-49F7-986F-559E253C7484}" srcOrd="9" destOrd="0" presId="urn:microsoft.com/office/officeart/2005/8/layout/vProcess5"/>
    <dgm:cxn modelId="{5921731C-7665-424F-A895-FACCEC2B575F}" type="presParOf" srcId="{EDF35800-CB4A-43C6-8D02-95AD97C3C01A}" destId="{CA57FC57-C363-4F2D-9868-166EEB9744AE}" srcOrd="10" destOrd="0" presId="urn:microsoft.com/office/officeart/2005/8/layout/vProcess5"/>
    <dgm:cxn modelId="{465680F9-0579-4EDF-AE3D-3E172F1D301F}" type="presParOf" srcId="{EDF35800-CB4A-43C6-8D02-95AD97C3C01A}" destId="{B8FD1A86-5FF3-46E0-A7F4-564DADD0701C}" srcOrd="11" destOrd="0" presId="urn:microsoft.com/office/officeart/2005/8/layout/vProcess5"/>
    <dgm:cxn modelId="{57B097C8-A4AB-48BB-8034-930DEA0ED1C3}" type="presParOf" srcId="{EDF35800-CB4A-43C6-8D02-95AD97C3C01A}" destId="{797CCA22-E446-4692-B278-0FFB05FA8E57}" srcOrd="12" destOrd="0" presId="urn:microsoft.com/office/officeart/2005/8/layout/vProcess5"/>
    <dgm:cxn modelId="{D1B5645F-51B6-43C5-A8C0-21DB41A1A000}" type="presParOf" srcId="{EDF35800-CB4A-43C6-8D02-95AD97C3C01A}" destId="{BD18558A-DCC0-42B0-B2F8-F8F3D63767F9}" srcOrd="13" destOrd="0" presId="urn:microsoft.com/office/officeart/2005/8/layout/vProcess5"/>
    <dgm:cxn modelId="{2D4B7034-DB7A-43E9-A4CF-EDC695C72716}" type="presParOf" srcId="{EDF35800-CB4A-43C6-8D02-95AD97C3C01A}" destId="{EE47B521-C879-439B-B7D3-D94469E98E27}" srcOrd="14" destOrd="0" presId="urn:microsoft.com/office/officeart/2005/8/layout/vProcess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F01B7BE-14F3-4D06-9763-605E56E5F673}" type="doc">
      <dgm:prSet loTypeId="urn:diagrams.loki3.com/VaryingWidthList" loCatId="list" qsTypeId="urn:microsoft.com/office/officeart/2005/8/quickstyle/simple4" qsCatId="simple" csTypeId="urn:microsoft.com/office/officeart/2005/8/colors/accent1_2" csCatId="accent1" phldr="1"/>
      <dgm:spPr/>
    </dgm:pt>
    <dgm:pt modelId="{3EFBCC87-DD0B-4FBD-9A7E-C138ADE515C5}">
      <dgm:prSet phldrT="[Text]" custT="1"/>
      <dgm:spPr/>
      <dgm:t>
        <a:bodyPr/>
        <a:lstStyle/>
        <a:p>
          <a:r>
            <a:rPr lang="en-US" sz="1600" dirty="0" smtClean="0">
              <a:latin typeface="Verdana" panose="020B0604030504040204" pitchFamily="34" charset="0"/>
              <a:ea typeface="Verdana" panose="020B0604030504040204" pitchFamily="34" charset="0"/>
            </a:rPr>
            <a:t>Using the input energy equation, we apply Linear Programming to the equation. </a:t>
          </a:r>
          <a:endParaRPr lang="en-US" sz="1600" dirty="0"/>
        </a:p>
      </dgm:t>
    </dgm:pt>
    <dgm:pt modelId="{3BD2CA7C-81A0-407C-B500-B61901DD210B}" type="parTrans" cxnId="{C10A7882-65C0-438B-BE3F-B84E5D61B287}">
      <dgm:prSet/>
      <dgm:spPr/>
      <dgm:t>
        <a:bodyPr/>
        <a:lstStyle/>
        <a:p>
          <a:endParaRPr lang="en-US" sz="1600"/>
        </a:p>
      </dgm:t>
    </dgm:pt>
    <dgm:pt modelId="{F0F78D75-9017-4336-95A4-8102B08240DE}" type="sibTrans" cxnId="{C10A7882-65C0-438B-BE3F-B84E5D61B287}">
      <dgm:prSet/>
      <dgm:spPr/>
      <dgm:t>
        <a:bodyPr/>
        <a:lstStyle/>
        <a:p>
          <a:endParaRPr lang="en-US" sz="1600"/>
        </a:p>
      </dgm:t>
    </dgm:pt>
    <dgm:pt modelId="{CE11F782-F515-4663-BBC2-A3E930028733}">
      <dgm:prSet custT="1"/>
      <dgm:spPr/>
      <dgm:t>
        <a:bodyPr/>
        <a:lstStyle/>
        <a:p>
          <a:r>
            <a:rPr lang="en-US" sz="1600" dirty="0" smtClean="0">
              <a:latin typeface="Verdana" panose="020B0604030504040204" pitchFamily="34" charset="0"/>
              <a:ea typeface="Verdana" panose="020B0604030504040204" pitchFamily="34" charset="0"/>
            </a:rPr>
            <a:t>The primary goal of LP is to minimize the linear objective function, subject to a set of linear equality and inequality constraints.</a:t>
          </a:r>
          <a:endParaRPr lang="en-US" sz="1600" dirty="0" smtClean="0">
            <a:latin typeface="Verdana" panose="020B0604030504040204" pitchFamily="34" charset="0"/>
            <a:ea typeface="Verdana" panose="020B0604030504040204" pitchFamily="34" charset="0"/>
          </a:endParaRPr>
        </a:p>
      </dgm:t>
    </dgm:pt>
    <dgm:pt modelId="{5554AA0B-6C3D-451C-89F0-E99EDC346A6C}" type="parTrans" cxnId="{19FA153E-049C-4A90-9DD8-0A55A958E0DE}">
      <dgm:prSet/>
      <dgm:spPr/>
      <dgm:t>
        <a:bodyPr/>
        <a:lstStyle/>
        <a:p>
          <a:endParaRPr lang="en-US" sz="1600"/>
        </a:p>
      </dgm:t>
    </dgm:pt>
    <dgm:pt modelId="{EA1A40DA-0323-4025-B532-B8D6973281AB}" type="sibTrans" cxnId="{19FA153E-049C-4A90-9DD8-0A55A958E0DE}">
      <dgm:prSet/>
      <dgm:spPr/>
      <dgm:t>
        <a:bodyPr/>
        <a:lstStyle/>
        <a:p>
          <a:endParaRPr lang="en-US" sz="1600"/>
        </a:p>
      </dgm:t>
    </dgm:pt>
    <dgm:pt modelId="{586203A0-4E8F-464C-A474-F95F0075E675}">
      <dgm:prSet custT="1"/>
      <dgm:spPr/>
      <dgm:t>
        <a:bodyPr/>
        <a:lstStyle/>
        <a:p>
          <a:r>
            <a:rPr lang="en-US" sz="1600" dirty="0" smtClean="0">
              <a:latin typeface="Verdana" panose="020B0604030504040204" pitchFamily="34" charset="0"/>
              <a:ea typeface="Verdana" panose="020B0604030504040204" pitchFamily="34" charset="0"/>
            </a:rPr>
            <a:t>Linear programming is a method to achieve the best outcome in a mathematical model whose requirements are represented by linear relationships</a:t>
          </a:r>
          <a:endParaRPr lang="en-US" sz="1600" dirty="0"/>
        </a:p>
      </dgm:t>
    </dgm:pt>
    <dgm:pt modelId="{9BD6B1F5-9DA5-424B-925B-F393E4CE7177}" type="parTrans" cxnId="{327662DD-DECF-4048-8736-B9DC6E2B1465}">
      <dgm:prSet/>
      <dgm:spPr/>
      <dgm:t>
        <a:bodyPr/>
        <a:lstStyle/>
        <a:p>
          <a:endParaRPr lang="en-US" sz="1600"/>
        </a:p>
      </dgm:t>
    </dgm:pt>
    <dgm:pt modelId="{1A22B7C9-734E-414B-90D7-7419799E7741}" type="sibTrans" cxnId="{327662DD-DECF-4048-8736-B9DC6E2B1465}">
      <dgm:prSet/>
      <dgm:spPr/>
      <dgm:t>
        <a:bodyPr/>
        <a:lstStyle/>
        <a:p>
          <a:endParaRPr lang="en-US" sz="1600"/>
        </a:p>
      </dgm:t>
    </dgm:pt>
    <dgm:pt modelId="{A503A32B-8900-4CEE-83D9-9115A862FF4F}">
      <dgm:prSet custT="1"/>
      <dgm:spPr/>
      <dgm:t>
        <a:bodyPr/>
        <a:lstStyle/>
        <a:p>
          <a:r>
            <a:rPr lang="en-US" sz="1600" smtClean="0">
              <a:latin typeface="Verdana" panose="020B0604030504040204" pitchFamily="34" charset="0"/>
              <a:ea typeface="Verdana" panose="020B0604030504040204" pitchFamily="34" charset="0"/>
            </a:rPr>
            <a:t>The components of the equation are the input energy components of which we have found the constraints for, now we apply Linear Programming in Python. Giving us the minimum value of the energy for particular set of values of the input parameters.</a:t>
          </a:r>
          <a:endParaRPr lang="en-US" sz="1600" dirty="0" smtClean="0">
            <a:latin typeface="Verdana" panose="020B0604030504040204" pitchFamily="34" charset="0"/>
            <a:ea typeface="Verdana" panose="020B0604030504040204" pitchFamily="34" charset="0"/>
          </a:endParaRPr>
        </a:p>
      </dgm:t>
    </dgm:pt>
    <dgm:pt modelId="{76044D4B-4EB8-45D4-8C5B-7CDD13D8194C}" type="parTrans" cxnId="{6D48690A-031C-4F9A-A0C4-D6ABFAE584F2}">
      <dgm:prSet/>
      <dgm:spPr/>
      <dgm:t>
        <a:bodyPr/>
        <a:lstStyle/>
        <a:p>
          <a:endParaRPr lang="en-US" sz="1600"/>
        </a:p>
      </dgm:t>
    </dgm:pt>
    <dgm:pt modelId="{07696920-CD5D-4212-B4B6-51FF8204C472}" type="sibTrans" cxnId="{6D48690A-031C-4F9A-A0C4-D6ABFAE584F2}">
      <dgm:prSet/>
      <dgm:spPr/>
      <dgm:t>
        <a:bodyPr/>
        <a:lstStyle/>
        <a:p>
          <a:endParaRPr lang="en-US" sz="1600"/>
        </a:p>
      </dgm:t>
    </dgm:pt>
    <dgm:pt modelId="{F663BA94-30BA-48F2-A4F7-57E843C3064B}" type="pres">
      <dgm:prSet presAssocID="{DF01B7BE-14F3-4D06-9763-605E56E5F673}" presName="Name0" presStyleCnt="0">
        <dgm:presLayoutVars>
          <dgm:resizeHandles/>
        </dgm:presLayoutVars>
      </dgm:prSet>
      <dgm:spPr/>
    </dgm:pt>
    <dgm:pt modelId="{73133BAA-998B-46D7-AE4C-924F85D0E9E7}" type="pres">
      <dgm:prSet presAssocID="{3EFBCC87-DD0B-4FBD-9A7E-C138ADE515C5}" presName="text" presStyleLbl="node1" presStyleIdx="0" presStyleCnt="4" custScaleX="257590">
        <dgm:presLayoutVars>
          <dgm:bulletEnabled val="1"/>
        </dgm:presLayoutVars>
      </dgm:prSet>
      <dgm:spPr/>
      <dgm:t>
        <a:bodyPr/>
        <a:lstStyle/>
        <a:p>
          <a:endParaRPr lang="en-US"/>
        </a:p>
      </dgm:t>
    </dgm:pt>
    <dgm:pt modelId="{B2483BD0-B3D8-4A93-8C7F-C34F1AAE06E3}" type="pres">
      <dgm:prSet presAssocID="{F0F78D75-9017-4336-95A4-8102B08240DE}" presName="space" presStyleCnt="0"/>
      <dgm:spPr/>
    </dgm:pt>
    <dgm:pt modelId="{ECB2CEA5-EACD-47F8-8105-E9A07F9D64AF}" type="pres">
      <dgm:prSet presAssocID="{586203A0-4E8F-464C-A474-F95F0075E675}" presName="text" presStyleLbl="node1" presStyleIdx="1" presStyleCnt="4" custScaleX="164121">
        <dgm:presLayoutVars>
          <dgm:bulletEnabled val="1"/>
        </dgm:presLayoutVars>
      </dgm:prSet>
      <dgm:spPr/>
    </dgm:pt>
    <dgm:pt modelId="{57DA7AD1-9E3C-4F40-8634-1B88ED29A1F5}" type="pres">
      <dgm:prSet presAssocID="{1A22B7C9-734E-414B-90D7-7419799E7741}" presName="space" presStyleCnt="0"/>
      <dgm:spPr/>
    </dgm:pt>
    <dgm:pt modelId="{0394407E-D9F4-4E51-BFEF-45C8DBDCC42E}" type="pres">
      <dgm:prSet presAssocID="{CE11F782-F515-4663-BBC2-A3E930028733}" presName="text" presStyleLbl="node1" presStyleIdx="2" presStyleCnt="4" custScaleX="123885">
        <dgm:presLayoutVars>
          <dgm:bulletEnabled val="1"/>
        </dgm:presLayoutVars>
      </dgm:prSet>
      <dgm:spPr/>
    </dgm:pt>
    <dgm:pt modelId="{473767F0-3FB9-40AC-BDD8-9470E5B477D6}" type="pres">
      <dgm:prSet presAssocID="{EA1A40DA-0323-4025-B532-B8D6973281AB}" presName="space" presStyleCnt="0"/>
      <dgm:spPr/>
    </dgm:pt>
    <dgm:pt modelId="{7DE2A311-B9F2-4D23-A5AE-6607A9EDE9BA}" type="pres">
      <dgm:prSet presAssocID="{A503A32B-8900-4CEE-83D9-9115A862FF4F}" presName="text" presStyleLbl="node1" presStyleIdx="3" presStyleCnt="4" custScaleX="162325" custLinFactNeighborX="158" custLinFactNeighborY="15536">
        <dgm:presLayoutVars>
          <dgm:bulletEnabled val="1"/>
        </dgm:presLayoutVars>
      </dgm:prSet>
      <dgm:spPr/>
    </dgm:pt>
  </dgm:ptLst>
  <dgm:cxnLst>
    <dgm:cxn modelId="{9872B36A-0463-489A-BE1B-62C8C8508B3A}" type="presOf" srcId="{CE11F782-F515-4663-BBC2-A3E930028733}" destId="{0394407E-D9F4-4E51-BFEF-45C8DBDCC42E}" srcOrd="0" destOrd="0" presId="urn:diagrams.loki3.com/VaryingWidthList"/>
    <dgm:cxn modelId="{17CE4D39-2A1C-4533-B40B-37F5F8B205CD}" type="presOf" srcId="{3EFBCC87-DD0B-4FBD-9A7E-C138ADE515C5}" destId="{73133BAA-998B-46D7-AE4C-924F85D0E9E7}" srcOrd="0" destOrd="0" presId="urn:diagrams.loki3.com/VaryingWidthList"/>
    <dgm:cxn modelId="{327662DD-DECF-4048-8736-B9DC6E2B1465}" srcId="{DF01B7BE-14F3-4D06-9763-605E56E5F673}" destId="{586203A0-4E8F-464C-A474-F95F0075E675}" srcOrd="1" destOrd="0" parTransId="{9BD6B1F5-9DA5-424B-925B-F393E4CE7177}" sibTransId="{1A22B7C9-734E-414B-90D7-7419799E7741}"/>
    <dgm:cxn modelId="{6D48690A-031C-4F9A-A0C4-D6ABFAE584F2}" srcId="{DF01B7BE-14F3-4D06-9763-605E56E5F673}" destId="{A503A32B-8900-4CEE-83D9-9115A862FF4F}" srcOrd="3" destOrd="0" parTransId="{76044D4B-4EB8-45D4-8C5B-7CDD13D8194C}" sibTransId="{07696920-CD5D-4212-B4B6-51FF8204C472}"/>
    <dgm:cxn modelId="{2792EDC3-76E0-47A1-9CD8-1F2FC8789F54}" type="presOf" srcId="{A503A32B-8900-4CEE-83D9-9115A862FF4F}" destId="{7DE2A311-B9F2-4D23-A5AE-6607A9EDE9BA}" srcOrd="0" destOrd="0" presId="urn:diagrams.loki3.com/VaryingWidthList"/>
    <dgm:cxn modelId="{19FA153E-049C-4A90-9DD8-0A55A958E0DE}" srcId="{DF01B7BE-14F3-4D06-9763-605E56E5F673}" destId="{CE11F782-F515-4663-BBC2-A3E930028733}" srcOrd="2" destOrd="0" parTransId="{5554AA0B-6C3D-451C-89F0-E99EDC346A6C}" sibTransId="{EA1A40DA-0323-4025-B532-B8D6973281AB}"/>
    <dgm:cxn modelId="{1F638F2C-2B7B-48E2-95E2-C5276FBBF800}" type="presOf" srcId="{DF01B7BE-14F3-4D06-9763-605E56E5F673}" destId="{F663BA94-30BA-48F2-A4F7-57E843C3064B}" srcOrd="0" destOrd="0" presId="urn:diagrams.loki3.com/VaryingWidthList"/>
    <dgm:cxn modelId="{C10A7882-65C0-438B-BE3F-B84E5D61B287}" srcId="{DF01B7BE-14F3-4D06-9763-605E56E5F673}" destId="{3EFBCC87-DD0B-4FBD-9A7E-C138ADE515C5}" srcOrd="0" destOrd="0" parTransId="{3BD2CA7C-81A0-407C-B500-B61901DD210B}" sibTransId="{F0F78D75-9017-4336-95A4-8102B08240DE}"/>
    <dgm:cxn modelId="{F1F72454-EE55-43AA-B59B-4E8DCE09187A}" type="presOf" srcId="{586203A0-4E8F-464C-A474-F95F0075E675}" destId="{ECB2CEA5-EACD-47F8-8105-E9A07F9D64AF}" srcOrd="0" destOrd="0" presId="urn:diagrams.loki3.com/VaryingWidthList"/>
    <dgm:cxn modelId="{0FFCEC3A-3B3B-4B79-A8E1-74F472F7BAD4}" type="presParOf" srcId="{F663BA94-30BA-48F2-A4F7-57E843C3064B}" destId="{73133BAA-998B-46D7-AE4C-924F85D0E9E7}" srcOrd="0" destOrd="0" presId="urn:diagrams.loki3.com/VaryingWidthList"/>
    <dgm:cxn modelId="{67064323-AB85-431E-B9FD-1E1685E9FAEA}" type="presParOf" srcId="{F663BA94-30BA-48F2-A4F7-57E843C3064B}" destId="{B2483BD0-B3D8-4A93-8C7F-C34F1AAE06E3}" srcOrd="1" destOrd="0" presId="urn:diagrams.loki3.com/VaryingWidthList"/>
    <dgm:cxn modelId="{3C241040-278D-47F7-AE8C-7176A38291F1}" type="presParOf" srcId="{F663BA94-30BA-48F2-A4F7-57E843C3064B}" destId="{ECB2CEA5-EACD-47F8-8105-E9A07F9D64AF}" srcOrd="2" destOrd="0" presId="urn:diagrams.loki3.com/VaryingWidthList"/>
    <dgm:cxn modelId="{BA5A5746-3EEF-49CA-A66D-1654CC2B7D5F}" type="presParOf" srcId="{F663BA94-30BA-48F2-A4F7-57E843C3064B}" destId="{57DA7AD1-9E3C-4F40-8634-1B88ED29A1F5}" srcOrd="3" destOrd="0" presId="urn:diagrams.loki3.com/VaryingWidthList"/>
    <dgm:cxn modelId="{A3991F25-8B2B-4E2A-86B6-C8E23E638DD9}" type="presParOf" srcId="{F663BA94-30BA-48F2-A4F7-57E843C3064B}" destId="{0394407E-D9F4-4E51-BFEF-45C8DBDCC42E}" srcOrd="4" destOrd="0" presId="urn:diagrams.loki3.com/VaryingWidthList"/>
    <dgm:cxn modelId="{F2529EF2-7792-4A04-99F5-E570CAC92646}" type="presParOf" srcId="{F663BA94-30BA-48F2-A4F7-57E843C3064B}" destId="{473767F0-3FB9-40AC-BDD8-9470E5B477D6}" srcOrd="5" destOrd="0" presId="urn:diagrams.loki3.com/VaryingWidthList"/>
    <dgm:cxn modelId="{CBC3D758-9789-49B8-BE1C-C20ECD752777}" type="presParOf" srcId="{F663BA94-30BA-48F2-A4F7-57E843C3064B}" destId="{7DE2A311-B9F2-4D23-A5AE-6607A9EDE9BA}" srcOrd="6"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6D4D5-FA22-4166-BFA0-4F63FB07134B}">
      <dsp:nvSpPr>
        <dsp:cNvPr id="0" name=""/>
        <dsp:cNvSpPr/>
      </dsp:nvSpPr>
      <dsp:spPr>
        <a:xfrm rot="16200000">
          <a:off x="-1253580" y="1254516"/>
          <a:ext cx="4941581" cy="2432548"/>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0" tIns="0" rIns="85524" bIns="0" numCol="1" spcCol="1270" anchor="ctr" anchorCtr="0">
          <a:noAutofit/>
        </a:bodyPr>
        <a:lstStyle/>
        <a:p>
          <a:pPr lvl="0" algn="ctr" defTabSz="577850">
            <a:lnSpc>
              <a:spcPct val="90000"/>
            </a:lnSpc>
            <a:spcBef>
              <a:spcPct val="0"/>
            </a:spcBef>
            <a:spcAft>
              <a:spcPct val="35000"/>
            </a:spcAft>
          </a:pPr>
          <a:r>
            <a:rPr lang="en-US" sz="1300" kern="1200" dirty="0" smtClean="0">
              <a:latin typeface="Verdana" panose="020B0604030504040204" pitchFamily="34" charset="0"/>
              <a:ea typeface="Verdana" panose="020B0604030504040204" pitchFamily="34" charset="0"/>
            </a:rPr>
            <a:t>Ironmaking process adopts relatively complete process technology and equipment, which provides a good research and development foundation and supporting environment for the application of blast furnace big data technology and the improvement of the level of ironmaking intelligence. </a:t>
          </a:r>
          <a:endParaRPr lang="en-US" sz="1300" kern="1200" dirty="0"/>
        </a:p>
      </dsp:txBody>
      <dsp:txXfrm rot="5400000">
        <a:off x="936" y="988316"/>
        <a:ext cx="2432548" cy="2964949"/>
      </dsp:txXfrm>
    </dsp:sp>
    <dsp:sp modelId="{DA8D20C2-052C-4BCE-BFBA-0BC4B3928D9D}">
      <dsp:nvSpPr>
        <dsp:cNvPr id="0" name=""/>
        <dsp:cNvSpPr/>
      </dsp:nvSpPr>
      <dsp:spPr>
        <a:xfrm rot="16200000">
          <a:off x="1361411" y="1254516"/>
          <a:ext cx="4941581" cy="2432548"/>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0" tIns="0" rIns="85524" bIns="0" numCol="1" spcCol="1270" anchor="ctr" anchorCtr="0">
          <a:noAutofit/>
        </a:bodyPr>
        <a:lstStyle/>
        <a:p>
          <a:pPr lvl="0" algn="ctr" defTabSz="577850">
            <a:lnSpc>
              <a:spcPct val="90000"/>
            </a:lnSpc>
            <a:spcBef>
              <a:spcPct val="0"/>
            </a:spcBef>
            <a:spcAft>
              <a:spcPct val="35000"/>
            </a:spcAft>
          </a:pPr>
          <a:endParaRPr lang="en-US" sz="1300" kern="1200" dirty="0" smtClean="0">
            <a:latin typeface="Verdana" panose="020B0604030504040204" pitchFamily="34" charset="0"/>
            <a:ea typeface="Verdana" panose="020B0604030504040204" pitchFamily="34" charset="0"/>
          </a:endParaRPr>
        </a:p>
        <a:p>
          <a:pPr lvl="0" algn="ctr" defTabSz="577850">
            <a:lnSpc>
              <a:spcPct val="90000"/>
            </a:lnSpc>
            <a:spcBef>
              <a:spcPct val="0"/>
            </a:spcBef>
            <a:spcAft>
              <a:spcPct val="35000"/>
            </a:spcAft>
          </a:pPr>
          <a:r>
            <a:rPr lang="en-US" sz="1300" kern="1200" dirty="0" smtClean="0">
              <a:latin typeface="Verdana" panose="020B0604030504040204" pitchFamily="34" charset="0"/>
              <a:ea typeface="Verdana" panose="020B0604030504040204" pitchFamily="34" charset="0"/>
            </a:rPr>
            <a:t>During the long-term operation of the blast furnace, a large amount of smelting process data will be accumulated, giving full play to the value of big data, and deep mining of the inherent laws contained in big data through artificial intelligence technology. </a:t>
          </a:r>
          <a:endParaRPr lang="en-US" sz="1300" kern="1200" dirty="0"/>
        </a:p>
      </dsp:txBody>
      <dsp:txXfrm rot="5400000">
        <a:off x="2615927" y="988316"/>
        <a:ext cx="2432548" cy="2964949"/>
      </dsp:txXfrm>
    </dsp:sp>
    <dsp:sp modelId="{931E2299-281C-49A4-9D06-B5CC2BF4BD0D}">
      <dsp:nvSpPr>
        <dsp:cNvPr id="0" name=""/>
        <dsp:cNvSpPr/>
      </dsp:nvSpPr>
      <dsp:spPr>
        <a:xfrm rot="16200000">
          <a:off x="3976399" y="1254516"/>
          <a:ext cx="4941581" cy="2432548"/>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2550" tIns="0" rIns="85524" bIns="0" numCol="1" spcCol="1270" anchor="ctr" anchorCtr="0">
          <a:noAutofit/>
        </a:bodyPr>
        <a:lstStyle/>
        <a:p>
          <a:pPr lvl="0" algn="ctr" defTabSz="577850">
            <a:lnSpc>
              <a:spcPct val="90000"/>
            </a:lnSpc>
            <a:spcBef>
              <a:spcPct val="0"/>
            </a:spcBef>
            <a:spcAft>
              <a:spcPct val="35000"/>
            </a:spcAft>
          </a:pPr>
          <a:endParaRPr lang="en-US" sz="1300" kern="1200" dirty="0" smtClean="0">
            <a:latin typeface="Verdana" panose="020B0604030504040204" pitchFamily="34" charset="0"/>
            <a:ea typeface="Verdana" panose="020B0604030504040204" pitchFamily="34" charset="0"/>
          </a:endParaRPr>
        </a:p>
        <a:p>
          <a:pPr lvl="0" algn="ctr" defTabSz="577850">
            <a:lnSpc>
              <a:spcPct val="90000"/>
            </a:lnSpc>
            <a:spcBef>
              <a:spcPct val="0"/>
            </a:spcBef>
            <a:spcAft>
              <a:spcPct val="35000"/>
            </a:spcAft>
          </a:pPr>
          <a:r>
            <a:rPr lang="en-US" sz="1300" kern="1200" dirty="0" smtClean="0">
              <a:latin typeface="Verdana" panose="020B0604030504040204" pitchFamily="34" charset="0"/>
              <a:ea typeface="Verdana" panose="020B0604030504040204" pitchFamily="34" charset="0"/>
            </a:rPr>
            <a:t>The blast furnace process is a "black box" operation, and the smelting process is unpredictable. </a:t>
          </a:r>
        </a:p>
        <a:p>
          <a:pPr lvl="0" algn="ctr" defTabSz="577850">
            <a:lnSpc>
              <a:spcPct val="90000"/>
            </a:lnSpc>
            <a:spcBef>
              <a:spcPct val="0"/>
            </a:spcBef>
            <a:spcAft>
              <a:spcPct val="35000"/>
            </a:spcAft>
          </a:pPr>
          <a:r>
            <a:rPr lang="en-US" sz="1300" kern="1200" dirty="0" smtClean="0">
              <a:latin typeface="Verdana" panose="020B0604030504040204" pitchFamily="34" charset="0"/>
              <a:ea typeface="Verdana" panose="020B0604030504040204" pitchFamily="34" charset="0"/>
            </a:rPr>
            <a:t>Effectively forecasting and guiding production, and finally achieving refined and intelligent ironmaking, is of great significance to the steel industry.</a:t>
          </a:r>
          <a:endParaRPr lang="en-US" sz="1300" kern="1200" dirty="0"/>
        </a:p>
      </dsp:txBody>
      <dsp:txXfrm rot="5400000">
        <a:off x="5230915" y="988316"/>
        <a:ext cx="2432548" cy="29649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28816C-DC93-4BC6-ABCC-4AEFD26A1757}">
      <dsp:nvSpPr>
        <dsp:cNvPr id="0" name=""/>
        <dsp:cNvSpPr/>
      </dsp:nvSpPr>
      <dsp:spPr>
        <a:xfrm>
          <a:off x="-6126981" y="-937410"/>
          <a:ext cx="7293488" cy="7293488"/>
        </a:xfrm>
        <a:prstGeom prst="blockArc">
          <a:avLst>
            <a:gd name="adj1" fmla="val 18900000"/>
            <a:gd name="adj2" fmla="val 2700000"/>
            <a:gd name="adj3" fmla="val 296"/>
          </a:avLst>
        </a:pr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E55620-7871-44AF-8E29-AD4A1F68564C}">
      <dsp:nvSpPr>
        <dsp:cNvPr id="0" name=""/>
        <dsp:cNvSpPr/>
      </dsp:nvSpPr>
      <dsp:spPr>
        <a:xfrm>
          <a:off x="564817" y="434367"/>
          <a:ext cx="7809857" cy="8336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Cleaning and processing of Blast Furnace data to identify the interrelationships between input and output parameters.</a:t>
          </a:r>
          <a:endParaRPr lang="en-US" sz="1600" kern="1200" dirty="0">
            <a:latin typeface="Verdana" panose="020B0604030504040204" pitchFamily="34" charset="0"/>
            <a:ea typeface="Verdana" panose="020B0604030504040204" pitchFamily="34" charset="0"/>
          </a:endParaRPr>
        </a:p>
      </dsp:txBody>
      <dsp:txXfrm>
        <a:off x="564817" y="434367"/>
        <a:ext cx="7809857" cy="833607"/>
      </dsp:txXfrm>
    </dsp:sp>
    <dsp:sp modelId="{0C8FEB0D-8DC9-4FCC-BFE3-E60B0FF9BD3E}">
      <dsp:nvSpPr>
        <dsp:cNvPr id="0" name=""/>
        <dsp:cNvSpPr/>
      </dsp:nvSpPr>
      <dsp:spPr>
        <a:xfrm>
          <a:off x="89500" y="312386"/>
          <a:ext cx="1042009" cy="1042009"/>
        </a:xfrm>
        <a:prstGeom prst="ellipse">
          <a:avLst/>
        </a:prstGeom>
        <a:solidFill>
          <a:schemeClr val="accent1">
            <a:lumMod val="40000"/>
            <a:lumOff val="6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dsp:style>
    </dsp:sp>
    <dsp:sp modelId="{E33EEFC0-081F-4B83-89FC-79AA0680C58E}">
      <dsp:nvSpPr>
        <dsp:cNvPr id="0" name=""/>
        <dsp:cNvSpPr/>
      </dsp:nvSpPr>
      <dsp:spPr>
        <a:xfrm>
          <a:off x="1088431" y="1667215"/>
          <a:ext cx="7331930" cy="8336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Energy balance in blast furnace by finding input and output energies</a:t>
          </a:r>
          <a:endParaRPr lang="en-US" sz="1600" kern="1200" dirty="0">
            <a:latin typeface="Verdana" panose="020B0604030504040204" pitchFamily="34" charset="0"/>
            <a:ea typeface="Verdana" panose="020B0604030504040204" pitchFamily="34" charset="0"/>
          </a:endParaRPr>
        </a:p>
      </dsp:txBody>
      <dsp:txXfrm>
        <a:off x="1088431" y="1667215"/>
        <a:ext cx="7331930" cy="833607"/>
      </dsp:txXfrm>
    </dsp:sp>
    <dsp:sp modelId="{59E555BE-FA6B-4C5A-A561-CB2E196C6BB9}">
      <dsp:nvSpPr>
        <dsp:cNvPr id="0" name=""/>
        <dsp:cNvSpPr/>
      </dsp:nvSpPr>
      <dsp:spPr>
        <a:xfrm>
          <a:off x="567426" y="1563014"/>
          <a:ext cx="1042009" cy="1042009"/>
        </a:xfrm>
        <a:prstGeom prst="ellipse">
          <a:avLst/>
        </a:prstGeom>
        <a:solidFill>
          <a:schemeClr val="accent1">
            <a:lumMod val="40000"/>
            <a:lumOff val="6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dsp:style>
    </dsp:sp>
    <dsp:sp modelId="{6ACF86FB-CCEA-4DE8-A5CA-24D75083835C}">
      <dsp:nvSpPr>
        <dsp:cNvPr id="0" name=""/>
        <dsp:cNvSpPr/>
      </dsp:nvSpPr>
      <dsp:spPr>
        <a:xfrm>
          <a:off x="1080586" y="2898229"/>
          <a:ext cx="7331930" cy="8336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Developing of constraints  on the input parameters using the interrelation of input and output parameters from historical data</a:t>
          </a:r>
        </a:p>
      </dsp:txBody>
      <dsp:txXfrm>
        <a:off x="1080586" y="2898229"/>
        <a:ext cx="7331930" cy="833607"/>
      </dsp:txXfrm>
    </dsp:sp>
    <dsp:sp modelId="{F78843E7-4AC4-4096-B718-2D74E14C3198}">
      <dsp:nvSpPr>
        <dsp:cNvPr id="0" name=""/>
        <dsp:cNvSpPr/>
      </dsp:nvSpPr>
      <dsp:spPr>
        <a:xfrm>
          <a:off x="540021" y="2808307"/>
          <a:ext cx="1042009" cy="1042009"/>
        </a:xfrm>
        <a:prstGeom prst="ellipse">
          <a:avLst/>
        </a:prstGeom>
        <a:solidFill>
          <a:schemeClr val="accent1">
            <a:lumMod val="40000"/>
            <a:lumOff val="6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dsp:style>
    </dsp:sp>
    <dsp:sp modelId="{61650419-49CD-4C9B-8073-1859838B1880}">
      <dsp:nvSpPr>
        <dsp:cNvPr id="0" name=""/>
        <dsp:cNvSpPr/>
      </dsp:nvSpPr>
      <dsp:spPr>
        <a:xfrm>
          <a:off x="610504" y="4168472"/>
          <a:ext cx="7809857" cy="8336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Optimization techniques to minimize input energy</a:t>
          </a:r>
        </a:p>
      </dsp:txBody>
      <dsp:txXfrm>
        <a:off x="610504" y="4168472"/>
        <a:ext cx="7809857" cy="833607"/>
      </dsp:txXfrm>
    </dsp:sp>
    <dsp:sp modelId="{9932E8E3-6A5A-4F53-80AB-D86FBBD6FA25}">
      <dsp:nvSpPr>
        <dsp:cNvPr id="0" name=""/>
        <dsp:cNvSpPr/>
      </dsp:nvSpPr>
      <dsp:spPr>
        <a:xfrm>
          <a:off x="89500" y="4064271"/>
          <a:ext cx="1042009" cy="1042009"/>
        </a:xfrm>
        <a:prstGeom prst="ellipse">
          <a:avLst/>
        </a:prstGeom>
        <a:solidFill>
          <a:schemeClr val="accent1">
            <a:lumMod val="40000"/>
            <a:lumOff val="6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21CB8-9713-4034-91AC-DCA6BFF0B7C0}">
      <dsp:nvSpPr>
        <dsp:cNvPr id="0" name=""/>
        <dsp:cNvSpPr/>
      </dsp:nvSpPr>
      <dsp:spPr>
        <a:xfrm rot="16200000">
          <a:off x="-1020227" y="1021425"/>
          <a:ext cx="5157605" cy="3114754"/>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0" tIns="0" rIns="88886" bIns="0" numCol="1" spcCol="1270" anchor="ctr" anchorCtr="0">
          <a:noAutofit/>
        </a:bodyPr>
        <a:lstStyle/>
        <a:p>
          <a:pPr lvl="0" algn="ctr" defTabSz="622300">
            <a:lnSpc>
              <a:spcPct val="90000"/>
            </a:lnSpc>
            <a:spcBef>
              <a:spcPct val="0"/>
            </a:spcBef>
            <a:spcAft>
              <a:spcPct val="35000"/>
            </a:spcAft>
          </a:pPr>
          <a:r>
            <a:rPr lang="en-US" sz="1400" kern="1200" dirty="0" smtClean="0">
              <a:latin typeface="Verdana" panose="020B0604030504040204" pitchFamily="34" charset="0"/>
              <a:ea typeface="Verdana" panose="020B0604030504040204" pitchFamily="34" charset="0"/>
            </a:rPr>
            <a:t>There is a time lag of about 4-5 hours, from the time when the raw material is added and the time when the output material is tapped due to the pressure </a:t>
          </a:r>
          <a:r>
            <a:rPr lang="en-US" sz="1400" kern="1200" dirty="0" smtClean="0">
              <a:latin typeface="Verdana" panose="020B0604030504040204" pitchFamily="34" charset="0"/>
              <a:ea typeface="Verdana" panose="020B0604030504040204" pitchFamily="34" charset="0"/>
            </a:rPr>
            <a:t>applied by hot blast gas. </a:t>
          </a:r>
          <a:r>
            <a:rPr lang="en-US" sz="1400" kern="1200" dirty="0" smtClean="0">
              <a:latin typeface="Verdana" panose="020B0604030504040204" pitchFamily="34" charset="0"/>
              <a:ea typeface="Verdana" panose="020B0604030504040204" pitchFamily="34" charset="0"/>
            </a:rPr>
            <a:t>This leads to decrease in speed of descent of material dropped from top of the Blast Furnace  </a:t>
          </a:r>
          <a:endParaRPr lang="en-US" sz="1400" kern="1200" dirty="0"/>
        </a:p>
      </dsp:txBody>
      <dsp:txXfrm rot="5400000">
        <a:off x="1199" y="1031520"/>
        <a:ext cx="3114754" cy="3094563"/>
      </dsp:txXfrm>
    </dsp:sp>
    <dsp:sp modelId="{44768B14-A005-43BA-8760-2ED146A06CF1}">
      <dsp:nvSpPr>
        <dsp:cNvPr id="0" name=""/>
        <dsp:cNvSpPr/>
      </dsp:nvSpPr>
      <dsp:spPr>
        <a:xfrm rot="16200000">
          <a:off x="2332514" y="1021425"/>
          <a:ext cx="5157605" cy="3114754"/>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0" tIns="0" rIns="88886" bIns="0" numCol="1" spcCol="1270" anchor="ctr" anchorCtr="0">
          <a:noAutofit/>
        </a:bodyPr>
        <a:lstStyle/>
        <a:p>
          <a:pPr lvl="0" algn="ctr" defTabSz="622300">
            <a:lnSpc>
              <a:spcPct val="90000"/>
            </a:lnSpc>
            <a:spcBef>
              <a:spcPct val="0"/>
            </a:spcBef>
            <a:spcAft>
              <a:spcPct val="35000"/>
            </a:spcAft>
          </a:pPr>
          <a:r>
            <a:rPr lang="en-US" sz="1400" kern="1200" dirty="0" smtClean="0">
              <a:latin typeface="Verdana" panose="020B0604030504040204" pitchFamily="34" charset="0"/>
              <a:ea typeface="Verdana" panose="020B0604030504040204" pitchFamily="34" charset="0"/>
            </a:rPr>
            <a:t>During residence of hot metal inside the blast furnace, the hot metal comes in contact with dead man zone and hearth refractory, wherein the gradual thermal loss takes place. So, the longer it remains in the blast furnace the cooler it’s temperature gets.</a:t>
          </a:r>
          <a:endParaRPr lang="en-US" sz="1400" kern="1200" dirty="0"/>
        </a:p>
      </dsp:txBody>
      <dsp:txXfrm rot="5400000">
        <a:off x="3353940" y="1031520"/>
        <a:ext cx="3114754" cy="3094563"/>
      </dsp:txXfrm>
    </dsp:sp>
    <dsp:sp modelId="{6AF620DB-EE17-442C-AFDE-ACCA58360FF2}">
      <dsp:nvSpPr>
        <dsp:cNvPr id="0" name=""/>
        <dsp:cNvSpPr/>
      </dsp:nvSpPr>
      <dsp:spPr>
        <a:xfrm rot="16200000">
          <a:off x="5676499" y="1021425"/>
          <a:ext cx="5157605" cy="3114754"/>
        </a:xfrm>
        <a:prstGeom prst="flowChartManualOperati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0" tIns="0" rIns="88886" bIns="0" numCol="1" spcCol="1270" anchor="ctr" anchorCtr="0">
          <a:noAutofit/>
        </a:bodyPr>
        <a:lstStyle/>
        <a:p>
          <a:pPr lvl="0" algn="ctr" defTabSz="622300">
            <a:lnSpc>
              <a:spcPct val="90000"/>
            </a:lnSpc>
            <a:spcBef>
              <a:spcPct val="0"/>
            </a:spcBef>
            <a:spcAft>
              <a:spcPct val="35000"/>
            </a:spcAft>
          </a:pPr>
          <a:r>
            <a:rPr lang="en-US" sz="1400" kern="1200" dirty="0" smtClean="0">
              <a:latin typeface="Verdana" panose="020B0604030504040204" pitchFamily="34" charset="0"/>
              <a:ea typeface="Verdana" panose="020B0604030504040204" pitchFamily="34" charset="0"/>
            </a:rPr>
            <a:t>The Principal components are Burden descent rate, Top gas Temperature, Gas Utilization, Differential Pressures and gas Permeability resistance for predicting the Hot Metal Temperature. Channeling is a non-homogenous condition of the Burden distribution where ascending gases tries to preferentially flow, resulting in changes in the Gas flow pattern in top gas and subsequently affects the Burden movement down the stock line.</a:t>
          </a:r>
          <a:endParaRPr lang="en-US" sz="1400" kern="1200" dirty="0"/>
        </a:p>
      </dsp:txBody>
      <dsp:txXfrm rot="5400000">
        <a:off x="6697925" y="1031520"/>
        <a:ext cx="3114754" cy="30945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33EA4C-EBA8-4043-B6FF-6B33AC44D438}">
      <dsp:nvSpPr>
        <dsp:cNvPr id="0" name=""/>
        <dsp:cNvSpPr/>
      </dsp:nvSpPr>
      <dsp:spPr>
        <a:xfrm>
          <a:off x="1579795" y="72007"/>
          <a:ext cx="5909047" cy="670614"/>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Selecting  KPI’s in Output Parameters</a:t>
          </a:r>
          <a:endParaRPr lang="en-IN" sz="1800" kern="1200" dirty="0">
            <a:latin typeface="Verdana" panose="020B0604030504040204" pitchFamily="34" charset="0"/>
            <a:ea typeface="Verdana" panose="020B0604030504040204" pitchFamily="34" charset="0"/>
          </a:endParaRPr>
        </a:p>
      </dsp:txBody>
      <dsp:txXfrm>
        <a:off x="1599437" y="91649"/>
        <a:ext cx="4982240" cy="631330"/>
      </dsp:txXfrm>
    </dsp:sp>
    <dsp:sp modelId="{BB41B39B-307D-4EC8-9F9B-8429A7184837}">
      <dsp:nvSpPr>
        <dsp:cNvPr id="0" name=""/>
        <dsp:cNvSpPr/>
      </dsp:nvSpPr>
      <dsp:spPr>
        <a:xfrm>
          <a:off x="2680513" y="1103241"/>
          <a:ext cx="3817801" cy="708176"/>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Obtaining Constraints on Output Parameters</a:t>
          </a:r>
          <a:endParaRPr lang="en-IN" sz="1800" kern="1200" dirty="0">
            <a:latin typeface="Verdana" panose="020B0604030504040204" pitchFamily="34" charset="0"/>
            <a:ea typeface="Verdana" panose="020B0604030504040204" pitchFamily="34" charset="0"/>
          </a:endParaRPr>
        </a:p>
      </dsp:txBody>
      <dsp:txXfrm>
        <a:off x="2701255" y="1123983"/>
        <a:ext cx="3163551" cy="666692"/>
      </dsp:txXfrm>
    </dsp:sp>
    <dsp:sp modelId="{998F49EF-7020-441C-B2A2-65FEC2B105F9}">
      <dsp:nvSpPr>
        <dsp:cNvPr id="0" name=""/>
        <dsp:cNvSpPr/>
      </dsp:nvSpPr>
      <dsp:spPr>
        <a:xfrm>
          <a:off x="1746561" y="2160238"/>
          <a:ext cx="5814270" cy="67060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Obtaining Constraints on Input       …..parameters using output constraints</a:t>
          </a:r>
          <a:endParaRPr lang="en-IN" sz="1800" kern="1200" dirty="0">
            <a:latin typeface="Verdana" panose="020B0604030504040204" pitchFamily="34" charset="0"/>
            <a:ea typeface="Verdana" panose="020B0604030504040204" pitchFamily="34" charset="0"/>
          </a:endParaRPr>
        </a:p>
      </dsp:txBody>
      <dsp:txXfrm>
        <a:off x="1766202" y="2179879"/>
        <a:ext cx="4841783" cy="631323"/>
      </dsp:txXfrm>
    </dsp:sp>
    <dsp:sp modelId="{7E519EA2-7F57-4D66-9B1A-57246BB88006}">
      <dsp:nvSpPr>
        <dsp:cNvPr id="0" name=""/>
        <dsp:cNvSpPr/>
      </dsp:nvSpPr>
      <dsp:spPr>
        <a:xfrm>
          <a:off x="1873251" y="3157423"/>
          <a:ext cx="5432193" cy="708923"/>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Preparation of Objective function for       input energy</a:t>
          </a:r>
          <a:endParaRPr lang="en-IN" sz="1800" kern="1200" dirty="0">
            <a:latin typeface="Verdana" panose="020B0604030504040204" pitchFamily="34" charset="0"/>
            <a:ea typeface="Verdana" panose="020B0604030504040204" pitchFamily="34" charset="0"/>
          </a:endParaRPr>
        </a:p>
      </dsp:txBody>
      <dsp:txXfrm>
        <a:off x="1894015" y="3178187"/>
        <a:ext cx="4518785" cy="667395"/>
      </dsp:txXfrm>
    </dsp:sp>
    <dsp:sp modelId="{B86B0CF9-DCF4-4975-8EEA-54F62CFEF327}">
      <dsp:nvSpPr>
        <dsp:cNvPr id="0" name=""/>
        <dsp:cNvSpPr/>
      </dsp:nvSpPr>
      <dsp:spPr>
        <a:xfrm>
          <a:off x="2448489" y="4248473"/>
          <a:ext cx="4824304" cy="650951"/>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Minimizing objective function  -    using Linear Optimisation</a:t>
          </a:r>
          <a:endParaRPr lang="en-IN" sz="1800" kern="1200" dirty="0">
            <a:latin typeface="Verdana" panose="020B0604030504040204" pitchFamily="34" charset="0"/>
            <a:ea typeface="Verdana" panose="020B0604030504040204" pitchFamily="34" charset="0"/>
          </a:endParaRPr>
        </a:p>
      </dsp:txBody>
      <dsp:txXfrm>
        <a:off x="2467555" y="4267539"/>
        <a:ext cx="4011860" cy="612819"/>
      </dsp:txXfrm>
    </dsp:sp>
    <dsp:sp modelId="{04B0673B-9D00-4FE8-AECD-23E45878747E}">
      <dsp:nvSpPr>
        <dsp:cNvPr id="0" name=""/>
        <dsp:cNvSpPr/>
      </dsp:nvSpPr>
      <dsp:spPr>
        <a:xfrm>
          <a:off x="4184783" y="576066"/>
          <a:ext cx="606595" cy="606595"/>
        </a:xfrm>
        <a:prstGeom prst="downArrow">
          <a:avLst>
            <a:gd name="adj1" fmla="val 55000"/>
            <a:gd name="adj2" fmla="val 45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dsp:txBody>
      <dsp:txXfrm>
        <a:off x="4321267" y="576066"/>
        <a:ext cx="333627" cy="456463"/>
      </dsp:txXfrm>
    </dsp:sp>
    <dsp:sp modelId="{14E5CF5F-F885-4304-B8EB-13E19D87CD9B}">
      <dsp:nvSpPr>
        <dsp:cNvPr id="0" name=""/>
        <dsp:cNvSpPr/>
      </dsp:nvSpPr>
      <dsp:spPr>
        <a:xfrm>
          <a:off x="4197108" y="1698933"/>
          <a:ext cx="606595" cy="606595"/>
        </a:xfrm>
        <a:prstGeom prst="downArrow">
          <a:avLst>
            <a:gd name="adj1" fmla="val 55000"/>
            <a:gd name="adj2" fmla="val 45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IN" sz="1800" kern="1200" dirty="0">
            <a:latin typeface="Verdana" panose="020B0604030504040204" pitchFamily="34" charset="0"/>
            <a:ea typeface="Verdana" panose="020B0604030504040204" pitchFamily="34" charset="0"/>
          </a:endParaRPr>
        </a:p>
      </dsp:txBody>
      <dsp:txXfrm>
        <a:off x="4333592" y="1698933"/>
        <a:ext cx="333627" cy="456463"/>
      </dsp:txXfrm>
    </dsp:sp>
    <dsp:sp modelId="{83E23A2B-BEBE-4466-8084-F67F6A035EA6}">
      <dsp:nvSpPr>
        <dsp:cNvPr id="0" name=""/>
        <dsp:cNvSpPr/>
      </dsp:nvSpPr>
      <dsp:spPr>
        <a:xfrm>
          <a:off x="4253944" y="2764008"/>
          <a:ext cx="606595" cy="606595"/>
        </a:xfrm>
        <a:prstGeom prst="downArrow">
          <a:avLst>
            <a:gd name="adj1" fmla="val 55000"/>
            <a:gd name="adj2" fmla="val 45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dsp:txBody>
      <dsp:txXfrm>
        <a:off x="4390428" y="2764008"/>
        <a:ext cx="333627" cy="456463"/>
      </dsp:txXfrm>
    </dsp:sp>
    <dsp:sp modelId="{CC8A9EA6-383B-49F7-986F-559E253C7484}">
      <dsp:nvSpPr>
        <dsp:cNvPr id="0" name=""/>
        <dsp:cNvSpPr/>
      </dsp:nvSpPr>
      <dsp:spPr>
        <a:xfrm>
          <a:off x="4282216" y="3744413"/>
          <a:ext cx="606595" cy="606595"/>
        </a:xfrm>
        <a:prstGeom prst="downArrow">
          <a:avLst>
            <a:gd name="adj1" fmla="val 55000"/>
            <a:gd name="adj2" fmla="val 45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dsp:txBody>
      <dsp:txXfrm>
        <a:off x="4418700" y="3744413"/>
        <a:ext cx="333627" cy="45646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133BAA-998B-46D7-AE4C-924F85D0E9E7}">
      <dsp:nvSpPr>
        <dsp:cNvPr id="0" name=""/>
        <dsp:cNvSpPr/>
      </dsp:nvSpPr>
      <dsp:spPr>
        <a:xfrm>
          <a:off x="2232244" y="2603"/>
          <a:ext cx="4752535" cy="12523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Using the input energy equation, we apply Linear Programming to the equation. </a:t>
          </a:r>
          <a:endParaRPr lang="en-US" sz="1600" kern="1200" dirty="0"/>
        </a:p>
      </dsp:txBody>
      <dsp:txXfrm>
        <a:off x="2232244" y="2603"/>
        <a:ext cx="4752535" cy="1252394"/>
      </dsp:txXfrm>
    </dsp:sp>
    <dsp:sp modelId="{ECB2CEA5-EACD-47F8-8105-E9A07F9D64AF}">
      <dsp:nvSpPr>
        <dsp:cNvPr id="0" name=""/>
        <dsp:cNvSpPr/>
      </dsp:nvSpPr>
      <dsp:spPr>
        <a:xfrm>
          <a:off x="1728188" y="1317617"/>
          <a:ext cx="5760647" cy="12523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Linear programming is a method to achieve the best outcome in a mathematical model whose requirements are represented by linear relationships</a:t>
          </a:r>
          <a:endParaRPr lang="en-US" sz="1600" kern="1200" dirty="0"/>
        </a:p>
      </dsp:txBody>
      <dsp:txXfrm>
        <a:off x="1728188" y="1317617"/>
        <a:ext cx="5760647" cy="1252394"/>
      </dsp:txXfrm>
    </dsp:sp>
    <dsp:sp modelId="{0394407E-D9F4-4E51-BFEF-45C8DBDCC42E}">
      <dsp:nvSpPr>
        <dsp:cNvPr id="0" name=""/>
        <dsp:cNvSpPr/>
      </dsp:nvSpPr>
      <dsp:spPr>
        <a:xfrm>
          <a:off x="2880316" y="2632631"/>
          <a:ext cx="3456391" cy="12523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latin typeface="Verdana" panose="020B0604030504040204" pitchFamily="34" charset="0"/>
              <a:ea typeface="Verdana" panose="020B0604030504040204" pitchFamily="34" charset="0"/>
            </a:rPr>
            <a:t>The primary goal of LP is to minimize the linear objective function, subject to a set of linear equality and inequality constraints.</a:t>
          </a:r>
          <a:endParaRPr lang="en-US" sz="1600" kern="1200" dirty="0" smtClean="0">
            <a:latin typeface="Verdana" panose="020B0604030504040204" pitchFamily="34" charset="0"/>
            <a:ea typeface="Verdana" panose="020B0604030504040204" pitchFamily="34" charset="0"/>
          </a:endParaRPr>
        </a:p>
      </dsp:txBody>
      <dsp:txXfrm>
        <a:off x="2880316" y="2632631"/>
        <a:ext cx="3456391" cy="1252394"/>
      </dsp:txXfrm>
    </dsp:sp>
    <dsp:sp modelId="{7DE2A311-B9F2-4D23-A5AE-6607A9EDE9BA}">
      <dsp:nvSpPr>
        <dsp:cNvPr id="0" name=""/>
        <dsp:cNvSpPr/>
      </dsp:nvSpPr>
      <dsp:spPr>
        <a:xfrm>
          <a:off x="161364" y="3950248"/>
          <a:ext cx="8911642" cy="12523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smtClean="0">
              <a:latin typeface="Verdana" panose="020B0604030504040204" pitchFamily="34" charset="0"/>
              <a:ea typeface="Verdana" panose="020B0604030504040204" pitchFamily="34" charset="0"/>
            </a:rPr>
            <a:t>The components of the equation are the input energy components of which we have found the constraints for, now we apply Linear Programming in Python. Giving us the minimum value of the energy for particular set of values of the input parameters.</a:t>
          </a:r>
          <a:endParaRPr lang="en-US" sz="1600" kern="1200" dirty="0" smtClean="0">
            <a:latin typeface="Verdana" panose="020B0604030504040204" pitchFamily="34" charset="0"/>
            <a:ea typeface="Verdana" panose="020B0604030504040204" pitchFamily="34" charset="0"/>
          </a:endParaRPr>
        </a:p>
      </dsp:txBody>
      <dsp:txXfrm>
        <a:off x="161364" y="3950248"/>
        <a:ext cx="8911642" cy="125239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461</cdr:x>
      <cdr:y>0.5</cdr:y>
    </cdr:from>
    <cdr:to>
      <cdr:x>1</cdr:x>
      <cdr:y>0.66703</cdr:y>
    </cdr:to>
    <cdr:cxnSp macro="">
      <cdr:nvCxnSpPr>
        <cdr:cNvPr id="2" name="Straight Arrow Connector 1"/>
        <cdr:cNvCxnSpPr/>
      </cdr:nvCxnSpPr>
      <cdr:spPr>
        <a:xfrm xmlns:a="http://schemas.openxmlformats.org/drawingml/2006/main">
          <a:off x="183111" y="1044971"/>
          <a:ext cx="3921345" cy="349091"/>
        </a:xfrm>
        <a:prstGeom xmlns:a="http://schemas.openxmlformats.org/drawingml/2006/main" prst="straightConnector1">
          <a:avLst/>
        </a:prstGeom>
        <a:ln xmlns:a="http://schemas.openxmlformats.org/drawingml/2006/main" w="19050">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1944</cdr:x>
      <cdr:y>0.44434</cdr:y>
    </cdr:from>
    <cdr:to>
      <cdr:x>0.934</cdr:x>
      <cdr:y>0.8451</cdr:y>
    </cdr:to>
    <cdr:cxnSp macro="">
      <cdr:nvCxnSpPr>
        <cdr:cNvPr id="2" name="Straight Arrow Connector 1"/>
        <cdr:cNvCxnSpPr/>
      </cdr:nvCxnSpPr>
      <cdr:spPr>
        <a:xfrm xmlns:a="http://schemas.openxmlformats.org/drawingml/2006/main" flipV="1">
          <a:off x="415217" y="809100"/>
          <a:ext cx="2831592" cy="729725"/>
        </a:xfrm>
        <a:prstGeom xmlns:a="http://schemas.openxmlformats.org/drawingml/2006/main" prst="straightConnector1">
          <a:avLst/>
        </a:prstGeom>
        <a:ln xmlns:a="http://schemas.openxmlformats.org/drawingml/2006/main" w="19050">
          <a:solidFill>
            <a:schemeClr val="accent1"/>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9865</cdr:x>
      <cdr:y>0.49569</cdr:y>
    </cdr:from>
    <cdr:to>
      <cdr:x>0.94275</cdr:x>
      <cdr:y>0.62461</cdr:y>
    </cdr:to>
    <cdr:cxnSp macro="">
      <cdr:nvCxnSpPr>
        <cdr:cNvPr id="2" name="Straight Arrow Connector 1"/>
        <cdr:cNvCxnSpPr/>
      </cdr:nvCxnSpPr>
      <cdr:spPr>
        <a:xfrm xmlns:a="http://schemas.openxmlformats.org/drawingml/2006/main">
          <a:off x="328915" y="913326"/>
          <a:ext cx="2814270" cy="237534"/>
        </a:xfrm>
        <a:prstGeom xmlns:a="http://schemas.openxmlformats.org/drawingml/2006/main" prst="straightConnector1">
          <a:avLst/>
        </a:prstGeom>
        <a:ln xmlns:a="http://schemas.openxmlformats.org/drawingml/2006/main" w="19050">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4128</cdr:x>
      <cdr:y>0.24566</cdr:y>
    </cdr:from>
    <cdr:to>
      <cdr:x>0.97955</cdr:x>
      <cdr:y>0.52897</cdr:y>
    </cdr:to>
    <cdr:cxnSp macro="">
      <cdr:nvCxnSpPr>
        <cdr:cNvPr id="4" name="Straight Arrow Connector 3"/>
        <cdr:cNvCxnSpPr/>
      </cdr:nvCxnSpPr>
      <cdr:spPr>
        <a:xfrm xmlns:a="http://schemas.openxmlformats.org/drawingml/2006/main">
          <a:off x="497565" y="437075"/>
          <a:ext cx="2952328" cy="504057"/>
        </a:xfrm>
        <a:prstGeom xmlns:a="http://schemas.openxmlformats.org/drawingml/2006/main" prst="straightConnector1">
          <a:avLst/>
        </a:prstGeom>
        <a:ln xmlns:a="http://schemas.openxmlformats.org/drawingml/2006/main" w="19050">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1267</cdr:x>
      <cdr:y>0.1789</cdr:y>
    </cdr:from>
    <cdr:to>
      <cdr:x>0.88733</cdr:x>
      <cdr:y>0.59309</cdr:y>
    </cdr:to>
    <cdr:cxnSp macro="">
      <cdr:nvCxnSpPr>
        <cdr:cNvPr id="2" name="Straight Arrow Connector 1"/>
        <cdr:cNvCxnSpPr/>
      </cdr:nvCxnSpPr>
      <cdr:spPr>
        <a:xfrm xmlns:a="http://schemas.openxmlformats.org/drawingml/2006/main" flipV="1">
          <a:off x="433567" y="357559"/>
          <a:ext cx="2980922" cy="827801"/>
        </a:xfrm>
        <a:prstGeom xmlns:a="http://schemas.openxmlformats.org/drawingml/2006/main" prst="straightConnector1">
          <a:avLst/>
        </a:prstGeom>
        <a:ln xmlns:a="http://schemas.openxmlformats.org/drawingml/2006/main" w="19050">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04T04:38:20.849"/>
    </inkml:context>
    <inkml:brush xml:id="br0">
      <inkml:brushProperty name="width" value="0.05" units="cm"/>
      <inkml:brushProperty name="height" value="0.05" units="cm"/>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8667"/>
          </a:xfrm>
          <a:prstGeom prst="rect">
            <a:avLst/>
          </a:prstGeom>
        </p:spPr>
        <p:txBody>
          <a:bodyPr vert="horz" lIns="79745" tIns="39872" rIns="79745" bIns="39872" rtlCol="0"/>
          <a:lstStyle>
            <a:lvl1pPr algn="l">
              <a:defRPr sz="1000"/>
            </a:lvl1pPr>
          </a:lstStyle>
          <a:p>
            <a:endParaRPr lang="en-US"/>
          </a:p>
        </p:txBody>
      </p:sp>
      <p:sp>
        <p:nvSpPr>
          <p:cNvPr id="3" name="Date Placeholder 2"/>
          <p:cNvSpPr>
            <a:spLocks noGrp="1"/>
          </p:cNvSpPr>
          <p:nvPr>
            <p:ph type="dt" idx="1"/>
          </p:nvPr>
        </p:nvSpPr>
        <p:spPr>
          <a:xfrm>
            <a:off x="5591938" y="0"/>
            <a:ext cx="4278154" cy="338667"/>
          </a:xfrm>
          <a:prstGeom prst="rect">
            <a:avLst/>
          </a:prstGeom>
        </p:spPr>
        <p:txBody>
          <a:bodyPr vert="horz" lIns="79745" tIns="39872" rIns="79745" bIns="39872" rtlCol="0"/>
          <a:lstStyle>
            <a:lvl1pPr algn="r">
              <a:defRPr sz="1000"/>
            </a:lvl1pPr>
          </a:lstStyle>
          <a:p>
            <a:fld id="{994AED24-76EF-4270-82A9-C03EBBBFC8BF}" type="datetimeFigureOut">
              <a:rPr lang="en-US" smtClean="0"/>
              <a:pPr/>
              <a:t>7/10/2024</a:t>
            </a:fld>
            <a:endParaRPr lang="en-US"/>
          </a:p>
        </p:txBody>
      </p:sp>
      <p:sp>
        <p:nvSpPr>
          <p:cNvPr id="4" name="Slide Image Placeholder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79745" tIns="39872" rIns="79745" bIns="39872" rtlCol="0" anchor="ctr"/>
          <a:lstStyle/>
          <a:p>
            <a:endParaRPr lang="en-US"/>
          </a:p>
        </p:txBody>
      </p:sp>
      <p:sp>
        <p:nvSpPr>
          <p:cNvPr id="5" name="Notes Placeholder 4"/>
          <p:cNvSpPr>
            <a:spLocks noGrp="1"/>
          </p:cNvSpPr>
          <p:nvPr>
            <p:ph type="body" sz="quarter" idx="3"/>
          </p:nvPr>
        </p:nvSpPr>
        <p:spPr>
          <a:xfrm>
            <a:off x="987267" y="3244643"/>
            <a:ext cx="7898130" cy="2654707"/>
          </a:xfrm>
          <a:prstGeom prst="rect">
            <a:avLst/>
          </a:prstGeom>
        </p:spPr>
        <p:txBody>
          <a:bodyPr vert="horz" lIns="79745" tIns="39872" rIns="79745" bIns="3987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03448"/>
            <a:ext cx="4278154" cy="338666"/>
          </a:xfrm>
          <a:prstGeom prst="rect">
            <a:avLst/>
          </a:prstGeom>
        </p:spPr>
        <p:txBody>
          <a:bodyPr vert="horz" lIns="79745" tIns="39872" rIns="79745" bIns="39872" rtlCol="0" anchor="b"/>
          <a:lstStyle>
            <a:lvl1pPr algn="l">
              <a:defRPr sz="1000"/>
            </a:lvl1pPr>
          </a:lstStyle>
          <a:p>
            <a:endParaRPr lang="en-US"/>
          </a:p>
        </p:txBody>
      </p:sp>
      <p:sp>
        <p:nvSpPr>
          <p:cNvPr id="7" name="Slide Number Placeholder 6"/>
          <p:cNvSpPr>
            <a:spLocks noGrp="1"/>
          </p:cNvSpPr>
          <p:nvPr>
            <p:ph type="sldNum" sz="quarter" idx="5"/>
          </p:nvPr>
        </p:nvSpPr>
        <p:spPr>
          <a:xfrm>
            <a:off x="5591938" y="6403448"/>
            <a:ext cx="4278154" cy="338666"/>
          </a:xfrm>
          <a:prstGeom prst="rect">
            <a:avLst/>
          </a:prstGeom>
        </p:spPr>
        <p:txBody>
          <a:bodyPr vert="horz" lIns="79745" tIns="39872" rIns="79745" bIns="39872" rtlCol="0" anchor="b"/>
          <a:lstStyle>
            <a:lvl1pPr algn="r">
              <a:defRPr sz="1000"/>
            </a:lvl1pPr>
          </a:lstStyle>
          <a:p>
            <a:fld id="{16F2E34D-0E41-415B-B0E6-A8ED21CEA62D}" type="slidenum">
              <a:rPr lang="en-US" smtClean="0"/>
              <a:pPr/>
              <a:t>‹#›</a:t>
            </a:fld>
            <a:endParaRPr lang="en-US"/>
          </a:p>
        </p:txBody>
      </p:sp>
    </p:spTree>
    <p:extLst>
      <p:ext uri="{BB962C8B-B14F-4D97-AF65-F5344CB8AC3E}">
        <p14:creationId xmlns:p14="http://schemas.microsoft.com/office/powerpoint/2010/main" val="2495726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855450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688097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227283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40151391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Calibri Light"/>
                <a:cs typeface="Calibr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Calibri Light"/>
                <a:cs typeface="Calibr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7998"/>
          </a:xfrm>
          <a:prstGeom prst="rect">
            <a:avLst/>
          </a:prstGeom>
        </p:spPr>
      </p:pic>
      <p:pic>
        <p:nvPicPr>
          <p:cNvPr id="17" name="bg object 17"/>
          <p:cNvPicPr/>
          <p:nvPr/>
        </p:nvPicPr>
        <p:blipFill>
          <a:blip r:embed="rId3" cstate="print"/>
          <a:stretch>
            <a:fillRect/>
          </a:stretch>
        </p:blipFill>
        <p:spPr>
          <a:xfrm>
            <a:off x="11050523" y="76200"/>
            <a:ext cx="990600" cy="469391"/>
          </a:xfrm>
          <a:prstGeom prst="rect">
            <a:avLst/>
          </a:prstGeom>
        </p:spPr>
      </p:pic>
      <p:pic>
        <p:nvPicPr>
          <p:cNvPr id="18" name="bg object 18"/>
          <p:cNvPicPr/>
          <p:nvPr/>
        </p:nvPicPr>
        <p:blipFill>
          <a:blip r:embed="rId4" cstate="print"/>
          <a:stretch>
            <a:fillRect/>
          </a:stretch>
        </p:blipFill>
        <p:spPr>
          <a:xfrm>
            <a:off x="2860548" y="1013460"/>
            <a:ext cx="6682740" cy="4454652"/>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025650" y="1516888"/>
            <a:ext cx="8807450"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09600" y="6377940"/>
            <a:ext cx="2804160" cy="276999"/>
          </a:xfrm>
        </p:spPr>
        <p:txBody>
          <a:bodyPr/>
          <a:lstStyle/>
          <a:p>
            <a:fld id="{C764DE79-268F-4C1A-8933-263129D2AF90}" type="datetimeFigureOut">
              <a:rPr lang="en-US" dirty="0"/>
              <a:t>7/10/2024</a:t>
            </a:fld>
            <a:endParaRPr lang="en-US" dirty="0"/>
          </a:p>
        </p:txBody>
      </p:sp>
      <p:sp>
        <p:nvSpPr>
          <p:cNvPr id="5" name="Footer Placeholder 4"/>
          <p:cNvSpPr>
            <a:spLocks noGrp="1"/>
          </p:cNvSpPr>
          <p:nvPr>
            <p:ph type="ftr" sz="quarter" idx="11"/>
          </p:nvPr>
        </p:nvSpPr>
        <p:spPr>
          <a:xfrm>
            <a:off x="4145280" y="6377940"/>
            <a:ext cx="3901440" cy="276999"/>
          </a:xfrm>
        </p:spPr>
        <p:txBody>
          <a:bodyPr/>
          <a:lstStyle/>
          <a:p>
            <a:endParaRPr lang="en-US" dirty="0"/>
          </a:p>
        </p:txBody>
      </p:sp>
      <p:sp>
        <p:nvSpPr>
          <p:cNvPr id="6" name="Slide Number Placeholder 5"/>
          <p:cNvSpPr>
            <a:spLocks noGrp="1"/>
          </p:cNvSpPr>
          <p:nvPr>
            <p:ph type="sldNum" sz="quarter" idx="12"/>
          </p:nvPr>
        </p:nvSpPr>
        <p:spPr>
          <a:xfrm>
            <a:off x="8778240" y="6377940"/>
            <a:ext cx="2804160" cy="276999"/>
          </a:xfrm>
        </p:spPr>
        <p:txBody>
          <a:bodyPr/>
          <a:lstStyle/>
          <a:p>
            <a:fld id="{48F63A3B-78C7-47BE-AE5E-E10140E04643}" type="slidenum">
              <a:rPr lang="en-US" dirty="0"/>
              <a:t>‹#›</a:t>
            </a:fld>
            <a:endParaRPr lang="en-US" dirty="0"/>
          </a:p>
        </p:txBody>
      </p:sp>
      <p:sp>
        <p:nvSpPr>
          <p:cNvPr id="8" name="Picture Placeholder 7"/>
          <p:cNvSpPr>
            <a:spLocks noGrp="1"/>
          </p:cNvSpPr>
          <p:nvPr>
            <p:ph type="pic" sz="quarter" idx="13"/>
          </p:nvPr>
        </p:nvSpPr>
        <p:spPr>
          <a:xfrm>
            <a:off x="4295776" y="3076950"/>
            <a:ext cx="1368425" cy="276999"/>
          </a:xfrm>
        </p:spPr>
        <p:txBody>
          <a:bodyPr/>
          <a:lstStyle/>
          <a:p>
            <a:endParaRPr lang="en-US"/>
          </a:p>
        </p:txBody>
      </p:sp>
    </p:spTree>
    <p:extLst>
      <p:ext uri="{BB962C8B-B14F-4D97-AF65-F5344CB8AC3E}">
        <p14:creationId xmlns:p14="http://schemas.microsoft.com/office/powerpoint/2010/main" val="3825832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025650" y="1516888"/>
            <a:ext cx="8807450"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77940"/>
            <a:ext cx="2804160" cy="276999"/>
          </a:xfrm>
        </p:spPr>
        <p:txBody>
          <a:bodyPr/>
          <a:lstStyle/>
          <a:p>
            <a:fld id="{C764DE79-268F-4C1A-8933-263129D2AF90}" type="datetimeFigureOut">
              <a:rPr lang="en-US" dirty="0"/>
              <a:t>7/10/2024</a:t>
            </a:fld>
            <a:endParaRPr lang="en-US"/>
          </a:p>
        </p:txBody>
      </p:sp>
      <p:sp>
        <p:nvSpPr>
          <p:cNvPr id="5" name="Footer Placeholder 4"/>
          <p:cNvSpPr>
            <a:spLocks noGrp="1"/>
          </p:cNvSpPr>
          <p:nvPr>
            <p:ph type="ftr" sz="quarter" idx="11"/>
          </p:nvPr>
        </p:nvSpPr>
        <p:spPr>
          <a:xfrm>
            <a:off x="4145280" y="6377940"/>
            <a:ext cx="3901440" cy="276999"/>
          </a:xfrm>
        </p:spPr>
        <p:txBody>
          <a:bodyPr/>
          <a:lstStyle/>
          <a:p>
            <a:endParaRPr lang="en-US"/>
          </a:p>
        </p:txBody>
      </p:sp>
      <p:sp>
        <p:nvSpPr>
          <p:cNvPr id="6" name="Slide Number Placeholder 5"/>
          <p:cNvSpPr>
            <a:spLocks noGrp="1"/>
          </p:cNvSpPr>
          <p:nvPr>
            <p:ph type="sldNum" sz="quarter" idx="12"/>
          </p:nvPr>
        </p:nvSpPr>
        <p:spPr>
          <a:xfrm>
            <a:off x="8778240" y="6377940"/>
            <a:ext cx="2804160" cy="276999"/>
          </a:xfrm>
        </p:spPr>
        <p:txBody>
          <a:bodyPr/>
          <a:lstStyle/>
          <a:p>
            <a:fld id="{48F63A3B-78C7-47BE-AE5E-E10140E04643}" type="slidenum">
              <a:rPr lang="en-US" dirty="0"/>
              <a:t>‹#›</a:t>
            </a:fld>
            <a:endParaRPr lang="en-US"/>
          </a:p>
        </p:txBody>
      </p:sp>
      <p:sp>
        <p:nvSpPr>
          <p:cNvPr id="8" name="Picture Placeholder 7"/>
          <p:cNvSpPr>
            <a:spLocks noGrp="1"/>
          </p:cNvSpPr>
          <p:nvPr>
            <p:ph type="pic" sz="quarter" idx="13"/>
          </p:nvPr>
        </p:nvSpPr>
        <p:spPr>
          <a:xfrm>
            <a:off x="4295776" y="3076950"/>
            <a:ext cx="1368425" cy="276999"/>
          </a:xfrm>
        </p:spPr>
        <p:txBody>
          <a:bodyPr/>
          <a:lstStyle/>
          <a:p>
            <a:endParaRPr lang="en-US"/>
          </a:p>
        </p:txBody>
      </p:sp>
    </p:spTree>
    <p:extLst>
      <p:ext uri="{BB962C8B-B14F-4D97-AF65-F5344CB8AC3E}">
        <p14:creationId xmlns:p14="http://schemas.microsoft.com/office/powerpoint/2010/main" val="285563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9" cstate="print"/>
          <a:stretch>
            <a:fillRect/>
          </a:stretch>
        </p:blipFill>
        <p:spPr>
          <a:xfrm>
            <a:off x="0" y="0"/>
            <a:ext cx="12192000" cy="6857998"/>
          </a:xfrm>
          <a:prstGeom prst="rect">
            <a:avLst/>
          </a:prstGeom>
        </p:spPr>
      </p:pic>
      <p:pic>
        <p:nvPicPr>
          <p:cNvPr id="17" name="bg object 17"/>
          <p:cNvPicPr/>
          <p:nvPr/>
        </p:nvPicPr>
        <p:blipFill>
          <a:blip r:embed="rId10" cstate="print"/>
          <a:stretch>
            <a:fillRect/>
          </a:stretch>
        </p:blipFill>
        <p:spPr>
          <a:xfrm>
            <a:off x="11050523" y="76200"/>
            <a:ext cx="990600" cy="469391"/>
          </a:xfrm>
          <a:prstGeom prst="rect">
            <a:avLst/>
          </a:prstGeom>
        </p:spPr>
      </p:pic>
      <p:sp>
        <p:nvSpPr>
          <p:cNvPr id="2" name="Holder 2"/>
          <p:cNvSpPr>
            <a:spLocks noGrp="1"/>
          </p:cNvSpPr>
          <p:nvPr>
            <p:ph type="title"/>
          </p:nvPr>
        </p:nvSpPr>
        <p:spPr>
          <a:xfrm>
            <a:off x="1161415" y="388061"/>
            <a:ext cx="9869169" cy="574675"/>
          </a:xfrm>
          <a:prstGeom prst="rect">
            <a:avLst/>
          </a:prstGeom>
        </p:spPr>
        <p:txBody>
          <a:bodyPr wrap="square" lIns="0" tIns="0" rIns="0" bIns="0">
            <a:spAutoFit/>
          </a:bodyPr>
          <a:lstStyle>
            <a:lvl1pPr>
              <a:defRPr sz="3600" b="0" i="0">
                <a:solidFill>
                  <a:schemeClr val="tx1"/>
                </a:solidFill>
                <a:latin typeface="Calibri Light"/>
                <a:cs typeface="Calibri Light"/>
              </a:defRPr>
            </a:lvl1pPr>
          </a:lstStyle>
          <a:p>
            <a:endParaRPr/>
          </a:p>
        </p:txBody>
      </p:sp>
      <p:sp>
        <p:nvSpPr>
          <p:cNvPr id="3" name="Holder 3"/>
          <p:cNvSpPr>
            <a:spLocks noGrp="1"/>
          </p:cNvSpPr>
          <p:nvPr>
            <p:ph type="body" idx="1"/>
          </p:nvPr>
        </p:nvSpPr>
        <p:spPr>
          <a:xfrm>
            <a:off x="2025650" y="1516888"/>
            <a:ext cx="8807450" cy="349122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7/10/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pPr/>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0.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 Id="rId5" Type="http://schemas.openxmlformats.org/officeDocument/2006/relationships/image" Target="../media/image33.png"/><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Layout" Target="../diagrams/layout4.xml"/><Relationship Id="rId7" Type="http://schemas.openxmlformats.org/officeDocument/2006/relationships/image" Target="../media/image29.png"/><Relationship Id="rId2" Type="http://schemas.openxmlformats.org/officeDocument/2006/relationships/diagramData" Target="../diagrams/data4.xml"/><Relationship Id="rId1" Type="http://schemas.openxmlformats.org/officeDocument/2006/relationships/slideLayout" Target="../slideLayouts/slideLayout1.xml"/><Relationship Id="rId6" Type="http://schemas.microsoft.com/office/2007/relationships/diagramDrawing" Target="../diagrams/drawing4.xml"/><Relationship Id="rId5" Type="http://schemas.openxmlformats.org/officeDocument/2006/relationships/diagramColors" Target="../diagrams/colors4.xml"/><Relationship Id="rId10" Type="http://schemas.openxmlformats.org/officeDocument/2006/relationships/image" Target="../media/image36.png"/><Relationship Id="rId4" Type="http://schemas.openxmlformats.org/officeDocument/2006/relationships/diagramQuickStyle" Target="../diagrams/quickStyle4.xml"/><Relationship Id="rId9"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Layout" Target="../diagrams/layout2.xml"/><Relationship Id="rId7" Type="http://schemas.openxmlformats.org/officeDocument/2006/relationships/image" Target="../media/image6.png"/><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9.png"/><Relationship Id="rId4" Type="http://schemas.openxmlformats.org/officeDocument/2006/relationships/diagramQuickStyle" Target="../diagrams/quickStyle2.xml"/><Relationship Id="rId9" Type="http://schemas.openxmlformats.org/officeDocument/2006/relationships/image" Target="../media/image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chart" Target="../charts/chart9.xml"/><Relationship Id="rId1" Type="http://schemas.openxmlformats.org/officeDocument/2006/relationships/slideLayout" Target="../slideLayouts/slideLayout1.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36.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chart" Target="../charts/chart15.xml"/><Relationship Id="rId1" Type="http://schemas.openxmlformats.org/officeDocument/2006/relationships/slideLayout" Target="../slideLayouts/slideLayout1.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37.xml.rels><?xml version="1.0" encoding="UTF-8" standalone="yes"?>
<Relationships xmlns="http://schemas.openxmlformats.org/package/2006/relationships"><Relationship Id="rId3" Type="http://schemas.openxmlformats.org/officeDocument/2006/relationships/chart" Target="../charts/chart22.xml"/><Relationship Id="rId7" Type="http://schemas.openxmlformats.org/officeDocument/2006/relationships/chart" Target="../charts/chart26.xml"/><Relationship Id="rId2" Type="http://schemas.openxmlformats.org/officeDocument/2006/relationships/chart" Target="../charts/chart21.xml"/><Relationship Id="rId1" Type="http://schemas.openxmlformats.org/officeDocument/2006/relationships/slideLayout" Target="../slideLayouts/slideLayout1.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7" Type="http://schemas.openxmlformats.org/officeDocument/2006/relationships/chart" Target="../charts/chart32.xml"/><Relationship Id="rId2" Type="http://schemas.openxmlformats.org/officeDocument/2006/relationships/chart" Target="../charts/chart27.xml"/><Relationship Id="rId1" Type="http://schemas.openxmlformats.org/officeDocument/2006/relationships/slideLayout" Target="../slideLayouts/slideLayout1.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chart" Target="../charts/chart29.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7" Type="http://schemas.openxmlformats.org/officeDocument/2006/relationships/chart" Target="../charts/chart38.xml"/><Relationship Id="rId2" Type="http://schemas.openxmlformats.org/officeDocument/2006/relationships/chart" Target="../charts/chart33.xml"/><Relationship Id="rId1" Type="http://schemas.openxmlformats.org/officeDocument/2006/relationships/slideLayout" Target="../slideLayouts/slideLayout1.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png"/><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33.png"/><Relationship Id="rId4" Type="http://schemas.openxmlformats.org/officeDocument/2006/relationships/image" Target="../media/image4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3.xml"/><Relationship Id="rId5" Type="http://schemas.openxmlformats.org/officeDocument/2006/relationships/slideLayout" Target="../slideLayouts/slideLayout7.xml"/><Relationship Id="rId4" Type="http://schemas.openxmlformats.org/officeDocument/2006/relationships/tags" Target="../tags/tag4.xml"/></Relationships>
</file>

<file path=ppt/slides/_rels/slide9.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NUL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7904" y="-56783"/>
            <a:ext cx="9350338" cy="3794759"/>
          </a:xfrm>
          <a:prstGeom prst="rect">
            <a:avLst/>
          </a:prstGeom>
        </p:spPr>
      </p:pic>
      <p:sp>
        <p:nvSpPr>
          <p:cNvPr id="3" name="object 3"/>
          <p:cNvSpPr/>
          <p:nvPr/>
        </p:nvSpPr>
        <p:spPr>
          <a:xfrm>
            <a:off x="0" y="4471415"/>
            <a:ext cx="7129780" cy="1165860"/>
          </a:xfrm>
          <a:custGeom>
            <a:avLst/>
            <a:gdLst/>
            <a:ahLst/>
            <a:cxnLst/>
            <a:rect l="l" t="t" r="r" b="b"/>
            <a:pathLst>
              <a:path w="7129780" h="1165860">
                <a:moveTo>
                  <a:pt x="7129272" y="0"/>
                </a:moveTo>
                <a:lnTo>
                  <a:pt x="0" y="0"/>
                </a:lnTo>
                <a:lnTo>
                  <a:pt x="0" y="1165860"/>
                </a:lnTo>
                <a:lnTo>
                  <a:pt x="7129272" y="1165860"/>
                </a:lnTo>
                <a:lnTo>
                  <a:pt x="7129272" y="0"/>
                </a:lnTo>
                <a:close/>
              </a:path>
            </a:pathLst>
          </a:custGeom>
          <a:solidFill>
            <a:srgbClr val="16469F"/>
          </a:solidFill>
        </p:spPr>
        <p:txBody>
          <a:bodyPr wrap="square" lIns="0" tIns="0" rIns="0" bIns="0" rtlCol="0"/>
          <a:lstStyle/>
          <a:p>
            <a:endParaRPr dirty="0"/>
          </a:p>
        </p:txBody>
      </p:sp>
      <p:sp>
        <p:nvSpPr>
          <p:cNvPr id="4" name="object 4"/>
          <p:cNvSpPr/>
          <p:nvPr/>
        </p:nvSpPr>
        <p:spPr>
          <a:xfrm>
            <a:off x="10373868" y="4471415"/>
            <a:ext cx="1818639" cy="1165860"/>
          </a:xfrm>
          <a:custGeom>
            <a:avLst/>
            <a:gdLst/>
            <a:ahLst/>
            <a:cxnLst/>
            <a:rect l="l" t="t" r="r" b="b"/>
            <a:pathLst>
              <a:path w="1818640" h="1165860">
                <a:moveTo>
                  <a:pt x="0" y="1165860"/>
                </a:moveTo>
                <a:lnTo>
                  <a:pt x="1818131" y="1165860"/>
                </a:lnTo>
                <a:lnTo>
                  <a:pt x="1818131" y="0"/>
                </a:lnTo>
                <a:lnTo>
                  <a:pt x="0" y="0"/>
                </a:lnTo>
                <a:lnTo>
                  <a:pt x="0" y="1165860"/>
                </a:lnTo>
                <a:close/>
              </a:path>
            </a:pathLst>
          </a:custGeom>
          <a:solidFill>
            <a:srgbClr val="D6171E"/>
          </a:solidFill>
        </p:spPr>
        <p:txBody>
          <a:bodyPr wrap="square" lIns="0" tIns="0" rIns="0" bIns="0" rtlCol="0"/>
          <a:lstStyle/>
          <a:p>
            <a:endParaRPr dirty="0"/>
          </a:p>
        </p:txBody>
      </p:sp>
      <p:grpSp>
        <p:nvGrpSpPr>
          <p:cNvPr id="5" name="object 5"/>
          <p:cNvGrpSpPr/>
          <p:nvPr/>
        </p:nvGrpSpPr>
        <p:grpSpPr>
          <a:xfrm>
            <a:off x="6825995" y="4471415"/>
            <a:ext cx="3953510" cy="1165860"/>
            <a:chOff x="6825995" y="4471415"/>
            <a:chExt cx="3953510" cy="1165860"/>
          </a:xfrm>
        </p:grpSpPr>
        <p:sp>
          <p:nvSpPr>
            <p:cNvPr id="6" name="object 6"/>
            <p:cNvSpPr/>
            <p:nvPr/>
          </p:nvSpPr>
          <p:spPr>
            <a:xfrm>
              <a:off x="6825995" y="4471415"/>
              <a:ext cx="2129155" cy="1165860"/>
            </a:xfrm>
            <a:custGeom>
              <a:avLst/>
              <a:gdLst/>
              <a:ahLst/>
              <a:cxnLst/>
              <a:rect l="l" t="t" r="r" b="b"/>
              <a:pathLst>
                <a:path w="2129154" h="1165860">
                  <a:moveTo>
                    <a:pt x="1546098" y="0"/>
                  </a:moveTo>
                  <a:lnTo>
                    <a:pt x="0" y="0"/>
                  </a:lnTo>
                  <a:lnTo>
                    <a:pt x="0" y="1165859"/>
                  </a:lnTo>
                  <a:lnTo>
                    <a:pt x="1546098" y="1165859"/>
                  </a:lnTo>
                  <a:lnTo>
                    <a:pt x="2129028" y="582929"/>
                  </a:lnTo>
                  <a:lnTo>
                    <a:pt x="1546098" y="0"/>
                  </a:lnTo>
                  <a:close/>
                </a:path>
              </a:pathLst>
            </a:custGeom>
            <a:solidFill>
              <a:srgbClr val="16469F"/>
            </a:solidFill>
          </p:spPr>
          <p:txBody>
            <a:bodyPr wrap="square" lIns="0" tIns="0" rIns="0" bIns="0" rtlCol="0"/>
            <a:lstStyle/>
            <a:p>
              <a:endParaRPr dirty="0"/>
            </a:p>
          </p:txBody>
        </p:sp>
        <p:sp>
          <p:nvSpPr>
            <p:cNvPr id="7" name="object 7"/>
            <p:cNvSpPr/>
            <p:nvPr/>
          </p:nvSpPr>
          <p:spPr>
            <a:xfrm>
              <a:off x="8968739" y="4471415"/>
              <a:ext cx="1811020" cy="1165860"/>
            </a:xfrm>
            <a:custGeom>
              <a:avLst/>
              <a:gdLst/>
              <a:ahLst/>
              <a:cxnLst/>
              <a:rect l="l" t="t" r="r" b="b"/>
              <a:pathLst>
                <a:path w="1811020" h="1165860">
                  <a:moveTo>
                    <a:pt x="1810511" y="0"/>
                  </a:moveTo>
                  <a:lnTo>
                    <a:pt x="582929" y="0"/>
                  </a:lnTo>
                  <a:lnTo>
                    <a:pt x="0" y="582929"/>
                  </a:lnTo>
                  <a:lnTo>
                    <a:pt x="582929" y="1165859"/>
                  </a:lnTo>
                  <a:lnTo>
                    <a:pt x="1810511" y="1165859"/>
                  </a:lnTo>
                  <a:lnTo>
                    <a:pt x="1810511" y="0"/>
                  </a:lnTo>
                  <a:close/>
                </a:path>
              </a:pathLst>
            </a:custGeom>
            <a:solidFill>
              <a:srgbClr val="D6171E"/>
            </a:solidFill>
          </p:spPr>
          <p:txBody>
            <a:bodyPr wrap="square" lIns="0" tIns="0" rIns="0" bIns="0" rtlCol="0"/>
            <a:lstStyle/>
            <a:p>
              <a:endParaRPr dirty="0"/>
            </a:p>
          </p:txBody>
        </p:sp>
      </p:grpSp>
      <p:sp>
        <p:nvSpPr>
          <p:cNvPr id="8" name="object 8"/>
          <p:cNvSpPr txBox="1"/>
          <p:nvPr/>
        </p:nvSpPr>
        <p:spPr>
          <a:xfrm>
            <a:off x="4077970" y="4744592"/>
            <a:ext cx="4495165" cy="594360"/>
          </a:xfrm>
          <a:prstGeom prst="rect">
            <a:avLst/>
          </a:prstGeom>
        </p:spPr>
        <p:txBody>
          <a:bodyPr vert="horz" wrap="square" lIns="0" tIns="16510" rIns="0" bIns="0" rtlCol="0">
            <a:spAutoFit/>
          </a:bodyPr>
          <a:lstStyle/>
          <a:p>
            <a:pPr marL="12700">
              <a:lnSpc>
                <a:spcPct val="100000"/>
              </a:lnSpc>
              <a:spcBef>
                <a:spcPts val="130"/>
              </a:spcBef>
              <a:tabLst>
                <a:tab pos="407034" algn="l"/>
              </a:tabLst>
            </a:pPr>
            <a:r>
              <a:rPr sz="2650" spc="5" dirty="0">
                <a:solidFill>
                  <a:srgbClr val="FFFFFF"/>
                </a:solidFill>
                <a:latin typeface="Arial MT"/>
                <a:cs typeface="Arial MT"/>
              </a:rPr>
              <a:t>A	</a:t>
            </a:r>
            <a:r>
              <a:rPr sz="2650" spc="-5" dirty="0">
                <a:solidFill>
                  <a:srgbClr val="FFFFFF"/>
                </a:solidFill>
                <a:latin typeface="Arial MT"/>
                <a:cs typeface="Arial MT"/>
              </a:rPr>
              <a:t>Vision</a:t>
            </a:r>
            <a:r>
              <a:rPr sz="2650" spc="-15" dirty="0">
                <a:solidFill>
                  <a:srgbClr val="FFFFFF"/>
                </a:solidFill>
                <a:latin typeface="Arial MT"/>
                <a:cs typeface="Arial MT"/>
              </a:rPr>
              <a:t> </a:t>
            </a:r>
            <a:r>
              <a:rPr sz="2650" spc="5" dirty="0">
                <a:solidFill>
                  <a:srgbClr val="FFFFFF"/>
                </a:solidFill>
                <a:latin typeface="Arial MT"/>
                <a:cs typeface="Arial MT"/>
              </a:rPr>
              <a:t>to</a:t>
            </a:r>
            <a:r>
              <a:rPr sz="2650" spc="-25" dirty="0">
                <a:solidFill>
                  <a:srgbClr val="FFFFFF"/>
                </a:solidFill>
                <a:latin typeface="Arial MT"/>
                <a:cs typeface="Arial MT"/>
              </a:rPr>
              <a:t> </a:t>
            </a:r>
            <a:r>
              <a:rPr sz="2650" spc="5" dirty="0">
                <a:solidFill>
                  <a:srgbClr val="FFFFFF"/>
                </a:solidFill>
                <a:latin typeface="Arial MT"/>
                <a:cs typeface="Arial MT"/>
              </a:rPr>
              <a:t>Execute</a:t>
            </a:r>
            <a:r>
              <a:rPr sz="2650" spc="20" dirty="0">
                <a:solidFill>
                  <a:srgbClr val="FFFFFF"/>
                </a:solidFill>
                <a:latin typeface="Arial MT"/>
                <a:cs typeface="Arial MT"/>
              </a:rPr>
              <a:t> </a:t>
            </a:r>
            <a:r>
              <a:rPr sz="3700" spc="-20" dirty="0">
                <a:solidFill>
                  <a:srgbClr val="FFFFFF"/>
                </a:solidFill>
                <a:latin typeface="Arial MT"/>
                <a:cs typeface="Arial MT"/>
              </a:rPr>
              <a:t>Better.</a:t>
            </a:r>
            <a:endParaRPr sz="3700" dirty="0">
              <a:latin typeface="Arial MT"/>
              <a:cs typeface="Arial MT"/>
            </a:endParaRPr>
          </a:p>
        </p:txBody>
      </p:sp>
      <p:sp>
        <p:nvSpPr>
          <p:cNvPr id="9" name="object 9"/>
          <p:cNvSpPr txBox="1"/>
          <p:nvPr/>
        </p:nvSpPr>
        <p:spPr>
          <a:xfrm>
            <a:off x="9322434" y="4744592"/>
            <a:ext cx="2099945" cy="594360"/>
          </a:xfrm>
          <a:prstGeom prst="rect">
            <a:avLst/>
          </a:prstGeom>
        </p:spPr>
        <p:txBody>
          <a:bodyPr vert="horz" wrap="square" lIns="0" tIns="16510" rIns="0" bIns="0" rtlCol="0">
            <a:spAutoFit/>
          </a:bodyPr>
          <a:lstStyle/>
          <a:p>
            <a:pPr marL="12700">
              <a:lnSpc>
                <a:spcPct val="100000"/>
              </a:lnSpc>
              <a:spcBef>
                <a:spcPts val="130"/>
              </a:spcBef>
            </a:pPr>
            <a:r>
              <a:rPr sz="3700" spc="15" dirty="0">
                <a:solidFill>
                  <a:srgbClr val="FFFFFF"/>
                </a:solidFill>
                <a:latin typeface="Arial MT"/>
                <a:cs typeface="Arial MT"/>
              </a:rPr>
              <a:t>Ever</a:t>
            </a:r>
            <a:r>
              <a:rPr sz="3700" spc="20" dirty="0">
                <a:solidFill>
                  <a:srgbClr val="FFFFFF"/>
                </a:solidFill>
                <a:latin typeface="Arial MT"/>
                <a:cs typeface="Arial MT"/>
              </a:rPr>
              <a:t>y</a:t>
            </a:r>
            <a:r>
              <a:rPr sz="3700" spc="15" dirty="0">
                <a:solidFill>
                  <a:srgbClr val="FFFFFF"/>
                </a:solidFill>
                <a:latin typeface="Arial MT"/>
                <a:cs typeface="Arial MT"/>
              </a:rPr>
              <a:t>da</a:t>
            </a:r>
            <a:r>
              <a:rPr sz="3700" spc="-254" dirty="0">
                <a:solidFill>
                  <a:srgbClr val="FFFFFF"/>
                </a:solidFill>
                <a:latin typeface="Arial MT"/>
                <a:cs typeface="Arial MT"/>
              </a:rPr>
              <a:t>y</a:t>
            </a:r>
            <a:r>
              <a:rPr sz="3700" spc="5" dirty="0">
                <a:solidFill>
                  <a:srgbClr val="FFFFFF"/>
                </a:solidFill>
                <a:latin typeface="Arial MT"/>
                <a:cs typeface="Arial MT"/>
              </a:rPr>
              <a:t>.</a:t>
            </a:r>
            <a:endParaRPr sz="3700" dirty="0">
              <a:latin typeface="Arial MT"/>
              <a:cs typeface="Arial MT"/>
            </a:endParaRPr>
          </a:p>
        </p:txBody>
      </p:sp>
      <p:pic>
        <p:nvPicPr>
          <p:cNvPr id="11" name="object 11"/>
          <p:cNvPicPr/>
          <p:nvPr/>
        </p:nvPicPr>
        <p:blipFill>
          <a:blip r:embed="rId3" cstate="print"/>
          <a:stretch>
            <a:fillRect/>
          </a:stretch>
        </p:blipFill>
        <p:spPr>
          <a:xfrm>
            <a:off x="10593984" y="-5751"/>
            <a:ext cx="1600200" cy="762000"/>
          </a:xfrm>
          <a:prstGeom prst="rect">
            <a:avLst/>
          </a:prstGeom>
        </p:spPr>
      </p:pic>
      <p:sp>
        <p:nvSpPr>
          <p:cNvPr id="12" name="Title 11"/>
          <p:cNvSpPr>
            <a:spLocks noGrp="1"/>
          </p:cNvSpPr>
          <p:nvPr>
            <p:ph type="title"/>
          </p:nvPr>
        </p:nvSpPr>
        <p:spPr>
          <a:xfrm>
            <a:off x="166768" y="3831703"/>
            <a:ext cx="11953328" cy="369332"/>
          </a:xfrm>
        </p:spPr>
        <p:txBody>
          <a:bodyPr/>
          <a:lstStyle/>
          <a:p>
            <a:pPr algn="ctr"/>
            <a:r>
              <a:rPr lang="en-US" sz="2400" dirty="0">
                <a:latin typeface="Verdana" panose="020B0604030504040204" pitchFamily="34" charset="0"/>
                <a:ea typeface="Verdana" panose="020B0604030504040204" pitchFamily="34" charset="0"/>
              </a:rPr>
              <a:t>AI-based </a:t>
            </a:r>
            <a:r>
              <a:rPr lang="en-US" sz="2400" dirty="0" smtClean="0">
                <a:latin typeface="Verdana" panose="020B0604030504040204" pitchFamily="34" charset="0"/>
                <a:ea typeface="Verdana" panose="020B0604030504040204" pitchFamily="34" charset="0"/>
              </a:rPr>
              <a:t>Real-time </a:t>
            </a:r>
            <a:r>
              <a:rPr lang="en-US" sz="2400" dirty="0">
                <a:latin typeface="Verdana" panose="020B0604030504040204" pitchFamily="34" charset="0"/>
                <a:ea typeface="Verdana" panose="020B0604030504040204" pitchFamily="34" charset="0"/>
              </a:rPr>
              <a:t>Energy optimization Model at Ironmaking</a:t>
            </a:r>
            <a:endParaRPr lang="en-IN" sz="2400" dirty="0">
              <a:latin typeface="Verdana" panose="020B0604030504040204" pitchFamily="34" charset="0"/>
              <a:ea typeface="Verdana" panose="020B0604030504040204" pitchFamily="34" charset="0"/>
            </a:endParaRPr>
          </a:p>
        </p:txBody>
      </p:sp>
      <p:sp>
        <p:nvSpPr>
          <p:cNvPr id="13" name="Title 11"/>
          <p:cNvSpPr txBox="1">
            <a:spLocks/>
          </p:cNvSpPr>
          <p:nvPr/>
        </p:nvSpPr>
        <p:spPr>
          <a:xfrm>
            <a:off x="100629" y="5680840"/>
            <a:ext cx="5707339" cy="707886"/>
          </a:xfrm>
          <a:prstGeom prst="rect">
            <a:avLst/>
          </a:prstGeom>
        </p:spPr>
        <p:txBody>
          <a:bodyPr wrap="square" lIns="0" tIns="0" rIns="0" bIns="0">
            <a:spAutoFit/>
          </a:bodyPr>
          <a:lstStyle>
            <a:lvl1pPr>
              <a:defRPr sz="3600" b="0" i="0">
                <a:solidFill>
                  <a:schemeClr val="tx1"/>
                </a:solidFill>
                <a:latin typeface="Calibri Light"/>
                <a:ea typeface="+mj-ea"/>
                <a:cs typeface="Calibri Light"/>
              </a:defRPr>
            </a:lvl1pPr>
          </a:lstStyle>
          <a:p>
            <a:pPr algn="ctr"/>
            <a:endParaRPr lang="en-US" sz="1400" b="1" kern="0" dirty="0"/>
          </a:p>
          <a:p>
            <a:pPr algn="ctr"/>
            <a:r>
              <a:rPr lang="en-US" sz="1600" kern="0" dirty="0" err="1">
                <a:latin typeface="Verdana" panose="020B0604030504040204" pitchFamily="34" charset="0"/>
                <a:ea typeface="Verdana" panose="020B0604030504040204" pitchFamily="34" charset="0"/>
              </a:rPr>
              <a:t>Peddinti</a:t>
            </a:r>
            <a:r>
              <a:rPr lang="en-US" sz="1600" kern="0" dirty="0">
                <a:latin typeface="Verdana" panose="020B0604030504040204" pitchFamily="34" charset="0"/>
                <a:ea typeface="Verdana" panose="020B0604030504040204" pitchFamily="34" charset="0"/>
              </a:rPr>
              <a:t> </a:t>
            </a:r>
            <a:r>
              <a:rPr lang="en-US" sz="1600" kern="0" dirty="0" err="1">
                <a:latin typeface="Verdana" panose="020B0604030504040204" pitchFamily="34" charset="0"/>
                <a:ea typeface="Verdana" panose="020B0604030504040204" pitchFamily="34" charset="0"/>
              </a:rPr>
              <a:t>Bhuvaneswara</a:t>
            </a:r>
            <a:r>
              <a:rPr lang="en-US" sz="1600" kern="0" dirty="0">
                <a:latin typeface="Verdana" panose="020B0604030504040204" pitchFamily="34" charset="0"/>
                <a:ea typeface="Verdana" panose="020B0604030504040204" pitchFamily="34" charset="0"/>
              </a:rPr>
              <a:t> </a:t>
            </a:r>
            <a:r>
              <a:rPr lang="en-US" sz="1600" kern="0" dirty="0" smtClean="0">
                <a:latin typeface="Verdana" panose="020B0604030504040204" pitchFamily="34" charset="0"/>
                <a:ea typeface="Verdana" panose="020B0604030504040204" pitchFamily="34" charset="0"/>
              </a:rPr>
              <a:t>Rao</a:t>
            </a:r>
            <a:endParaRPr lang="en-IN" sz="1600" kern="0" dirty="0">
              <a:latin typeface="Verdana" panose="020B0604030504040204" pitchFamily="34" charset="0"/>
              <a:ea typeface="Verdana" panose="020B0604030504040204" pitchFamily="34" charset="0"/>
            </a:endParaRPr>
          </a:p>
          <a:p>
            <a:pPr algn="ctr"/>
            <a:r>
              <a:rPr lang="en-US" sz="1600" kern="0" dirty="0">
                <a:latin typeface="Verdana" panose="020B0604030504040204" pitchFamily="34" charset="0"/>
                <a:ea typeface="Verdana" panose="020B0604030504040204" pitchFamily="34" charset="0"/>
              </a:rPr>
              <a:t> </a:t>
            </a:r>
            <a:r>
              <a:rPr lang="en-US" sz="1600" kern="0" dirty="0" err="1">
                <a:latin typeface="Verdana" panose="020B0604030504040204" pitchFamily="34" charset="0"/>
                <a:ea typeface="Verdana" panose="020B0604030504040204" pitchFamily="34" charset="0"/>
              </a:rPr>
              <a:t>Keshav</a:t>
            </a:r>
            <a:r>
              <a:rPr lang="en-US" sz="1600" kern="0" dirty="0">
                <a:latin typeface="Verdana" panose="020B0604030504040204" pitchFamily="34" charset="0"/>
                <a:ea typeface="Verdana" panose="020B0604030504040204" pitchFamily="34" charset="0"/>
              </a:rPr>
              <a:t> Baheti</a:t>
            </a:r>
            <a:endParaRPr lang="en-IN" sz="1600" kern="0" dirty="0">
              <a:latin typeface="Verdana" panose="020B0604030504040204" pitchFamily="34" charset="0"/>
              <a:ea typeface="Verdana" panose="020B0604030504040204" pitchFamily="34" charset="0"/>
            </a:endParaRPr>
          </a:p>
        </p:txBody>
      </p:sp>
      <p:sp>
        <p:nvSpPr>
          <p:cNvPr id="15" name="TextBox 14">
            <a:extLst>
              <a:ext uri="{FF2B5EF4-FFF2-40B4-BE49-F238E27FC236}">
                <a16:creationId xmlns:a16="http://schemas.microsoft.com/office/drawing/2014/main" id="{3054A0AE-04B3-7A09-FFDB-2D0AC3841021}"/>
              </a:ext>
            </a:extLst>
          </p:cNvPr>
          <p:cNvSpPr txBox="1"/>
          <p:nvPr/>
        </p:nvSpPr>
        <p:spPr>
          <a:xfrm>
            <a:off x="7749541" y="5775774"/>
            <a:ext cx="3684663" cy="707886"/>
          </a:xfrm>
          <a:prstGeom prst="rect">
            <a:avLst/>
          </a:prstGeom>
          <a:noFill/>
        </p:spPr>
        <p:txBody>
          <a:bodyPr wrap="none" lIns="91440" tIns="45720" rIns="91440" bIns="45720" rtlCol="0" anchor="t">
            <a:spAutoFit/>
          </a:bodyPr>
          <a:lstStyle/>
          <a:p>
            <a:r>
              <a:rPr lang="en-US" sz="1600" dirty="0" smtClean="0">
                <a:latin typeface="Verdana" panose="020B0604030504040204" pitchFamily="34" charset="0"/>
                <a:ea typeface="Verdana" panose="020B0604030504040204" pitchFamily="34" charset="0"/>
              </a:rPr>
              <a:t>Mentor: Mr. Naveen Singh</a:t>
            </a:r>
          </a:p>
          <a:p>
            <a:r>
              <a:rPr lang="en-US" sz="1600" dirty="0" smtClean="0">
                <a:latin typeface="Verdana" panose="020B0604030504040204" pitchFamily="34" charset="0"/>
                <a:ea typeface="Verdana" panose="020B0604030504040204" pitchFamily="34" charset="0"/>
              </a:rPr>
              <a:t>Buddy:  Mr</a:t>
            </a:r>
            <a:r>
              <a:rPr lang="en-US" sz="1600" dirty="0" smtClean="0">
                <a:latin typeface="Verdana" panose="020B0604030504040204" pitchFamily="34" charset="0"/>
                <a:ea typeface="Verdana" panose="020B0604030504040204" pitchFamily="34" charset="0"/>
                <a:cs typeface="+mn-lt"/>
              </a:rPr>
              <a:t>. </a:t>
            </a:r>
            <a:r>
              <a:rPr lang="en-US" sz="1600" dirty="0" err="1" smtClean="0">
                <a:latin typeface="Verdana" panose="020B0604030504040204" pitchFamily="34" charset="0"/>
                <a:ea typeface="Verdana" panose="020B0604030504040204" pitchFamily="34" charset="0"/>
                <a:cs typeface="+mn-lt"/>
              </a:rPr>
              <a:t>Mohanraj</a:t>
            </a:r>
            <a:r>
              <a:rPr lang="en-US" sz="1600" dirty="0" smtClean="0">
                <a:latin typeface="Verdana" panose="020B0604030504040204" pitchFamily="34" charset="0"/>
                <a:ea typeface="Verdana" panose="020B0604030504040204" pitchFamily="34" charset="0"/>
                <a:cs typeface="+mn-lt"/>
              </a:rPr>
              <a:t> </a:t>
            </a:r>
            <a:r>
              <a:rPr lang="en-US" sz="1600" dirty="0" err="1" smtClean="0">
                <a:latin typeface="Verdana" panose="020B0604030504040204" pitchFamily="34" charset="0"/>
                <a:ea typeface="Verdana" panose="020B0604030504040204" pitchFamily="34" charset="0"/>
                <a:cs typeface="+mn-lt"/>
              </a:rPr>
              <a:t>Nagarajan</a:t>
            </a:r>
            <a:r>
              <a:rPr lang="en-US" sz="1600" dirty="0" smtClean="0">
                <a:latin typeface="Verdana" panose="020B0604030504040204" pitchFamily="34" charset="0"/>
                <a:ea typeface="Verdana" panose="020B0604030504040204" pitchFamily="34" charset="0"/>
                <a:cs typeface="+mn-lt"/>
              </a:rPr>
              <a:t> </a:t>
            </a:r>
            <a:r>
              <a:rPr lang="en-US" sz="2400" dirty="0" smtClean="0"/>
              <a:t> </a:t>
            </a:r>
            <a:endParaRPr lang="en-US" sz="2400" dirty="0">
              <a:cs typeface="Calibri"/>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t="782"/>
          <a:stretch/>
        </p:blipFill>
        <p:spPr>
          <a:xfrm>
            <a:off x="758762" y="980728"/>
            <a:ext cx="10532054" cy="5400600"/>
          </a:xfrm>
          <a:prstGeom prst="rect">
            <a:avLst/>
          </a:prstGeom>
          <a:ln>
            <a:solidFill>
              <a:schemeClr val="bg1">
                <a:lumMod val="65000"/>
              </a:schemeClr>
            </a:solidFill>
          </a:ln>
        </p:spPr>
      </p:pic>
      <p:sp>
        <p:nvSpPr>
          <p:cNvPr id="3" name="Rectangle 2"/>
          <p:cNvSpPr/>
          <p:nvPr/>
        </p:nvSpPr>
        <p:spPr>
          <a:xfrm>
            <a:off x="3449199" y="90506"/>
            <a:ext cx="5101076" cy="646331"/>
          </a:xfrm>
          <a:prstGeom prst="rect">
            <a:avLst/>
          </a:prstGeom>
        </p:spPr>
        <p:txBody>
          <a:bodyPr wrap="none">
            <a:spAutoFit/>
          </a:bodyPr>
          <a:lstStyle/>
          <a:p>
            <a:r>
              <a:rPr lang="en-IN" sz="2400" b="1" dirty="0">
                <a:solidFill>
                  <a:srgbClr val="003399"/>
                </a:solidFill>
                <a:latin typeface="Verdana" panose="020B0604030504040204" pitchFamily="34" charset="0"/>
                <a:ea typeface="Verdana" panose="020B0604030504040204" pitchFamily="34" charset="0"/>
              </a:rPr>
              <a:t>Overview of Blast Furnace</a:t>
            </a:r>
            <a:r>
              <a:rPr lang="en-IN" sz="3600" dirty="0">
                <a:solidFill>
                  <a:schemeClr val="tx2"/>
                </a:solidFill>
                <a:latin typeface="Arial"/>
                <a:ea typeface="+mj-ea"/>
                <a:cs typeface="Arial"/>
              </a:rPr>
              <a:t> </a:t>
            </a:r>
            <a:r>
              <a:rPr lang="en-IN" sz="2800" b="1" dirty="0">
                <a:solidFill>
                  <a:srgbClr val="003399"/>
                </a:solidFill>
                <a:latin typeface="Verdana"/>
                <a:ea typeface="Verdana"/>
                <a:cs typeface="Arial" panose="020B0604020202020204" pitchFamily="34" charset="0"/>
              </a:rPr>
              <a:t>  </a:t>
            </a:r>
            <a:endParaRPr lang="en-IN" sz="2800" b="1" dirty="0">
              <a:solidFill>
                <a:srgbClr val="FF0000"/>
              </a:solidFill>
              <a:latin typeface="Verdana" panose="020B0604030504040204" pitchFamily="34" charset="0"/>
              <a:ea typeface="Verdana" panose="020B0604030504040204" pitchFamily="34" charset="0"/>
            </a:endParaRPr>
          </a:p>
        </p:txBody>
      </p:sp>
      <p:cxnSp>
        <p:nvCxnSpPr>
          <p:cNvPr id="4" name="Straight Connector 3"/>
          <p:cNvCxnSpPr/>
          <p:nvPr/>
        </p:nvCxnSpPr>
        <p:spPr>
          <a:xfrm rot="10800000">
            <a:off x="2740995" y="764704"/>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5493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flipH="1">
            <a:off x="1970759" y="932334"/>
            <a:ext cx="9433048"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063552" y="465301"/>
            <a:ext cx="9217024" cy="461665"/>
          </a:xfrm>
          <a:prstGeom prst="rect">
            <a:avLst/>
          </a:prstGeom>
        </p:spPr>
        <p:txBody>
          <a:bodyPr wrap="square">
            <a:spAutoFit/>
          </a:bodyPr>
          <a:lstStyle/>
          <a:p>
            <a:r>
              <a:rPr lang="en-US" sz="2400" b="1" dirty="0">
                <a:solidFill>
                  <a:srgbClr val="003399"/>
                </a:solidFill>
                <a:latin typeface="Verdana" panose="020B0604030504040204" pitchFamily="34" charset="0"/>
                <a:ea typeface="Verdana" panose="020B0604030504040204" pitchFamily="34" charset="0"/>
              </a:rPr>
              <a:t>Time lag and Steady state operation of blast furnace</a:t>
            </a:r>
            <a:endParaRPr lang="en-US" sz="2400" dirty="0"/>
          </a:p>
        </p:txBody>
      </p:sp>
      <p:graphicFrame>
        <p:nvGraphicFramePr>
          <p:cNvPr id="9" name="Diagram 8"/>
          <p:cNvGraphicFramePr/>
          <p:nvPr>
            <p:extLst>
              <p:ext uri="{D42A27DB-BD31-4B8C-83A1-F6EECF244321}">
                <p14:modId xmlns:p14="http://schemas.microsoft.com/office/powerpoint/2010/main" val="154310681"/>
              </p:ext>
            </p:extLst>
          </p:nvPr>
        </p:nvGraphicFramePr>
        <p:xfrm>
          <a:off x="1589934" y="1340768"/>
          <a:ext cx="9813873" cy="51576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78978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071664" y="188640"/>
            <a:ext cx="6768752" cy="738664"/>
          </a:xfrm>
        </p:spPr>
        <p:txBody>
          <a:bodyPr/>
          <a:lstStyle/>
          <a:p>
            <a:pPr algn="ctr"/>
            <a:r>
              <a:rPr lang="en-US" sz="2400" b="1" kern="1200" dirty="0">
                <a:solidFill>
                  <a:srgbClr val="003399"/>
                </a:solidFill>
                <a:latin typeface="Verdana" panose="020B0604030504040204" pitchFamily="34" charset="0"/>
                <a:ea typeface="Verdana" panose="020B0604030504040204" pitchFamily="34" charset="0"/>
                <a:cs typeface="+mn-cs"/>
              </a:rPr>
              <a:t>Current </a:t>
            </a:r>
            <a:r>
              <a:rPr lang="en-US" sz="2400" b="1" kern="1200" dirty="0">
                <a:solidFill>
                  <a:srgbClr val="003399"/>
                </a:solidFill>
                <a:latin typeface="Verdana" panose="020B0604030504040204" pitchFamily="34" charset="0"/>
                <a:ea typeface="Verdana" panose="020B0604030504040204" pitchFamily="34" charset="0"/>
                <a:cs typeface="+mn-cs"/>
              </a:rPr>
              <a:t>m</a:t>
            </a:r>
            <a:r>
              <a:rPr lang="en-US" sz="2400" b="1" kern="1200" dirty="0" smtClean="0">
                <a:solidFill>
                  <a:srgbClr val="003399"/>
                </a:solidFill>
                <a:latin typeface="Verdana" panose="020B0604030504040204" pitchFamily="34" charset="0"/>
                <a:ea typeface="Verdana" panose="020B0604030504040204" pitchFamily="34" charset="0"/>
                <a:cs typeface="+mn-cs"/>
              </a:rPr>
              <a:t>ethod </a:t>
            </a:r>
            <a:r>
              <a:rPr lang="en-US" sz="2400" b="1" kern="1200" dirty="0" smtClean="0">
                <a:solidFill>
                  <a:srgbClr val="003399"/>
                </a:solidFill>
                <a:latin typeface="Verdana" panose="020B0604030504040204" pitchFamily="34" charset="0"/>
                <a:ea typeface="Verdana" panose="020B0604030504040204" pitchFamily="34" charset="0"/>
                <a:cs typeface="+mn-cs"/>
              </a:rPr>
              <a:t>to </a:t>
            </a:r>
            <a:r>
              <a:rPr lang="en-US" sz="2400" b="1" kern="1200" dirty="0" smtClean="0">
                <a:solidFill>
                  <a:srgbClr val="003399"/>
                </a:solidFill>
                <a:latin typeface="Verdana" panose="020B0604030504040204" pitchFamily="34" charset="0"/>
                <a:ea typeface="Verdana" panose="020B0604030504040204" pitchFamily="34" charset="0"/>
                <a:cs typeface="+mn-cs"/>
              </a:rPr>
              <a:t>find the amount of </a:t>
            </a:r>
            <a:r>
              <a:rPr lang="en-US" sz="2400" b="1" kern="1200" dirty="0" smtClean="0">
                <a:solidFill>
                  <a:srgbClr val="003399"/>
                </a:solidFill>
                <a:latin typeface="Verdana" panose="020B0604030504040204" pitchFamily="34" charset="0"/>
                <a:ea typeface="Verdana" panose="020B0604030504040204" pitchFamily="34" charset="0"/>
                <a:cs typeface="+mn-cs"/>
              </a:rPr>
              <a:t>Coke and Coal </a:t>
            </a:r>
            <a:endParaRPr lang="en-US" sz="2400" b="1" kern="1200" dirty="0">
              <a:solidFill>
                <a:srgbClr val="003399"/>
              </a:solidFill>
              <a:latin typeface="Verdana" panose="020B0604030504040204" pitchFamily="34" charset="0"/>
              <a:ea typeface="Verdana" panose="020B0604030504040204" pitchFamily="34" charset="0"/>
              <a:cs typeface="+mn-cs"/>
            </a:endParaRPr>
          </a:p>
        </p:txBody>
      </p:sp>
      <p:sp>
        <p:nvSpPr>
          <p:cNvPr id="5" name="Text Placeholder 2"/>
          <p:cNvSpPr>
            <a:spLocks noGrp="1"/>
          </p:cNvSpPr>
          <p:nvPr>
            <p:ph type="body" idx="1"/>
          </p:nvPr>
        </p:nvSpPr>
        <p:spPr>
          <a:xfrm>
            <a:off x="1775520" y="1268760"/>
            <a:ext cx="8807450" cy="5016758"/>
          </a:xfrm>
          <a:solidFill>
            <a:srgbClr val="E9EDF4"/>
          </a:solidFill>
          <a:ln w="19050">
            <a:solidFill>
              <a:schemeClr val="tx2"/>
            </a:solidFill>
          </a:ln>
        </p:spPr>
        <p:txBody>
          <a:bodyPr/>
          <a:lstStyle/>
          <a:p>
            <a:r>
              <a:rPr lang="en-US" dirty="0" smtClean="0"/>
              <a:t> </a:t>
            </a:r>
            <a:r>
              <a:rPr lang="en-US" sz="1400" dirty="0" smtClean="0">
                <a:latin typeface="Verdana" panose="020B0604030504040204" pitchFamily="34" charset="0"/>
                <a:ea typeface="Verdana" panose="020B0604030504040204" pitchFamily="34" charset="0"/>
              </a:rPr>
              <a:t>The present method for the amount of coke and coal used </a:t>
            </a:r>
            <a:r>
              <a:rPr lang="en-US" sz="1400" dirty="0" smtClean="0">
                <a:latin typeface="Verdana" panose="020B0604030504040204" pitchFamily="34" charset="0"/>
                <a:ea typeface="Verdana" panose="020B0604030504040204" pitchFamily="34" charset="0"/>
              </a:rPr>
              <a:t>in </a:t>
            </a:r>
            <a:r>
              <a:rPr lang="en-US" sz="1400" dirty="0" smtClean="0">
                <a:latin typeface="Verdana" panose="020B0604030504040204" pitchFamily="34" charset="0"/>
                <a:ea typeface="Verdana" panose="020B0604030504040204" pitchFamily="34" charset="0"/>
              </a:rPr>
              <a:t>one batch of Blast furnace operation depends upon the Hot Metal </a:t>
            </a:r>
            <a:r>
              <a:rPr lang="en-US" sz="1400" dirty="0" smtClean="0">
                <a:latin typeface="Verdana" panose="020B0604030504040204" pitchFamily="34" charset="0"/>
                <a:ea typeface="Verdana" panose="020B0604030504040204" pitchFamily="34" charset="0"/>
              </a:rPr>
              <a:t>Temperature.</a:t>
            </a:r>
            <a:endParaRPr lang="en-US" sz="1400" dirty="0" smtClean="0">
              <a:latin typeface="Verdana" panose="020B0604030504040204" pitchFamily="34" charset="0"/>
              <a:ea typeface="Verdana" panose="020B0604030504040204" pitchFamily="34" charset="0"/>
            </a:endParaRPr>
          </a:p>
          <a:p>
            <a:endParaRPr lang="en-US" sz="1400" dirty="0">
              <a:latin typeface="Verdana" panose="020B0604030504040204" pitchFamily="34" charset="0"/>
              <a:ea typeface="Verdana" panose="020B0604030504040204" pitchFamily="34" charset="0"/>
            </a:endParaRPr>
          </a:p>
          <a:p>
            <a:r>
              <a:rPr lang="en-US" sz="1400" dirty="0" smtClean="0">
                <a:latin typeface="Verdana" panose="020B0604030504040204" pitchFamily="34" charset="0"/>
                <a:ea typeface="Verdana" panose="020B0604030504040204" pitchFamily="34" charset="0"/>
              </a:rPr>
              <a:t>There is a fixed minimum value of Coke to be added per </a:t>
            </a:r>
            <a:r>
              <a:rPr lang="en-US" sz="1400" dirty="0" smtClean="0">
                <a:latin typeface="Verdana" panose="020B0604030504040204" pitchFamily="34" charset="0"/>
                <a:ea typeface="Verdana" panose="020B0604030504040204" pitchFamily="34" charset="0"/>
              </a:rPr>
              <a:t>ton hot metal, </a:t>
            </a:r>
            <a:r>
              <a:rPr lang="en-US" sz="1400" dirty="0" smtClean="0">
                <a:latin typeface="Verdana" panose="020B0604030504040204" pitchFamily="34" charset="0"/>
                <a:ea typeface="Verdana" panose="020B0604030504040204" pitchFamily="34" charset="0"/>
              </a:rPr>
              <a:t>then they add or remove the amount of coke based upon the hot metal temperature.</a:t>
            </a:r>
          </a:p>
          <a:p>
            <a:endParaRPr lang="en-US" sz="1400" dirty="0">
              <a:latin typeface="Verdana" panose="020B0604030504040204" pitchFamily="34" charset="0"/>
              <a:ea typeface="Verdana" panose="020B0604030504040204" pitchFamily="34" charset="0"/>
            </a:endParaRPr>
          </a:p>
          <a:p>
            <a:r>
              <a:rPr lang="en-US" sz="1400" dirty="0" smtClean="0">
                <a:latin typeface="Verdana" panose="020B0604030504040204" pitchFamily="34" charset="0"/>
                <a:ea typeface="Verdana" panose="020B0604030504040204" pitchFamily="34" charset="0"/>
              </a:rPr>
              <a:t>The problem with this method is:</a:t>
            </a:r>
          </a:p>
          <a:p>
            <a:endParaRPr lang="en-US" sz="1400" dirty="0" smtClean="0">
              <a:latin typeface="Verdana" panose="020B0604030504040204" pitchFamily="34" charset="0"/>
              <a:ea typeface="Verdana" panose="020B0604030504040204" pitchFamily="34" charset="0"/>
            </a:endParaRPr>
          </a:p>
          <a:p>
            <a:pPr marL="342900" indent="-342900">
              <a:buAutoNum type="arabicParenR"/>
            </a:pPr>
            <a:r>
              <a:rPr lang="en-US" sz="1400" dirty="0" smtClean="0">
                <a:latin typeface="Verdana" panose="020B0604030504040204" pitchFamily="34" charset="0"/>
                <a:ea typeface="Verdana" panose="020B0604030504040204" pitchFamily="34" charset="0"/>
              </a:rPr>
              <a:t>There is delay in the time at which load is added and the time at which hot metal is tapped about a delay of 4-5 hours.</a:t>
            </a:r>
          </a:p>
          <a:p>
            <a:pPr marL="342900" indent="-342900">
              <a:buAutoNum type="arabicParenR"/>
            </a:pPr>
            <a:endParaRPr lang="en-US" sz="1400" dirty="0" smtClean="0">
              <a:latin typeface="Verdana" panose="020B0604030504040204" pitchFamily="34" charset="0"/>
              <a:ea typeface="Verdana" panose="020B0604030504040204" pitchFamily="34" charset="0"/>
            </a:endParaRPr>
          </a:p>
          <a:p>
            <a:pPr marL="342900" indent="-342900">
              <a:buAutoNum type="arabicParenR"/>
            </a:pPr>
            <a:r>
              <a:rPr lang="en-US" sz="1400" dirty="0" smtClean="0">
                <a:latin typeface="Verdana" panose="020B0604030504040204" pitchFamily="34" charset="0"/>
                <a:ea typeface="Verdana" panose="020B0604030504040204" pitchFamily="34" charset="0"/>
              </a:rPr>
              <a:t>There is no Hot Metal prediction model for Blast Furnace-4 also the reading of the hot metal temperature is not taken hourly</a:t>
            </a:r>
          </a:p>
          <a:p>
            <a:pPr marL="342900" indent="-342900">
              <a:buAutoNum type="arabicParenR"/>
            </a:pPr>
            <a:endParaRPr lang="en-US" sz="1400" dirty="0" smtClean="0">
              <a:latin typeface="Verdana" panose="020B0604030504040204" pitchFamily="34" charset="0"/>
              <a:ea typeface="Verdana" panose="020B0604030504040204" pitchFamily="34" charset="0"/>
            </a:endParaRPr>
          </a:p>
          <a:p>
            <a:pPr marL="342900" indent="-342900">
              <a:buAutoNum type="arabicParenR"/>
            </a:pPr>
            <a:r>
              <a:rPr lang="en-US" sz="1400" dirty="0" smtClean="0">
                <a:latin typeface="Verdana" panose="020B0604030504040204" pitchFamily="34" charset="0"/>
                <a:ea typeface="Verdana" panose="020B0604030504040204" pitchFamily="34" charset="0"/>
              </a:rPr>
              <a:t>The Temperature of Hot Metal varies from Tap hole to Tap hole due to the formation of </a:t>
            </a:r>
            <a:r>
              <a:rPr lang="en-US" sz="1400" dirty="0" err="1" smtClean="0">
                <a:latin typeface="Verdana" panose="020B0604030504040204" pitchFamily="34" charset="0"/>
                <a:ea typeface="Verdana" panose="020B0604030504040204" pitchFamily="34" charset="0"/>
              </a:rPr>
              <a:t>Deadman</a:t>
            </a:r>
            <a:r>
              <a:rPr lang="en-US" sz="1400" dirty="0" smtClean="0">
                <a:latin typeface="Verdana" panose="020B0604030504040204" pitchFamily="34" charset="0"/>
                <a:ea typeface="Verdana" panose="020B0604030504040204" pitchFamily="34" charset="0"/>
              </a:rPr>
              <a:t> </a:t>
            </a:r>
            <a:r>
              <a:rPr lang="en-US" sz="1400" dirty="0" smtClean="0">
                <a:latin typeface="Verdana" panose="020B0604030504040204" pitchFamily="34" charset="0"/>
                <a:ea typeface="Verdana" panose="020B0604030504040204" pitchFamily="34" charset="0"/>
              </a:rPr>
              <a:t>inside the Blast furnace.</a:t>
            </a:r>
          </a:p>
          <a:p>
            <a:pPr marL="342900" indent="-342900">
              <a:buAutoNum type="arabicParenR"/>
            </a:pPr>
            <a:endParaRPr lang="en-US" sz="1400" dirty="0" smtClean="0">
              <a:latin typeface="Verdana" panose="020B0604030504040204" pitchFamily="34" charset="0"/>
              <a:ea typeface="Verdana" panose="020B0604030504040204" pitchFamily="34" charset="0"/>
            </a:endParaRPr>
          </a:p>
          <a:p>
            <a:pPr marL="342900" indent="-342900">
              <a:buFontTx/>
              <a:buAutoNum type="arabicParenR"/>
            </a:pPr>
            <a:r>
              <a:rPr lang="en-US" sz="1400" dirty="0" smtClean="0">
                <a:latin typeface="Verdana" panose="020B0604030504040204" pitchFamily="34" charset="0"/>
                <a:ea typeface="Verdana" panose="020B0604030504040204" pitchFamily="34" charset="0"/>
              </a:rPr>
              <a:t>The Hot Metal Temperature depends on many other factors: Burden </a:t>
            </a:r>
            <a:r>
              <a:rPr lang="en-US" sz="1400" dirty="0">
                <a:latin typeface="Verdana" panose="020B0604030504040204" pitchFamily="34" charset="0"/>
                <a:ea typeface="Verdana" panose="020B0604030504040204" pitchFamily="34" charset="0"/>
              </a:rPr>
              <a:t>descent </a:t>
            </a:r>
            <a:r>
              <a:rPr lang="en-US" sz="1400" dirty="0" smtClean="0">
                <a:latin typeface="Verdana" panose="020B0604030504040204" pitchFamily="34" charset="0"/>
                <a:ea typeface="Verdana" panose="020B0604030504040204" pitchFamily="34" charset="0"/>
              </a:rPr>
              <a:t>rate, Top </a:t>
            </a:r>
            <a:r>
              <a:rPr lang="en-US" sz="1400" dirty="0">
                <a:latin typeface="Verdana" panose="020B0604030504040204" pitchFamily="34" charset="0"/>
                <a:ea typeface="Verdana" panose="020B0604030504040204" pitchFamily="34" charset="0"/>
              </a:rPr>
              <a:t>gas Temperature, Gas </a:t>
            </a:r>
            <a:r>
              <a:rPr lang="en-US" sz="1400" dirty="0" smtClean="0">
                <a:latin typeface="Verdana" panose="020B0604030504040204" pitchFamily="34" charset="0"/>
                <a:ea typeface="Verdana" panose="020B0604030504040204" pitchFamily="34" charset="0"/>
              </a:rPr>
              <a:t>Utilization(ETACO), </a:t>
            </a:r>
            <a:r>
              <a:rPr lang="en-US" sz="1400" dirty="0">
                <a:latin typeface="Verdana" panose="020B0604030504040204" pitchFamily="34" charset="0"/>
                <a:ea typeface="Verdana" panose="020B0604030504040204" pitchFamily="34" charset="0"/>
              </a:rPr>
              <a:t>Differential Pressures and </a:t>
            </a:r>
            <a:r>
              <a:rPr lang="en-US" sz="1400" dirty="0" smtClean="0">
                <a:latin typeface="Verdana" panose="020B0604030504040204" pitchFamily="34" charset="0"/>
                <a:ea typeface="Verdana" panose="020B0604030504040204" pitchFamily="34" charset="0"/>
              </a:rPr>
              <a:t>Gas </a:t>
            </a:r>
            <a:r>
              <a:rPr lang="en-US" sz="1400" dirty="0">
                <a:latin typeface="Verdana" panose="020B0604030504040204" pitchFamily="34" charset="0"/>
                <a:ea typeface="Verdana" panose="020B0604030504040204" pitchFamily="34" charset="0"/>
              </a:rPr>
              <a:t>Permeability </a:t>
            </a:r>
            <a:r>
              <a:rPr lang="en-US" sz="1400" dirty="0" smtClean="0">
                <a:latin typeface="Verdana" panose="020B0604030504040204" pitchFamily="34" charset="0"/>
                <a:ea typeface="Verdana" panose="020B0604030504040204" pitchFamily="34" charset="0"/>
              </a:rPr>
              <a:t>Resistance.</a:t>
            </a:r>
          </a:p>
          <a:p>
            <a:pPr marL="342900" indent="-342900">
              <a:buFontTx/>
              <a:buAutoNum type="arabicParenR"/>
            </a:pPr>
            <a:endParaRPr lang="en-US" sz="1400" dirty="0" smtClean="0">
              <a:latin typeface="Verdana" panose="020B0604030504040204" pitchFamily="34" charset="0"/>
              <a:ea typeface="Verdana" panose="020B0604030504040204" pitchFamily="34" charset="0"/>
            </a:endParaRPr>
          </a:p>
          <a:p>
            <a:pPr marL="342900" indent="-342900">
              <a:buFontTx/>
              <a:buAutoNum type="arabicParenR"/>
            </a:pPr>
            <a:r>
              <a:rPr lang="en-US" sz="1400" dirty="0">
                <a:latin typeface="Verdana" panose="020B0604030504040204" pitchFamily="34" charset="0"/>
                <a:ea typeface="Verdana" panose="020B0604030504040204" pitchFamily="34" charset="0"/>
              </a:rPr>
              <a:t> </a:t>
            </a:r>
            <a:r>
              <a:rPr lang="en-US" sz="1400" dirty="0" smtClean="0">
                <a:latin typeface="Verdana" panose="020B0604030504040204" pitchFamily="34" charset="0"/>
                <a:ea typeface="Verdana" panose="020B0604030504040204" pitchFamily="34" charset="0"/>
              </a:rPr>
              <a:t>It also depends on Channeling, </a:t>
            </a:r>
            <a:r>
              <a:rPr lang="en-US" sz="1400" dirty="0">
                <a:latin typeface="Verdana" panose="020B0604030504040204" pitchFamily="34" charset="0"/>
                <a:ea typeface="Verdana" panose="020B0604030504040204" pitchFamily="34" charset="0"/>
              </a:rPr>
              <a:t>Channeling is </a:t>
            </a:r>
            <a:r>
              <a:rPr lang="en-US" sz="1400" dirty="0" smtClean="0">
                <a:latin typeface="Verdana" panose="020B0604030504040204" pitchFamily="34" charset="0"/>
                <a:ea typeface="Verdana" panose="020B0604030504040204" pitchFamily="34" charset="0"/>
              </a:rPr>
              <a:t>condition </a:t>
            </a:r>
            <a:r>
              <a:rPr lang="en-US" sz="1400" dirty="0">
                <a:latin typeface="Verdana" panose="020B0604030504040204" pitchFamily="34" charset="0"/>
                <a:ea typeface="Verdana" panose="020B0604030504040204" pitchFamily="34" charset="0"/>
              </a:rPr>
              <a:t>of the Burden distribution where ascending gases tries to preferentially flow, resulting in changes in the Gas flow pattern in top gas and subsequently affects the Burden </a:t>
            </a:r>
            <a:r>
              <a:rPr lang="en-US" sz="1400" dirty="0" smtClean="0">
                <a:latin typeface="Verdana" panose="020B0604030504040204" pitchFamily="34" charset="0"/>
                <a:ea typeface="Verdana" panose="020B0604030504040204" pitchFamily="34" charset="0"/>
              </a:rPr>
              <a:t>movement.</a:t>
            </a:r>
            <a:endParaRPr lang="en-US" sz="1400" dirty="0">
              <a:latin typeface="Verdana" panose="020B0604030504040204" pitchFamily="34" charset="0"/>
              <a:ea typeface="Verdana" panose="020B0604030504040204" pitchFamily="34" charset="0"/>
            </a:endParaRPr>
          </a:p>
        </p:txBody>
      </p:sp>
      <p:cxnSp>
        <p:nvCxnSpPr>
          <p:cNvPr id="6" name="Straight Connector 5"/>
          <p:cNvCxnSpPr/>
          <p:nvPr/>
        </p:nvCxnSpPr>
        <p:spPr>
          <a:xfrm flipH="1">
            <a:off x="2999656" y="927304"/>
            <a:ext cx="6840760"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6270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3C07-7564-F1EC-F562-617726AFC701}"/>
              </a:ext>
            </a:extLst>
          </p:cNvPr>
          <p:cNvSpPr>
            <a:spLocks noGrp="1"/>
          </p:cNvSpPr>
          <p:nvPr>
            <p:ph type="title"/>
          </p:nvPr>
        </p:nvSpPr>
        <p:spPr>
          <a:xfrm>
            <a:off x="1709996" y="213163"/>
            <a:ext cx="9869169" cy="369332"/>
          </a:xfrm>
        </p:spPr>
        <p:txBody>
          <a:bodyPr/>
          <a:lstStyle/>
          <a:p>
            <a:pPr algn="ctr"/>
            <a:r>
              <a:rPr lang="en-US" sz="2400" b="1" kern="1200" dirty="0">
                <a:solidFill>
                  <a:srgbClr val="C00000"/>
                </a:solidFill>
                <a:latin typeface="Verdana" panose="020B0604030504040204" pitchFamily="34" charset="0"/>
                <a:ea typeface="Verdana" panose="020B0604030504040204" pitchFamily="34" charset="0"/>
                <a:cs typeface="+mn-cs"/>
              </a:rPr>
              <a:t>Blast Furnace – </a:t>
            </a:r>
            <a:r>
              <a:rPr lang="en-US" sz="2400" b="1" kern="1200" dirty="0" smtClean="0">
                <a:solidFill>
                  <a:srgbClr val="C00000"/>
                </a:solidFill>
                <a:latin typeface="Verdana" panose="020B0604030504040204" pitchFamily="34" charset="0"/>
                <a:ea typeface="Verdana" panose="020B0604030504040204" pitchFamily="34" charset="0"/>
                <a:cs typeface="+mn-cs"/>
              </a:rPr>
              <a:t>4</a:t>
            </a:r>
            <a:r>
              <a:rPr lang="en-US" sz="2400" b="1" kern="1200" dirty="0" smtClean="0">
                <a:solidFill>
                  <a:srgbClr val="003399"/>
                </a:solidFill>
                <a:latin typeface="Verdana" panose="020B0604030504040204" pitchFamily="34" charset="0"/>
                <a:ea typeface="Verdana" panose="020B0604030504040204" pitchFamily="34" charset="0"/>
                <a:cs typeface="+mn-cs"/>
              </a:rPr>
              <a:t> </a:t>
            </a:r>
            <a:r>
              <a:rPr lang="en-US" sz="2400" b="1" dirty="0">
                <a:solidFill>
                  <a:srgbClr val="C00000"/>
                </a:solidFill>
                <a:latin typeface="Verdana" panose="020B0604030504040204" pitchFamily="34" charset="0"/>
                <a:ea typeface="Verdana" panose="020B0604030504040204" pitchFamily="34" charset="0"/>
              </a:rPr>
              <a:t>| </a:t>
            </a:r>
            <a:r>
              <a:rPr lang="en-US" sz="2400" b="1" kern="1200" dirty="0" smtClean="0">
                <a:solidFill>
                  <a:srgbClr val="003399"/>
                </a:solidFill>
                <a:latin typeface="Verdana" panose="020B0604030504040204" pitchFamily="34" charset="0"/>
                <a:ea typeface="Verdana" panose="020B0604030504040204" pitchFamily="34" charset="0"/>
                <a:cs typeface="+mn-cs"/>
              </a:rPr>
              <a:t>JSW </a:t>
            </a:r>
            <a:r>
              <a:rPr lang="en-US" sz="2400" b="1" kern="1200" dirty="0" err="1">
                <a:solidFill>
                  <a:srgbClr val="003399"/>
                </a:solidFill>
                <a:latin typeface="Verdana" panose="020B0604030504040204" pitchFamily="34" charset="0"/>
                <a:ea typeface="Verdana" panose="020B0604030504040204" pitchFamily="34" charset="0"/>
                <a:cs typeface="+mn-cs"/>
              </a:rPr>
              <a:t>Vijayanagar</a:t>
            </a:r>
            <a:endParaRPr lang="en-US" sz="2400" b="1" kern="1200" dirty="0">
              <a:solidFill>
                <a:srgbClr val="003399"/>
              </a:solidFill>
              <a:latin typeface="Verdana" panose="020B0604030504040204" pitchFamily="34" charset="0"/>
              <a:ea typeface="Verdana" panose="020B0604030504040204" pitchFamily="34" charset="0"/>
              <a:cs typeface="+mn-cs"/>
            </a:endParaRPr>
          </a:p>
        </p:txBody>
      </p:sp>
      <p:graphicFrame>
        <p:nvGraphicFramePr>
          <p:cNvPr id="13" name="Table 12">
            <a:extLst>
              <a:ext uri="{FF2B5EF4-FFF2-40B4-BE49-F238E27FC236}">
                <a16:creationId xmlns:a16="http://schemas.microsoft.com/office/drawing/2014/main" id="{84DEA7D0-554F-BF28-F322-209957D10490}"/>
              </a:ext>
            </a:extLst>
          </p:cNvPr>
          <p:cNvGraphicFramePr>
            <a:graphicFrameLocks noGrp="1"/>
          </p:cNvGraphicFramePr>
          <p:nvPr>
            <p:extLst>
              <p:ext uri="{D42A27DB-BD31-4B8C-83A1-F6EECF244321}">
                <p14:modId xmlns:p14="http://schemas.microsoft.com/office/powerpoint/2010/main" val="3983943799"/>
              </p:ext>
            </p:extLst>
          </p:nvPr>
        </p:nvGraphicFramePr>
        <p:xfrm>
          <a:off x="849295" y="1230866"/>
          <a:ext cx="5429850" cy="5080978"/>
        </p:xfrm>
        <a:graphic>
          <a:graphicData uri="http://schemas.openxmlformats.org/drawingml/2006/table">
            <a:tbl>
              <a:tblPr>
                <a:tableStyleId>{5C22544A-7EE6-4342-B048-85BDC9FD1C3A}</a:tableStyleId>
              </a:tblPr>
              <a:tblGrid>
                <a:gridCol w="2972270">
                  <a:extLst>
                    <a:ext uri="{9D8B030D-6E8A-4147-A177-3AD203B41FA5}">
                      <a16:colId xmlns:a16="http://schemas.microsoft.com/office/drawing/2014/main" val="2716293489"/>
                    </a:ext>
                  </a:extLst>
                </a:gridCol>
                <a:gridCol w="2457580">
                  <a:extLst>
                    <a:ext uri="{9D8B030D-6E8A-4147-A177-3AD203B41FA5}">
                      <a16:colId xmlns:a16="http://schemas.microsoft.com/office/drawing/2014/main" val="1660398436"/>
                    </a:ext>
                  </a:extLst>
                </a:gridCol>
              </a:tblGrid>
              <a:tr h="362927">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Parameter</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Value</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1783646755"/>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Production</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smtClean="0">
                          <a:effectLst/>
                          <a:latin typeface="Verdana" panose="020B0604030504040204" pitchFamily="34" charset="0"/>
                          <a:ea typeface="Verdana" panose="020B0604030504040204" pitchFamily="34" charset="0"/>
                        </a:rPr>
                        <a:t>9830 </a:t>
                      </a:r>
                      <a:r>
                        <a:rPr lang="en-IN" sz="1400" u="none" strike="noStrike" dirty="0">
                          <a:effectLst/>
                          <a:latin typeface="Verdana" panose="020B0604030504040204" pitchFamily="34" charset="0"/>
                          <a:ea typeface="Verdana" panose="020B0604030504040204" pitchFamily="34" charset="0"/>
                        </a:rPr>
                        <a:t>t/day</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560039540"/>
                  </a:ext>
                </a:extLst>
              </a:tr>
              <a:tr h="362927">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Productivity (w/v)</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2.5 t/m³/day</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162894405"/>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Fuel Rat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2.5 t/m³/day</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512764176"/>
                  </a:ext>
                </a:extLst>
              </a:tr>
              <a:tr h="362927">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Coke Rate</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solidFill>
                      <a:srgbClr val="E9EDF4"/>
                    </a:solidFill>
                  </a:tcPr>
                </a:tc>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520 Kg/THM</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842230826"/>
                  </a:ext>
                </a:extLst>
              </a:tr>
              <a:tr h="362927">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PCI Rate</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380 Kg/THM</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931869183"/>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Slag Rat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160 Kg/THM</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1113983902"/>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Sinter / Pellet / Lump Ore (%)</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80/10/10</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889601142"/>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Hot Blast Pressur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4 bar</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4155162503"/>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High Top Pressur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2.5 bar</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001037838"/>
                  </a:ext>
                </a:extLst>
              </a:tr>
              <a:tr h="362927">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Hot Blast Temp</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1250°C</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903115077"/>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Cold Blast Volum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5800 Nm³/min</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792301840"/>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O2 enrichment</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5-7%</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047217982"/>
                  </a:ext>
                </a:extLst>
              </a:tr>
              <a:tr h="362927">
                <a:tc>
                  <a:txBody>
                    <a:bodyPr/>
                    <a:lstStyle/>
                    <a:p>
                      <a:pPr algn="l" fontAlgn="b">
                        <a:lnSpc>
                          <a:spcPct val="120000"/>
                        </a:lnSpc>
                      </a:pPr>
                      <a:r>
                        <a:rPr lang="en-IN" sz="1400" u="none" strike="noStrike">
                          <a:effectLst/>
                          <a:latin typeface="Verdana" panose="020B0604030504040204" pitchFamily="34" charset="0"/>
                          <a:ea typeface="Verdana" panose="020B0604030504040204" pitchFamily="34" charset="0"/>
                        </a:rPr>
                        <a:t>Gas make</a:t>
                      </a:r>
                      <a:endParaRPr lang="en-IN" sz="1400" b="0" i="0" u="none" strike="noStrike">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u="none" strike="noStrike" dirty="0">
                          <a:effectLst/>
                          <a:latin typeface="Verdana" panose="020B0604030504040204" pitchFamily="34" charset="0"/>
                          <a:ea typeface="Verdana" panose="020B0604030504040204" pitchFamily="34" charset="0"/>
                        </a:rPr>
                        <a:t>525000 Nm³/hr</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609217305"/>
                  </a:ext>
                </a:extLst>
              </a:tr>
            </a:tbl>
          </a:graphicData>
        </a:graphic>
      </p:graphicFrame>
      <p:graphicFrame>
        <p:nvGraphicFramePr>
          <p:cNvPr id="18" name="Table 17">
            <a:extLst>
              <a:ext uri="{FF2B5EF4-FFF2-40B4-BE49-F238E27FC236}">
                <a16:creationId xmlns:a16="http://schemas.microsoft.com/office/drawing/2014/main" id="{BEE7E6DC-9177-6CD1-9807-1A6B8B712C76}"/>
              </a:ext>
            </a:extLst>
          </p:cNvPr>
          <p:cNvGraphicFramePr>
            <a:graphicFrameLocks noGrp="1"/>
          </p:cNvGraphicFramePr>
          <p:nvPr>
            <p:extLst>
              <p:ext uri="{D42A27DB-BD31-4B8C-83A1-F6EECF244321}">
                <p14:modId xmlns:p14="http://schemas.microsoft.com/office/powerpoint/2010/main" val="4126345964"/>
              </p:ext>
            </p:extLst>
          </p:nvPr>
        </p:nvGraphicFramePr>
        <p:xfrm>
          <a:off x="6644581" y="1235473"/>
          <a:ext cx="4641458" cy="5222724"/>
        </p:xfrm>
        <a:graphic>
          <a:graphicData uri="http://schemas.openxmlformats.org/drawingml/2006/table">
            <a:tbl>
              <a:tblPr>
                <a:tableStyleId>{5C22544A-7EE6-4342-B048-85BDC9FD1C3A}</a:tableStyleId>
              </a:tblPr>
              <a:tblGrid>
                <a:gridCol w="1900744">
                  <a:extLst>
                    <a:ext uri="{9D8B030D-6E8A-4147-A177-3AD203B41FA5}">
                      <a16:colId xmlns:a16="http://schemas.microsoft.com/office/drawing/2014/main" val="1922698900"/>
                    </a:ext>
                  </a:extLst>
                </a:gridCol>
                <a:gridCol w="1370357">
                  <a:extLst>
                    <a:ext uri="{9D8B030D-6E8A-4147-A177-3AD203B41FA5}">
                      <a16:colId xmlns:a16="http://schemas.microsoft.com/office/drawing/2014/main" val="3755361684"/>
                    </a:ext>
                  </a:extLst>
                </a:gridCol>
                <a:gridCol w="1370357">
                  <a:extLst>
                    <a:ext uri="{9D8B030D-6E8A-4147-A177-3AD203B41FA5}">
                      <a16:colId xmlns:a16="http://schemas.microsoft.com/office/drawing/2014/main" val="3559057898"/>
                    </a:ext>
                  </a:extLst>
                </a:gridCol>
              </a:tblGrid>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Area</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Value</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Unit</a:t>
                      </a:r>
                    </a:p>
                  </a:txBody>
                  <a:tcPr marL="6926" marR="6926" marT="6926" marB="0" anchor="b"/>
                </a:tc>
                <a:extLst>
                  <a:ext uri="{0D108BD9-81ED-4DB2-BD59-A6C34878D82A}">
                    <a16:rowId xmlns:a16="http://schemas.microsoft.com/office/drawing/2014/main" val="1604741588"/>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Diameter Throat</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9.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2102916152"/>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Belly</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5.1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969019720"/>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Hearth</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3.2</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3907450070"/>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Heights Throat</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57</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2493075475"/>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Stack</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7.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2785924941"/>
                  </a:ext>
                </a:extLst>
              </a:tr>
              <a:tr h="237460">
                <a:tc>
                  <a:txBody>
                    <a:bodyPr/>
                    <a:lstStyle/>
                    <a:p>
                      <a:pPr marL="0" algn="l" fontAlgn="b">
                        <a:lnSpc>
                          <a:spcPct val="120000"/>
                        </a:lnSpc>
                      </a:pPr>
                      <a:r>
                        <a:rPr lang="en-IN" sz="1400" b="0" i="0" u="none" strike="noStrike" dirty="0">
                          <a:solidFill>
                            <a:srgbClr val="000000"/>
                          </a:solidFill>
                          <a:effectLst/>
                          <a:latin typeface="Verdana" panose="020B0604030504040204" pitchFamily="34" charset="0"/>
                          <a:ea typeface="Verdana" panose="020B0604030504040204" pitchFamily="34" charset="0"/>
                          <a:cs typeface="+mn-cs"/>
                        </a:rPr>
                        <a:t>Belly</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3</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2332752627"/>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Bosh</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3.5</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1135562858"/>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Tuyere to Bosh</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0.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773401620"/>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Taphole to Tuyere</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4.2</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455171656"/>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Bottom to Taphole</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3.1</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4286509342"/>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Tap hole level</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1.0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1622557191"/>
                  </a:ext>
                </a:extLst>
              </a:tr>
              <a:tr h="237460">
                <a:tc>
                  <a:txBody>
                    <a:bodyPr/>
                    <a:lstStyle/>
                    <a:p>
                      <a:pPr marL="0" algn="l" fontAlgn="b">
                        <a:lnSpc>
                          <a:spcPct val="120000"/>
                        </a:lnSpc>
                      </a:pPr>
                      <a:r>
                        <a:rPr lang="en-IN" sz="1400" b="0" i="0" u="none" strike="noStrike" dirty="0" err="1">
                          <a:solidFill>
                            <a:srgbClr val="000000"/>
                          </a:solidFill>
                          <a:effectLst/>
                          <a:latin typeface="Verdana" panose="020B0604030504040204" pitchFamily="34" charset="0"/>
                          <a:ea typeface="Verdana" panose="020B0604030504040204" pitchFamily="34" charset="0"/>
                          <a:cs typeface="+mn-cs"/>
                        </a:rPr>
                        <a:t>Tuyeres</a:t>
                      </a:r>
                      <a:r>
                        <a:rPr lang="en-IN" sz="1400" b="0" i="0" u="none" strike="noStrike" dirty="0">
                          <a:solidFill>
                            <a:srgbClr val="000000"/>
                          </a:solidFill>
                          <a:effectLst/>
                          <a:latin typeface="Verdana" panose="020B0604030504040204" pitchFamily="34" charset="0"/>
                          <a:ea typeface="Verdana" panose="020B0604030504040204" pitchFamily="34" charset="0"/>
                          <a:cs typeface="+mn-cs"/>
                        </a:rPr>
                        <a:t> level</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15</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944069536"/>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Furnace Top</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47.14</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2831998589"/>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Working</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26.3</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1094453564"/>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Total</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33.6</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a:t>
                      </a:r>
                    </a:p>
                  </a:txBody>
                  <a:tcPr marL="6926" marR="6926" marT="6926" marB="0" anchor="b"/>
                </a:tc>
                <a:extLst>
                  <a:ext uri="{0D108BD9-81ED-4DB2-BD59-A6C34878D82A}">
                    <a16:rowId xmlns:a16="http://schemas.microsoft.com/office/drawing/2014/main" val="3169812066"/>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Volumes Working</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3445</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³</a:t>
                      </a:r>
                    </a:p>
                  </a:txBody>
                  <a:tcPr marL="6926" marR="6926" marT="6926" marB="0" anchor="b"/>
                </a:tc>
                <a:extLst>
                  <a:ext uri="{0D108BD9-81ED-4DB2-BD59-A6C34878D82A}">
                    <a16:rowId xmlns:a16="http://schemas.microsoft.com/office/drawing/2014/main" val="2724368221"/>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Inner</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4020</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m³</a:t>
                      </a:r>
                    </a:p>
                  </a:txBody>
                  <a:tcPr marL="6926" marR="6926" marT="6926" marB="0" anchor="b"/>
                </a:tc>
                <a:extLst>
                  <a:ext uri="{0D108BD9-81ED-4DB2-BD59-A6C34878D82A}">
                    <a16:rowId xmlns:a16="http://schemas.microsoft.com/office/drawing/2014/main" val="167451761"/>
                  </a:ext>
                </a:extLst>
              </a:tr>
              <a:tr h="468666">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Production/hearth area</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57</a:t>
                      </a:r>
                    </a:p>
                  </a:txBody>
                  <a:tcPr marL="6926" marR="6926" marT="6926" marB="0" anchor="b"/>
                </a:tc>
                <a:tc>
                  <a:txBody>
                    <a:bodyPr/>
                    <a:lstStyle/>
                    <a:p>
                      <a:pPr marL="0" algn="l" fontAlgn="b">
                        <a:lnSpc>
                          <a:spcPct val="120000"/>
                        </a:lnSpc>
                      </a:pPr>
                      <a:r>
                        <a:rPr lang="en-IN" sz="1400" b="0" i="0" u="none" strike="noStrike" dirty="0">
                          <a:solidFill>
                            <a:srgbClr val="000000"/>
                          </a:solidFill>
                          <a:effectLst/>
                          <a:latin typeface="Verdana" panose="020B0604030504040204" pitchFamily="34" charset="0"/>
                          <a:ea typeface="Verdana" panose="020B0604030504040204" pitchFamily="34" charset="0"/>
                          <a:cs typeface="+mn-cs"/>
                        </a:rPr>
                        <a:t>t/day/m2 hearth</a:t>
                      </a:r>
                    </a:p>
                  </a:txBody>
                  <a:tcPr marL="6926" marR="6926" marT="6926" marB="0" anchor="b"/>
                </a:tc>
                <a:extLst>
                  <a:ext uri="{0D108BD9-81ED-4DB2-BD59-A6C34878D82A}">
                    <a16:rowId xmlns:a16="http://schemas.microsoft.com/office/drawing/2014/main" val="404935220"/>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Stack</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81.02</a:t>
                      </a:r>
                    </a:p>
                  </a:txBody>
                  <a:tcPr marL="6926" marR="6926" marT="6926" marB="0" anchor="b"/>
                </a:tc>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Degrees</a:t>
                      </a:r>
                    </a:p>
                  </a:txBody>
                  <a:tcPr marL="6926" marR="6926" marT="6926" marB="0" anchor="b"/>
                </a:tc>
                <a:extLst>
                  <a:ext uri="{0D108BD9-81ED-4DB2-BD59-A6C34878D82A}">
                    <a16:rowId xmlns:a16="http://schemas.microsoft.com/office/drawing/2014/main" val="633781027"/>
                  </a:ext>
                </a:extLst>
              </a:tr>
              <a:tr h="237460">
                <a:tc>
                  <a:txBody>
                    <a:bodyPr/>
                    <a:lstStyle/>
                    <a:p>
                      <a:pPr marL="0" algn="l" fontAlgn="b">
                        <a:lnSpc>
                          <a:spcPct val="120000"/>
                        </a:lnSpc>
                      </a:pPr>
                      <a:r>
                        <a:rPr lang="en-IN" sz="1400" b="0" i="0" u="none" strike="noStrike">
                          <a:solidFill>
                            <a:srgbClr val="000000"/>
                          </a:solidFill>
                          <a:effectLst/>
                          <a:latin typeface="Verdana" panose="020B0604030504040204" pitchFamily="34" charset="0"/>
                          <a:ea typeface="Verdana" panose="020B0604030504040204" pitchFamily="34" charset="0"/>
                          <a:cs typeface="+mn-cs"/>
                        </a:rPr>
                        <a:t>Bosh</a:t>
                      </a:r>
                    </a:p>
                  </a:txBody>
                  <a:tcPr marL="6926" marR="6926" marT="6926" marB="0" anchor="b"/>
                </a:tc>
                <a:tc>
                  <a:txBody>
                    <a:bodyPr/>
                    <a:lstStyle/>
                    <a:p>
                      <a:pPr marL="0" algn="l" fontAlgn="b">
                        <a:lnSpc>
                          <a:spcPct val="120000"/>
                        </a:lnSpc>
                      </a:pPr>
                      <a:r>
                        <a:rPr lang="en-IN" sz="1400" b="0" i="0" u="none" strike="noStrike" dirty="0">
                          <a:solidFill>
                            <a:srgbClr val="000000"/>
                          </a:solidFill>
                          <a:effectLst/>
                          <a:latin typeface="Verdana" panose="020B0604030504040204" pitchFamily="34" charset="0"/>
                          <a:ea typeface="Verdana" panose="020B0604030504040204" pitchFamily="34" charset="0"/>
                          <a:cs typeface="+mn-cs"/>
                        </a:rPr>
                        <a:t>74.36</a:t>
                      </a:r>
                    </a:p>
                  </a:txBody>
                  <a:tcPr marL="6926" marR="6926" marT="6926" marB="0" anchor="b"/>
                </a:tc>
                <a:tc>
                  <a:txBody>
                    <a:bodyPr/>
                    <a:lstStyle/>
                    <a:p>
                      <a:pPr marL="0" algn="l" fontAlgn="b">
                        <a:lnSpc>
                          <a:spcPct val="120000"/>
                        </a:lnSpc>
                      </a:pPr>
                      <a:r>
                        <a:rPr lang="en-IN" sz="1400" b="0" i="0" u="none" strike="noStrike" dirty="0">
                          <a:solidFill>
                            <a:srgbClr val="000000"/>
                          </a:solidFill>
                          <a:effectLst/>
                          <a:latin typeface="Verdana" panose="020B0604030504040204" pitchFamily="34" charset="0"/>
                          <a:ea typeface="Verdana" panose="020B0604030504040204" pitchFamily="34" charset="0"/>
                          <a:cs typeface="+mn-cs"/>
                        </a:rPr>
                        <a:t>Degrees</a:t>
                      </a:r>
                    </a:p>
                  </a:txBody>
                  <a:tcPr marL="6926" marR="6926" marT="6926" marB="0" anchor="b"/>
                </a:tc>
                <a:extLst>
                  <a:ext uri="{0D108BD9-81ED-4DB2-BD59-A6C34878D82A}">
                    <a16:rowId xmlns:a16="http://schemas.microsoft.com/office/drawing/2014/main" val="216418215"/>
                  </a:ext>
                </a:extLst>
              </a:tr>
            </a:tbl>
          </a:graphicData>
        </a:graphic>
      </p:graphicFrame>
      <p:sp>
        <p:nvSpPr>
          <p:cNvPr id="28" name="TextBox 27">
            <a:extLst>
              <a:ext uri="{FF2B5EF4-FFF2-40B4-BE49-F238E27FC236}">
                <a16:creationId xmlns:a16="http://schemas.microsoft.com/office/drawing/2014/main" id="{0289E4CC-6FB8-F837-DCE6-6366EE2F876B}"/>
              </a:ext>
            </a:extLst>
          </p:cNvPr>
          <p:cNvSpPr txBox="1"/>
          <p:nvPr/>
        </p:nvSpPr>
        <p:spPr>
          <a:xfrm>
            <a:off x="8002060" y="886596"/>
            <a:ext cx="1683474" cy="369332"/>
          </a:xfrm>
          <a:prstGeom prst="rect">
            <a:avLst/>
          </a:prstGeom>
          <a:noFill/>
        </p:spPr>
        <p:txBody>
          <a:bodyPr wrap="none" rtlCol="0">
            <a:spAutoFit/>
          </a:bodyPr>
          <a:lstStyle/>
          <a:p>
            <a:r>
              <a:rPr lang="en-IN" dirty="0">
                <a:latin typeface="Verdana" panose="020B0604030504040204" pitchFamily="34" charset="0"/>
                <a:ea typeface="Verdana" panose="020B0604030504040204" pitchFamily="34" charset="0"/>
              </a:rPr>
              <a:t>Design Data </a:t>
            </a:r>
          </a:p>
        </p:txBody>
      </p:sp>
      <p:sp>
        <p:nvSpPr>
          <p:cNvPr id="34" name="TextBox 33">
            <a:extLst>
              <a:ext uri="{FF2B5EF4-FFF2-40B4-BE49-F238E27FC236}">
                <a16:creationId xmlns:a16="http://schemas.microsoft.com/office/drawing/2014/main" id="{B459230D-A512-1064-1776-E39D9A940641}"/>
              </a:ext>
            </a:extLst>
          </p:cNvPr>
          <p:cNvSpPr txBox="1"/>
          <p:nvPr/>
        </p:nvSpPr>
        <p:spPr>
          <a:xfrm>
            <a:off x="1731443" y="861534"/>
            <a:ext cx="6096000" cy="369332"/>
          </a:xfrm>
          <a:prstGeom prst="rect">
            <a:avLst/>
          </a:prstGeom>
          <a:noFill/>
        </p:spPr>
        <p:txBody>
          <a:bodyPr wrap="square">
            <a:spAutoFit/>
          </a:bodyPr>
          <a:lstStyle/>
          <a:p>
            <a:r>
              <a:rPr lang="en-IN" dirty="0">
                <a:latin typeface="Verdana" panose="020B0604030504040204" pitchFamily="34" charset="0"/>
                <a:ea typeface="Verdana" panose="020B0604030504040204" pitchFamily="34" charset="0"/>
              </a:rPr>
              <a:t>Operating Parameters</a:t>
            </a:r>
          </a:p>
        </p:txBody>
      </p:sp>
      <p:cxnSp>
        <p:nvCxnSpPr>
          <p:cNvPr id="8" name="Straight Connector 7"/>
          <p:cNvCxnSpPr/>
          <p:nvPr/>
        </p:nvCxnSpPr>
        <p:spPr>
          <a:xfrm flipH="1" flipV="1">
            <a:off x="2495600" y="730737"/>
            <a:ext cx="8136904" cy="51664"/>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806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5720" y="108095"/>
            <a:ext cx="4934585" cy="369332"/>
          </a:xfrm>
        </p:spPr>
        <p:txBody>
          <a:bodyPr/>
          <a:lstStyle/>
          <a:p>
            <a:r>
              <a:rPr lang="en-US" sz="2400" b="1" kern="1200" dirty="0">
                <a:solidFill>
                  <a:srgbClr val="003399"/>
                </a:solidFill>
                <a:latin typeface="Verdana" panose="020B0604030504040204" pitchFamily="34" charset="0"/>
                <a:ea typeface="Verdana" panose="020B0604030504040204" pitchFamily="34" charset="0"/>
                <a:cs typeface="+mn-cs"/>
              </a:rPr>
              <a:t>Full forms and Definitions</a:t>
            </a:r>
          </a:p>
        </p:txBody>
      </p:sp>
      <p:cxnSp>
        <p:nvCxnSpPr>
          <p:cNvPr id="5" name="Straight Connector 4"/>
          <p:cNvCxnSpPr/>
          <p:nvPr/>
        </p:nvCxnSpPr>
        <p:spPr>
          <a:xfrm flipH="1">
            <a:off x="3125875" y="490854"/>
            <a:ext cx="5184576"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8" name="Content Placeholder 2"/>
              <p:cNvSpPr txBox="1">
                <a:spLocks/>
              </p:cNvSpPr>
              <p:nvPr/>
            </p:nvSpPr>
            <p:spPr>
              <a:xfrm>
                <a:off x="7968208" y="2348880"/>
                <a:ext cx="3870635" cy="1938992"/>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Arial" panose="020B0604020202020204" pitchFamily="34" charset="0"/>
                  <a:buChar char="•"/>
                </a:pPr>
                <a14:m>
                  <m:oMath xmlns:m="http://schemas.openxmlformats.org/officeDocument/2006/math">
                    <m:r>
                      <a:rPr lang="en-US" b="0" i="1" kern="0" smtClean="0">
                        <a:latin typeface="Cambria Math" panose="02040503050406030204" pitchFamily="18" charset="0"/>
                      </a:rPr>
                      <m:t>𝐸𝑇𝐴</m:t>
                    </m:r>
                    <m:r>
                      <a:rPr lang="en-US" b="0" i="1" kern="0" smtClean="0">
                        <a:latin typeface="Cambria Math" panose="02040503050406030204" pitchFamily="18" charset="0"/>
                      </a:rPr>
                      <m:t> </m:t>
                    </m:r>
                    <m:r>
                      <a:rPr lang="en-US" b="0" i="1" kern="0" smtClean="0">
                        <a:latin typeface="Cambria Math" panose="02040503050406030204" pitchFamily="18" charset="0"/>
                      </a:rPr>
                      <m:t>𝐶𝑂</m:t>
                    </m:r>
                    <m:r>
                      <a:rPr lang="en-US" b="0" i="1" kern="0" smtClean="0">
                        <a:latin typeface="Cambria Math" panose="02040503050406030204" pitchFamily="18" charset="0"/>
                      </a:rPr>
                      <m:t>=</m:t>
                    </m:r>
                    <m:r>
                      <a:rPr lang="en-US" b="0" i="1" kern="0" smtClean="0">
                        <a:latin typeface="Cambria Math" panose="02040503050406030204" pitchFamily="18" charset="0"/>
                      </a:rPr>
                      <m:t>𝐶𝑂</m:t>
                    </m:r>
                    <m:r>
                      <a:rPr lang="en-US" b="0" i="1" kern="0" smtClean="0">
                        <a:latin typeface="Cambria Math" panose="02040503050406030204" pitchFamily="18" charset="0"/>
                      </a:rPr>
                      <m:t>%/(</m:t>
                    </m:r>
                    <m:r>
                      <a:rPr lang="en-US" b="0" i="1" kern="0" smtClean="0">
                        <a:latin typeface="Cambria Math" panose="02040503050406030204" pitchFamily="18" charset="0"/>
                      </a:rPr>
                      <m:t>𝐶𝑂</m:t>
                    </m:r>
                    <m:r>
                      <a:rPr lang="en-US" b="0" i="1" kern="0" smtClean="0">
                        <a:latin typeface="Cambria Math" panose="02040503050406030204" pitchFamily="18" charset="0"/>
                      </a:rPr>
                      <m:t>%+</m:t>
                    </m:r>
                    <m:r>
                      <a:rPr lang="en-US" b="0" i="1" kern="0" smtClean="0">
                        <a:latin typeface="Cambria Math" panose="02040503050406030204" pitchFamily="18" charset="0"/>
                      </a:rPr>
                      <m:t>𝐶𝑂</m:t>
                    </m:r>
                    <m:r>
                      <a:rPr lang="en-US" b="0" i="1" kern="0" smtClean="0">
                        <a:latin typeface="Cambria Math" panose="02040503050406030204" pitchFamily="18" charset="0"/>
                      </a:rPr>
                      <m:t>2%)</m:t>
                    </m:r>
                  </m:oMath>
                </a14:m>
                <a:endParaRPr lang="en-US" kern="0" dirty="0" smtClean="0"/>
              </a:p>
              <a:p>
                <a:r>
                  <a:rPr lang="en-US" kern="0" dirty="0" smtClean="0"/>
                  <a:t>Here percentages are taken from Blast Furnace’s top gas Composition</a:t>
                </a:r>
              </a:p>
              <a:p>
                <a:endParaRPr lang="en-US" kern="0" dirty="0" smtClean="0"/>
              </a:p>
              <a:p>
                <a:pPr marL="285750" indent="-285750">
                  <a:buFont typeface="Arial" panose="020B0604020202020204" pitchFamily="34" charset="0"/>
                  <a:buChar char="•"/>
                </a:pPr>
                <a:r>
                  <a:rPr lang="en-US" kern="0" dirty="0" smtClean="0"/>
                  <a:t>TRT Power Generation-</a:t>
                </a:r>
                <a:br>
                  <a:rPr lang="en-US" kern="0" dirty="0" smtClean="0"/>
                </a:br>
                <a:r>
                  <a:rPr lang="en-US" kern="0" dirty="0" smtClean="0"/>
                  <a:t>This Power is generated due to kinetic energy of top gas by turning a turbine</a:t>
                </a:r>
              </a:p>
            </p:txBody>
          </p:sp>
        </mc:Choice>
        <mc:Fallback>
          <p:sp>
            <p:nvSpPr>
              <p:cNvPr id="8" name="Content Placeholder 2"/>
              <p:cNvSpPr txBox="1">
                <a:spLocks noRot="1" noChangeAspect="1" noMove="1" noResize="1" noEditPoints="1" noAdjustHandles="1" noChangeArrowheads="1" noChangeShapeType="1" noTextEdit="1"/>
              </p:cNvSpPr>
              <p:nvPr/>
            </p:nvSpPr>
            <p:spPr>
              <a:xfrm>
                <a:off x="7968208" y="2348880"/>
                <a:ext cx="3870635" cy="1938992"/>
              </a:xfrm>
              <a:prstGeom prst="rect">
                <a:avLst/>
              </a:prstGeom>
              <a:blipFill>
                <a:blip r:embed="rId2"/>
                <a:stretch>
                  <a:fillRect l="-3448" t="-2804" r="-3918" b="-5919"/>
                </a:stretch>
              </a:blipFill>
              <a:ln w="19050">
                <a:solidFill>
                  <a:schemeClr val="tx2"/>
                </a:solidFill>
              </a:ln>
            </p:spPr>
            <p:txBody>
              <a:bodyPr/>
              <a:lstStyle/>
              <a:p>
                <a:r>
                  <a:rPr lang="en-US">
                    <a:noFill/>
                  </a:rPr>
                  <a:t> </a:t>
                </a:r>
              </a:p>
            </p:txBody>
          </p:sp>
        </mc:Fallback>
      </mc:AlternateContent>
      <p:sp>
        <p:nvSpPr>
          <p:cNvPr id="10" name="Rectangle 9"/>
          <p:cNvSpPr/>
          <p:nvPr/>
        </p:nvSpPr>
        <p:spPr>
          <a:xfrm>
            <a:off x="7896200" y="4725144"/>
            <a:ext cx="4032448" cy="646331"/>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Calibri"/>
              </a:rPr>
              <a:t>All the </a:t>
            </a:r>
            <a:r>
              <a:rPr lang="en-US" dirty="0" smtClean="0">
                <a:latin typeface="Verdana" panose="020B0604030504040204" pitchFamily="34" charset="0"/>
                <a:ea typeface="Verdana" panose="020B0604030504040204" pitchFamily="34" charset="0"/>
                <a:cs typeface="Calibri"/>
              </a:rPr>
              <a:t>energies are </a:t>
            </a:r>
            <a:r>
              <a:rPr lang="en-US" dirty="0">
                <a:latin typeface="Verdana" panose="020B0604030504040204" pitchFamily="34" charset="0"/>
                <a:ea typeface="Verdana" panose="020B0604030504040204" pitchFamily="34" charset="0"/>
                <a:cs typeface="Calibri"/>
              </a:rPr>
              <a:t>calculated for per </a:t>
            </a:r>
            <a:r>
              <a:rPr lang="en-US" dirty="0" err="1">
                <a:latin typeface="Verdana" panose="020B0604030504040204" pitchFamily="34" charset="0"/>
                <a:ea typeface="Verdana" panose="020B0604030504040204" pitchFamily="34" charset="0"/>
                <a:cs typeface="Calibri"/>
              </a:rPr>
              <a:t>tonne</a:t>
            </a:r>
            <a:r>
              <a:rPr lang="en-US" dirty="0">
                <a:latin typeface="Verdana" panose="020B0604030504040204" pitchFamily="34" charset="0"/>
                <a:ea typeface="Verdana" panose="020B0604030504040204" pitchFamily="34" charset="0"/>
                <a:cs typeface="Calibri"/>
              </a:rPr>
              <a:t> of hot metal (</a:t>
            </a:r>
            <a:r>
              <a:rPr lang="en-US" dirty="0" err="1">
                <a:latin typeface="Verdana" panose="020B0604030504040204" pitchFamily="34" charset="0"/>
                <a:ea typeface="Verdana" panose="020B0604030504040204" pitchFamily="34" charset="0"/>
                <a:cs typeface="Calibri"/>
              </a:rPr>
              <a:t>thm</a:t>
            </a:r>
            <a:r>
              <a:rPr lang="en-US" dirty="0">
                <a:latin typeface="Verdana" panose="020B0604030504040204" pitchFamily="34" charset="0"/>
                <a:ea typeface="Verdana" panose="020B0604030504040204" pitchFamily="34" charset="0"/>
                <a:cs typeface="Calibri"/>
              </a:rPr>
              <a:t>).</a:t>
            </a:r>
          </a:p>
        </p:txBody>
      </p:sp>
      <p:graphicFrame>
        <p:nvGraphicFramePr>
          <p:cNvPr id="11" name="Table 10">
            <a:extLst>
              <a:ext uri="{FF2B5EF4-FFF2-40B4-BE49-F238E27FC236}">
                <a16:creationId xmlns:a16="http://schemas.microsoft.com/office/drawing/2014/main" id="{84DEA7D0-554F-BF28-F322-209957D10490}"/>
              </a:ext>
            </a:extLst>
          </p:cNvPr>
          <p:cNvGraphicFramePr>
            <a:graphicFrameLocks noGrp="1"/>
          </p:cNvGraphicFramePr>
          <p:nvPr>
            <p:extLst>
              <p:ext uri="{D42A27DB-BD31-4B8C-83A1-F6EECF244321}">
                <p14:modId xmlns:p14="http://schemas.microsoft.com/office/powerpoint/2010/main" val="1994170827"/>
              </p:ext>
            </p:extLst>
          </p:nvPr>
        </p:nvGraphicFramePr>
        <p:xfrm>
          <a:off x="1386230" y="908720"/>
          <a:ext cx="5429850" cy="5792532"/>
        </p:xfrm>
        <a:graphic>
          <a:graphicData uri="http://schemas.openxmlformats.org/drawingml/2006/table">
            <a:tbl>
              <a:tblPr>
                <a:tableStyleId>{5C22544A-7EE6-4342-B048-85BDC9FD1C3A}</a:tableStyleId>
              </a:tblPr>
              <a:tblGrid>
                <a:gridCol w="2972270">
                  <a:extLst>
                    <a:ext uri="{9D8B030D-6E8A-4147-A177-3AD203B41FA5}">
                      <a16:colId xmlns:a16="http://schemas.microsoft.com/office/drawing/2014/main" val="2716293489"/>
                    </a:ext>
                  </a:extLst>
                </a:gridCol>
                <a:gridCol w="2457580">
                  <a:extLst>
                    <a:ext uri="{9D8B030D-6E8A-4147-A177-3AD203B41FA5}">
                      <a16:colId xmlns:a16="http://schemas.microsoft.com/office/drawing/2014/main" val="1660398436"/>
                    </a:ext>
                  </a:extLst>
                </a:gridCol>
              </a:tblGrid>
              <a:tr h="334887">
                <a:tc>
                  <a:txBody>
                    <a:bodyPr/>
                    <a:lstStyle/>
                    <a:p>
                      <a:pPr algn="l" fontAlgn="b">
                        <a:lnSpc>
                          <a:spcPct val="120000"/>
                        </a:lnSpc>
                      </a:pPr>
                      <a:r>
                        <a:rPr lang="en-IN" sz="1400" b="1" i="0" u="none" strike="noStrike" dirty="0" smtClean="0">
                          <a:solidFill>
                            <a:schemeClr val="dk1"/>
                          </a:solidFill>
                          <a:effectLst/>
                          <a:latin typeface="Verdana" panose="020B0604030504040204" pitchFamily="34" charset="0"/>
                          <a:ea typeface="Verdana" panose="020B0604030504040204" pitchFamily="34" charset="0"/>
                        </a:rPr>
                        <a:t>Abbreviation</a:t>
                      </a:r>
                      <a:endParaRPr lang="en-IN" sz="1400" b="1"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tc>
                  <a:txBody>
                    <a:bodyPr/>
                    <a:lstStyle/>
                    <a:p>
                      <a:pPr algn="l" fontAlgn="b">
                        <a:lnSpc>
                          <a:spcPct val="120000"/>
                        </a:lnSpc>
                      </a:pPr>
                      <a:r>
                        <a:rPr lang="en-IN" sz="1400" b="1" i="0" u="none" strike="noStrike" dirty="0" smtClean="0">
                          <a:solidFill>
                            <a:schemeClr val="dk1"/>
                          </a:solidFill>
                          <a:effectLst/>
                          <a:latin typeface="Verdana" panose="020B0604030504040204" pitchFamily="34" charset="0"/>
                          <a:ea typeface="Verdana" panose="020B0604030504040204" pitchFamily="34" charset="0"/>
                        </a:rPr>
                        <a:t>Definition</a:t>
                      </a:r>
                      <a:endParaRPr lang="en-IN" sz="1400" b="1"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1783646755"/>
                  </a:ext>
                </a:extLst>
              </a:tr>
              <a:tr h="334887">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N</a:t>
                      </a:r>
                      <a:r>
                        <a:rPr lang="en-US" sz="1400" baseline="-25000" dirty="0" smtClean="0">
                          <a:latin typeface="Verdana" panose="020B0604030504040204" pitchFamily="34" charset="0"/>
                          <a:ea typeface="Verdana" panose="020B0604030504040204" pitchFamily="34" charset="0"/>
                        </a:rPr>
                        <a:t>2</a:t>
                      </a:r>
                      <a:r>
                        <a:rPr lang="en-US" sz="1400" dirty="0" smtClean="0">
                          <a:latin typeface="Verdana" panose="020B0604030504040204" pitchFamily="34" charset="0"/>
                          <a:ea typeface="Verdana" panose="020B0604030504040204" pitchFamily="34" charset="0"/>
                        </a:rPr>
                        <a:t> </a:t>
                      </a:r>
                    </a:p>
                  </a:txBody>
                  <a:tcPr marL="7620" marR="7620" marT="7620" marB="0" anchor="ctr"/>
                </a:tc>
                <a:tc>
                  <a:txBody>
                    <a:bodyPr/>
                    <a:lstStyle/>
                    <a:p>
                      <a:pPr algn="l" fontAlgn="b">
                        <a:lnSpc>
                          <a:spcPct val="120000"/>
                        </a:lnSpc>
                      </a:pPr>
                      <a:r>
                        <a:rPr lang="en-US" sz="1400" dirty="0" smtClean="0">
                          <a:latin typeface="Verdana" panose="020B0604030504040204" pitchFamily="34" charset="0"/>
                          <a:ea typeface="Verdana" panose="020B0604030504040204" pitchFamily="34" charset="0"/>
                        </a:rPr>
                        <a:t>Nitrogen </a:t>
                      </a:r>
                      <a:endParaRPr lang="en-IN" sz="1400" b="0" i="0" u="none" strike="noStrike" dirty="0">
                        <a:solidFill>
                          <a:srgbClr val="000000"/>
                        </a:solidFill>
                        <a:effectLst/>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560039540"/>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O</a:t>
                      </a:r>
                      <a:r>
                        <a:rPr lang="en-US" sz="1400" baseline="-25000" dirty="0" smtClean="0">
                          <a:latin typeface="Verdana" panose="020B0604030504040204" pitchFamily="34" charset="0"/>
                          <a:ea typeface="Verdana" panose="020B0604030504040204" pitchFamily="34" charset="0"/>
                        </a:rPr>
                        <a:t>2</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 Oxygen</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162894405"/>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CO</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Carbon Monoxide</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512764176"/>
                  </a:ext>
                </a:extLst>
              </a:tr>
              <a:tr h="334887">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CO</a:t>
                      </a:r>
                      <a:r>
                        <a:rPr lang="en-US" sz="1400" baseline="-25000" dirty="0" smtClean="0">
                          <a:latin typeface="Verdana" panose="020B0604030504040204" pitchFamily="34" charset="0"/>
                          <a:ea typeface="Verdana" panose="020B0604030504040204" pitchFamily="34" charset="0"/>
                        </a:rPr>
                        <a:t>2</a:t>
                      </a:r>
                      <a:endParaRPr lang="en-US" sz="1400" dirty="0" smtClean="0">
                        <a:latin typeface="Verdana" panose="020B0604030504040204" pitchFamily="34" charset="0"/>
                        <a:ea typeface="Verdana" panose="020B0604030504040204" pitchFamily="34" charset="0"/>
                      </a:endParaRPr>
                    </a:p>
                  </a:txBody>
                  <a:tcPr marL="7620" marR="7620" marT="7620" marB="0" anchor="ctr">
                    <a:solidFill>
                      <a:srgbClr val="E9EDF4"/>
                    </a:solidFill>
                  </a:tcP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Carbon Dioxide</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842230826"/>
                  </a:ext>
                </a:extLst>
              </a:tr>
              <a:tr h="334887">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CDI</a:t>
                      </a: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 Coal Dust Injection</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931869183"/>
                  </a:ext>
                </a:extLst>
              </a:tr>
              <a:tr h="334887">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PCI</a:t>
                      </a: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Pulverized Coal Injection</a:t>
                      </a:r>
                    </a:p>
                  </a:txBody>
                  <a:tcPr marL="7620" marR="7620" marT="7620" marB="0" anchor="ctr"/>
                </a:tc>
                <a:extLst>
                  <a:ext uri="{0D108BD9-81ED-4DB2-BD59-A6C34878D82A}">
                    <a16:rowId xmlns:a16="http://schemas.microsoft.com/office/drawing/2014/main" val="1113983902"/>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Kcal</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Kilo Calorie</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889601142"/>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H</a:t>
                      </a:r>
                      <a:r>
                        <a:rPr lang="en-US" sz="1400" baseline="-25000" dirty="0" smtClean="0">
                          <a:latin typeface="Verdana" panose="020B0604030504040204" pitchFamily="34" charset="0"/>
                          <a:ea typeface="Verdana" panose="020B0604030504040204" pitchFamily="34" charset="0"/>
                        </a:rPr>
                        <a:t>2</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Hydrogen</a:t>
                      </a:r>
                    </a:p>
                  </a:txBody>
                  <a:tcPr marL="7620" marR="7620" marT="7620" marB="0" anchor="ctr"/>
                </a:tc>
                <a:extLst>
                  <a:ext uri="{0D108BD9-81ED-4DB2-BD59-A6C34878D82A}">
                    <a16:rowId xmlns:a16="http://schemas.microsoft.com/office/drawing/2014/main" val="4155162503"/>
                  </a:ext>
                </a:extLst>
              </a:tr>
              <a:tr h="334887">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Fe</a:t>
                      </a: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Iron</a:t>
                      </a:r>
                    </a:p>
                  </a:txBody>
                  <a:tcPr marL="7620" marR="7620" marT="7620" marB="0" anchor="ctr"/>
                </a:tc>
                <a:extLst>
                  <a:ext uri="{0D108BD9-81ED-4DB2-BD59-A6C34878D82A}">
                    <a16:rowId xmlns:a16="http://schemas.microsoft.com/office/drawing/2014/main" val="3001037838"/>
                  </a:ext>
                </a:extLst>
              </a:tr>
              <a:tr h="334887">
                <a:tc>
                  <a:txBody>
                    <a:bodyPr/>
                    <a:lstStyle/>
                    <a:p>
                      <a:pPr marL="0" indent="0">
                        <a:buFont typeface="Arial" panose="020B0604020202020204" pitchFamily="34" charset="0"/>
                        <a:buNone/>
                      </a:pPr>
                      <a:r>
                        <a:rPr lang="en-US" sz="1400" dirty="0" err="1" smtClean="0">
                          <a:latin typeface="Verdana" panose="020B0604030504040204" pitchFamily="34" charset="0"/>
                          <a:ea typeface="Verdana" panose="020B0604030504040204" pitchFamily="34" charset="0"/>
                        </a:rPr>
                        <a:t>Mn</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Manganese</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903115077"/>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BF Gas</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Blast furnace Gas</a:t>
                      </a:r>
                    </a:p>
                  </a:txBody>
                  <a:tcPr marL="7620" marR="7620" marT="7620" marB="0" anchor="ctr"/>
                </a:tc>
                <a:extLst>
                  <a:ext uri="{0D108BD9-81ED-4DB2-BD59-A6C34878D82A}">
                    <a16:rowId xmlns:a16="http://schemas.microsoft.com/office/drawing/2014/main" val="792301840"/>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TRT</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marR="0" indent="0" algn="l" defTabSz="914400" eaLnBrk="1" fontAlgn="b" latinLnBrk="0" hangingPunct="1">
                        <a:lnSpc>
                          <a:spcPct val="120000"/>
                        </a:lnSpc>
                        <a:spcBef>
                          <a:spcPts val="0"/>
                        </a:spcBef>
                        <a:spcAft>
                          <a:spcPts val="0"/>
                        </a:spcAft>
                        <a:buClrTx/>
                        <a:buSzTx/>
                        <a:buFontTx/>
                        <a:buNone/>
                        <a:tabLst/>
                        <a:defRPr/>
                      </a:pPr>
                      <a:r>
                        <a:rPr lang="en-US" sz="1400" dirty="0" smtClean="0">
                          <a:latin typeface="Verdana" panose="020B0604030504040204" pitchFamily="34" charset="0"/>
                          <a:ea typeface="Verdana" panose="020B0604030504040204" pitchFamily="34" charset="0"/>
                        </a:rPr>
                        <a:t>Top gas Recovery Turbine</a:t>
                      </a:r>
                    </a:p>
                  </a:txBody>
                  <a:tcPr marL="7620" marR="7620" marT="7620" marB="0" anchor="ctr"/>
                </a:tc>
                <a:extLst>
                  <a:ext uri="{0D108BD9-81ED-4DB2-BD59-A6C34878D82A}">
                    <a16:rowId xmlns:a16="http://schemas.microsoft.com/office/drawing/2014/main" val="3047217982"/>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KPI</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Key Performance Index</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609217305"/>
                  </a:ext>
                </a:extLst>
              </a:tr>
              <a:tr h="334887">
                <a:tc>
                  <a:txBody>
                    <a:bodyPr/>
                    <a:lstStyle/>
                    <a:p>
                      <a:pPr marL="0" indent="0">
                        <a:buFont typeface="Arial" panose="020B0604020202020204" pitchFamily="34" charset="0"/>
                        <a:buNone/>
                      </a:pPr>
                      <a:r>
                        <a:rPr lang="en-US" sz="1400" dirty="0" err="1" smtClean="0">
                          <a:latin typeface="Verdana" panose="020B0604030504040204" pitchFamily="34" charset="0"/>
                          <a:ea typeface="Verdana" panose="020B0604030504040204" pitchFamily="34" charset="0"/>
                        </a:rPr>
                        <a:t>Thm</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err="1" smtClean="0">
                          <a:latin typeface="Verdana" panose="020B0604030504040204" pitchFamily="34" charset="0"/>
                          <a:ea typeface="Verdana" panose="020B0604030504040204" pitchFamily="34" charset="0"/>
                        </a:rPr>
                        <a:t>Tonne</a:t>
                      </a:r>
                      <a:r>
                        <a:rPr lang="en-US" sz="1400" dirty="0" smtClean="0">
                          <a:latin typeface="Verdana" panose="020B0604030504040204" pitchFamily="34" charset="0"/>
                          <a:ea typeface="Verdana" panose="020B0604030504040204" pitchFamily="34" charset="0"/>
                        </a:rPr>
                        <a:t> Hot Metal</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3393091842"/>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Nm</a:t>
                      </a:r>
                      <a:r>
                        <a:rPr lang="en-US" sz="1400" baseline="30000" dirty="0" smtClean="0">
                          <a:latin typeface="Verdana" panose="020B0604030504040204" pitchFamily="34" charset="0"/>
                          <a:ea typeface="Verdana" panose="020B0604030504040204" pitchFamily="34" charset="0"/>
                        </a:rPr>
                        <a:t>3</a:t>
                      </a:r>
                      <a:endParaRPr lang="en-US" sz="1400" dirty="0" smtClean="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Normal Meter Cube</a:t>
                      </a:r>
                      <a:endParaRPr lang="en-US" sz="1400" dirty="0" smtClean="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2910686381"/>
                  </a:ext>
                </a:extLst>
              </a:tr>
              <a:tr h="334887">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ETA CO</a:t>
                      </a:r>
                      <a:endParaRPr lang="en-US" sz="1400" dirty="0">
                        <a:latin typeface="Verdana" panose="020B0604030504040204" pitchFamily="34" charset="0"/>
                        <a:ea typeface="Verdana" panose="020B0604030504040204" pitchFamily="34" charset="0"/>
                      </a:endParaRPr>
                    </a:p>
                  </a:txBody>
                  <a:tcPr marL="7620" marR="7620" marT="7620" marB="0" anchor="ctr"/>
                </a:tc>
                <a:tc>
                  <a:txBody>
                    <a:bodyPr/>
                    <a:lstStyle/>
                    <a:p>
                      <a:pPr marL="0" indent="0">
                        <a:buFont typeface="Arial" panose="020B0604020202020204" pitchFamily="34" charset="0"/>
                        <a:buNone/>
                      </a:pPr>
                      <a:r>
                        <a:rPr lang="en-US" sz="1400" dirty="0" smtClean="0">
                          <a:latin typeface="Verdana" panose="020B0604030504040204" pitchFamily="34" charset="0"/>
                          <a:ea typeface="Verdana" panose="020B0604030504040204" pitchFamily="34" charset="0"/>
                        </a:rPr>
                        <a:t>Carbon Utilization Efficiency</a:t>
                      </a:r>
                      <a:endParaRPr lang="en-US" sz="1400" dirty="0">
                        <a:latin typeface="Verdana" panose="020B0604030504040204" pitchFamily="34" charset="0"/>
                        <a:ea typeface="Verdana" panose="020B0604030504040204" pitchFamily="34" charset="0"/>
                      </a:endParaRPr>
                    </a:p>
                  </a:txBody>
                  <a:tcPr marL="7620" marR="7620" marT="7620" marB="0" anchor="ctr"/>
                </a:tc>
                <a:extLst>
                  <a:ext uri="{0D108BD9-81ED-4DB2-BD59-A6C34878D82A}">
                    <a16:rowId xmlns:a16="http://schemas.microsoft.com/office/drawing/2014/main" val="456971239"/>
                  </a:ext>
                </a:extLst>
              </a:tr>
            </a:tbl>
          </a:graphicData>
        </a:graphic>
      </p:graphicFrame>
      <p:sp>
        <p:nvSpPr>
          <p:cNvPr id="4" name="Left Arrow 3"/>
          <p:cNvSpPr/>
          <p:nvPr/>
        </p:nvSpPr>
        <p:spPr>
          <a:xfrm>
            <a:off x="7032104" y="3030344"/>
            <a:ext cx="648072" cy="576064"/>
          </a:xfrm>
          <a:prstGeom prst="lef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64219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39"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41" name="Group 40">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50" name="Rectangle 49">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51" name="Rectangle 50">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47" name="Rectangle 46">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BD038CF4-70F6-3ED5-A251-6593ED308A00}"/>
                </a:ext>
              </a:extLst>
            </p:cNvPr>
            <p:cNvGrpSpPr/>
            <p:nvPr/>
          </p:nvGrpSpPr>
          <p:grpSpPr>
            <a:xfrm>
              <a:off x="4228061" y="3886762"/>
              <a:ext cx="7518358" cy="720080"/>
              <a:chOff x="6489877" y="1395922"/>
              <a:chExt cx="5254820" cy="720080"/>
            </a:xfrm>
          </p:grpSpPr>
          <p:sp>
            <p:nvSpPr>
              <p:cNvPr id="44" name="Rectangle 43">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45" name="Rectangle 44">
                <a:extLst>
                  <a:ext uri="{FF2B5EF4-FFF2-40B4-BE49-F238E27FC236}">
                    <a16:creationId xmlns:a16="http://schemas.microsoft.com/office/drawing/2014/main" id="{3F2A70AE-41B4-A095-4210-6790B1CFE194}"/>
                  </a:ext>
                </a:extLst>
              </p:cNvPr>
              <p:cNvSpPr/>
              <p:nvPr/>
            </p:nvSpPr>
            <p:spPr>
              <a:xfrm>
                <a:off x="6715837" y="1395922"/>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8435E3-F308-7729-ABF6-EDAA951CEE6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3" name="Rectangle 5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54" name="Rectangle 5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57" name="Rectangle 5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60" name="Straight Connector 5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20028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3359696" y="263567"/>
            <a:ext cx="6624736" cy="646327"/>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Input energy calculations </a:t>
            </a:r>
            <a:r>
              <a:rPr lang="en-IN" sz="3600" kern="0" dirty="0">
                <a:solidFill>
                  <a:schemeClr val="tx2"/>
                </a:solidFill>
                <a:latin typeface="Arial"/>
                <a:ea typeface="+mj-ea"/>
                <a:cs typeface="Arial"/>
              </a:rPr>
              <a:t> </a:t>
            </a:r>
            <a:endParaRPr lang="en-IN" sz="3600" kern="0" dirty="0">
              <a:solidFill>
                <a:schemeClr val="tx2"/>
              </a:solidFill>
              <a:latin typeface="Arial" panose="020B0604020202020204" pitchFamily="34" charset="0"/>
              <a:ea typeface="+mj-ea"/>
              <a:cs typeface="Arial" panose="020B0604020202020204" pitchFamily="34" charset="0"/>
            </a:endParaRPr>
          </a:p>
        </p:txBody>
      </p:sp>
      <p:cxnSp>
        <p:nvCxnSpPr>
          <p:cNvPr id="6" name="Straight Connector 5"/>
          <p:cNvCxnSpPr/>
          <p:nvPr/>
        </p:nvCxnSpPr>
        <p:spPr>
          <a:xfrm rot="10800000">
            <a:off x="2711624" y="980728"/>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2"/>
              <p:cNvSpPr/>
              <p:nvPr/>
            </p:nvSpPr>
            <p:spPr>
              <a:xfrm>
                <a:off x="623392" y="1076584"/>
                <a:ext cx="7416824" cy="4573816"/>
              </a:xfrm>
              <a:prstGeom prst="rect">
                <a:avLst/>
              </a:prstGeom>
              <a:solidFill>
                <a:srgbClr val="E9EDF4"/>
              </a:solidFill>
              <a:ln w="28575">
                <a:solidFill>
                  <a:schemeClr val="tx2"/>
                </a:solidFill>
              </a:ln>
              <a:effectLst>
                <a:outerShdw blurRad="50800" dist="38100" dir="2700000" algn="tl" rotWithShape="0">
                  <a:prstClr val="black">
                    <a:alpha val="40000"/>
                  </a:prstClr>
                </a:outerShdw>
              </a:effectLst>
            </p:spPr>
            <p:txBody>
              <a:bodyPr wrap="square">
                <a:spAutoFit/>
              </a:bodyPr>
              <a:lstStyle/>
              <a:p>
                <a:r>
                  <a:rPr lang="en-US" sz="1600" dirty="0" smtClean="0">
                    <a:solidFill>
                      <a:srgbClr val="000000"/>
                    </a:solidFill>
                    <a:latin typeface="Verdana" panose="020B0604030504040204" pitchFamily="34" charset="0"/>
                    <a:ea typeface="Verdana" panose="020B0604030504040204" pitchFamily="34" charset="0"/>
                  </a:rPr>
                  <a:t>1.Energy from coke:</a:t>
                </a:r>
              </a:p>
              <a:p>
                <a14:m>
                  <m:oMath xmlns:m="http://schemas.openxmlformats.org/officeDocument/2006/math">
                    <m:r>
                      <a:rPr lang="en-US" sz="1600" i="1">
                        <a:solidFill>
                          <a:srgbClr val="000000"/>
                        </a:solidFill>
                        <a:latin typeface="Cambria Math" panose="02040503050406030204" pitchFamily="18" charset="0"/>
                        <a:ea typeface="Verdana" panose="020B0604030504040204" pitchFamily="34" charset="0"/>
                      </a:rPr>
                      <m:t>𝐸</m:t>
                    </m:r>
                    <m:r>
                      <a:rPr lang="en-US" sz="1600" i="1" baseline="-25000">
                        <a:solidFill>
                          <a:srgbClr val="000000"/>
                        </a:solidFill>
                        <a:latin typeface="Cambria Math" panose="02040503050406030204" pitchFamily="18" charset="0"/>
                        <a:ea typeface="Verdana" panose="020B0604030504040204" pitchFamily="34" charset="0"/>
                      </a:rPr>
                      <m:t>𝑐𝑜𝑘𝑒</m:t>
                    </m:r>
                    <m:r>
                      <a:rPr lang="en-US" sz="1600" i="1">
                        <a:solidFill>
                          <a:srgbClr val="000000"/>
                        </a:solidFill>
                        <a:latin typeface="Cambria Math" panose="02040503050406030204" pitchFamily="18" charset="0"/>
                        <a:ea typeface="Verdana" panose="020B0604030504040204" pitchFamily="34" charset="0"/>
                      </a:rPr>
                      <m:t>=</m:t>
                    </m:r>
                    <m:r>
                      <a:rPr lang="en-US" sz="1600" i="1">
                        <a:solidFill>
                          <a:srgbClr val="000000"/>
                        </a:solidFill>
                        <a:latin typeface="Cambria Math" panose="02040503050406030204" pitchFamily="18" charset="0"/>
                        <a:ea typeface="Verdana" panose="020B0604030504040204" pitchFamily="34" charset="0"/>
                      </a:rPr>
                      <m:t>𝑊𝑒𝑖𝑔h𝑡</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𝑜𝑘𝑒</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𝐹𝑖𝑥𝑒𝑑</m:t>
                    </m:r>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m:t>
                    </m:r>
                    <m:r>
                      <a:rPr lang="en-US" sz="1600" b="0" i="1" smtClean="0">
                        <a:solidFill>
                          <a:srgbClr val="000000"/>
                        </a:solidFill>
                        <a:latin typeface="Cambria Math" panose="02040503050406030204" pitchFamily="18" charset="0"/>
                        <a:ea typeface="Verdana" panose="020B0604030504040204" pitchFamily="34" charset="0"/>
                      </a:rPr>
                      <m:t>𝑎𝑟𝑏𝑜𝑛</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𝑎𝑙𝑜𝑟𝑖𝑓𝑖𝑐</m:t>
                    </m:r>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𝑉</m:t>
                    </m:r>
                    <m:r>
                      <a:rPr lang="en-US" sz="1600" b="0" i="1" smtClean="0">
                        <a:solidFill>
                          <a:srgbClr val="000000"/>
                        </a:solidFill>
                        <a:latin typeface="Cambria Math" panose="02040503050406030204" pitchFamily="18" charset="0"/>
                        <a:ea typeface="Verdana" panose="020B0604030504040204" pitchFamily="34" charset="0"/>
                      </a:rPr>
                      <m:t>𝑎𝑙𝑢𝑒</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𝑃𝑢𝑟𝑒</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𝑎𝑟𝑏𝑜𝑛</m:t>
                    </m:r>
                  </m:oMath>
                </a14:m>
                <a:r>
                  <a:rPr lang="en-US" sz="1600" dirty="0" smtClean="0">
                    <a:solidFill>
                      <a:srgbClr val="000000"/>
                    </a:solidFill>
                    <a:latin typeface="Verdana" panose="020B0604030504040204" pitchFamily="34" charset="0"/>
                    <a:ea typeface="Verdana" panose="020B0604030504040204" pitchFamily="34" charset="0"/>
                  </a:rPr>
                  <a:t>)</a:t>
                </a:r>
                <a:endParaRPr lang="en-US" sz="1600" dirty="0">
                  <a:solidFill>
                    <a:srgbClr val="000000"/>
                  </a:solidFill>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
                </a:r>
                <a:br>
                  <a:rPr lang="en-US" sz="1600" dirty="0" smtClean="0">
                    <a:latin typeface="Verdana" panose="020B0604030504040204" pitchFamily="34" charset="0"/>
                    <a:ea typeface="Verdana" panose="020B0604030504040204" pitchFamily="34" charset="0"/>
                  </a:rPr>
                </a:br>
                <a:r>
                  <a:rPr lang="en-US" sz="1600" dirty="0" smtClean="0">
                    <a:solidFill>
                      <a:srgbClr val="000000"/>
                    </a:solidFill>
                    <a:latin typeface="Verdana" panose="020B0604030504040204" pitchFamily="34" charset="0"/>
                    <a:ea typeface="Verdana" panose="020B0604030504040204" pitchFamily="34" charset="0"/>
                  </a:rPr>
                  <a:t>2.Energy from CDI </a:t>
                </a:r>
                <a:r>
                  <a:rPr lang="en-US" sz="1600" dirty="0" smtClean="0">
                    <a:latin typeface="Verdana" panose="020B0604030504040204" pitchFamily="34" charset="0"/>
                    <a:ea typeface="Verdana" panose="020B0604030504040204" pitchFamily="34" charset="0"/>
                  </a:rPr>
                  <a:t>(</a:t>
                </a:r>
                <a:r>
                  <a:rPr lang="en-US" sz="1600" dirty="0">
                    <a:latin typeface="Verdana" panose="020B0604030504040204" pitchFamily="34" charset="0"/>
                    <a:ea typeface="Verdana" panose="020B0604030504040204" pitchFamily="34" charset="0"/>
                  </a:rPr>
                  <a:t>Coal Dust Injection</a:t>
                </a:r>
                <a:r>
                  <a:rPr lang="en-US" sz="1600" dirty="0" smtClean="0">
                    <a:latin typeface="Verdana" panose="020B0604030504040204" pitchFamily="34" charset="0"/>
                    <a:ea typeface="Verdana" panose="020B0604030504040204" pitchFamily="34" charset="0"/>
                  </a:rPr>
                  <a:t>):</a:t>
                </a:r>
              </a:p>
              <a:p>
                <a:pPr/>
                <a14:m>
                  <m:oMathPara xmlns:m="http://schemas.openxmlformats.org/officeDocument/2006/math">
                    <m:oMathParaPr>
                      <m:jc m:val="left"/>
                    </m:oMathParaPr>
                    <m:oMath xmlns:m="http://schemas.openxmlformats.org/officeDocument/2006/math">
                      <m:r>
                        <a:rPr lang="en-US" sz="1600" i="1">
                          <a:solidFill>
                            <a:srgbClr val="000000"/>
                          </a:solidFill>
                          <a:latin typeface="Cambria Math" panose="02040503050406030204" pitchFamily="18" charset="0"/>
                          <a:ea typeface="Verdana" panose="020B0604030504040204" pitchFamily="34" charset="0"/>
                        </a:rPr>
                        <m:t>𝐸</m:t>
                      </m:r>
                      <m:r>
                        <a:rPr lang="en-US" sz="1600" i="1" baseline="-25000">
                          <a:solidFill>
                            <a:srgbClr val="000000"/>
                          </a:solidFill>
                          <a:latin typeface="Cambria Math" panose="02040503050406030204" pitchFamily="18" charset="0"/>
                          <a:ea typeface="Verdana" panose="020B0604030504040204" pitchFamily="34" charset="0"/>
                        </a:rPr>
                        <m:t>𝑐</m:t>
                      </m:r>
                      <m:r>
                        <a:rPr lang="en-US" sz="1600" b="0" i="1" baseline="-25000" smtClean="0">
                          <a:solidFill>
                            <a:srgbClr val="000000"/>
                          </a:solidFill>
                          <a:latin typeface="Cambria Math" panose="02040503050406030204" pitchFamily="18" charset="0"/>
                          <a:ea typeface="Verdana" panose="020B0604030504040204" pitchFamily="34" charset="0"/>
                        </a:rPr>
                        <m:t>𝑜𝑎𝑙</m:t>
                      </m:r>
                      <m:r>
                        <a:rPr lang="en-US" sz="1600" i="1">
                          <a:solidFill>
                            <a:srgbClr val="000000"/>
                          </a:solidFill>
                          <a:latin typeface="Cambria Math" panose="02040503050406030204" pitchFamily="18" charset="0"/>
                          <a:ea typeface="Verdana" panose="020B0604030504040204" pitchFamily="34" charset="0"/>
                        </a:rPr>
                        <m:t>=</m:t>
                      </m:r>
                      <m:r>
                        <a:rPr lang="en-US" sz="1600" i="1">
                          <a:solidFill>
                            <a:srgbClr val="000000"/>
                          </a:solidFill>
                          <a:latin typeface="Cambria Math" panose="02040503050406030204" pitchFamily="18" charset="0"/>
                          <a:ea typeface="Verdana" panose="020B0604030504040204" pitchFamily="34" charset="0"/>
                        </a:rPr>
                        <m:t>𝑊𝑒𝑖𝑔h𝑡</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𝑜𝑎𝑙</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𝐹𝑖𝑥𝑒𝑑</m:t>
                      </m:r>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m:t>
                      </m:r>
                      <m:r>
                        <a:rPr lang="en-US" sz="1600" b="0" i="1" smtClean="0">
                          <a:solidFill>
                            <a:srgbClr val="000000"/>
                          </a:solidFill>
                          <a:latin typeface="Cambria Math" panose="02040503050406030204" pitchFamily="18" charset="0"/>
                          <a:ea typeface="Verdana" panose="020B0604030504040204" pitchFamily="34" charset="0"/>
                        </a:rPr>
                        <m:t>𝑎𝑟𝑏𝑜𝑛</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𝑎𝑙𝑜𝑟𝑖𝑓𝑖𝑐</m:t>
                      </m:r>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𝑉</m:t>
                      </m:r>
                      <m:r>
                        <a:rPr lang="en-US" sz="1600" b="0" i="1" smtClean="0">
                          <a:solidFill>
                            <a:srgbClr val="000000"/>
                          </a:solidFill>
                          <a:latin typeface="Cambria Math" panose="02040503050406030204" pitchFamily="18" charset="0"/>
                          <a:ea typeface="Verdana" panose="020B0604030504040204" pitchFamily="34" charset="0"/>
                        </a:rPr>
                        <m:t>𝑎𝑙𝑢𝑒</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𝑃𝑢𝑟𝑒</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𝐶𝑎𝑟𝑏𝑜𝑛</m:t>
                      </m:r>
                      <m:r>
                        <a:rPr lang="en-US" sz="1600" b="0" i="1" smtClean="0">
                          <a:solidFill>
                            <a:srgbClr val="000000"/>
                          </a:solidFill>
                          <a:latin typeface="Cambria Math" panose="02040503050406030204" pitchFamily="18" charset="0"/>
                          <a:ea typeface="Verdana" panose="020B0604030504040204" pitchFamily="34" charset="0"/>
                        </a:rPr>
                        <m:t>)</m:t>
                      </m:r>
                    </m:oMath>
                  </m:oMathPara>
                </a14:m>
                <a:endParaRPr lang="en-US" sz="1600" dirty="0">
                  <a:solidFill>
                    <a:srgbClr val="000000"/>
                  </a:solidFill>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
                </a:r>
                <a:br>
                  <a:rPr lang="en-US" sz="1600" dirty="0" smtClean="0">
                    <a:latin typeface="Verdana" panose="020B0604030504040204" pitchFamily="34" charset="0"/>
                    <a:ea typeface="Verdana" panose="020B0604030504040204" pitchFamily="34" charset="0"/>
                  </a:rPr>
                </a:br>
                <a:r>
                  <a:rPr lang="en-US" sz="1600" dirty="0" smtClean="0">
                    <a:solidFill>
                      <a:srgbClr val="000000"/>
                    </a:solidFill>
                    <a:latin typeface="Verdana" panose="020B0604030504040204" pitchFamily="34" charset="0"/>
                    <a:ea typeface="Verdana" panose="020B0604030504040204" pitchFamily="34" charset="0"/>
                  </a:rPr>
                  <a:t>3.</a:t>
                </a:r>
                <a:r>
                  <a:rPr lang="en-US" sz="1600" dirty="0">
                    <a:latin typeface="Verdana" panose="020B0604030504040204" pitchFamily="34" charset="0"/>
                    <a:ea typeface="Verdana" panose="020B0604030504040204" pitchFamily="34" charset="0"/>
                  </a:rPr>
                  <a:t> Energy from Hot Blast (Mainly N₂ and O₂</a:t>
                </a:r>
                <a:r>
                  <a:rPr lang="en-US" sz="1600" dirty="0" smtClean="0">
                    <a:latin typeface="Verdana" panose="020B0604030504040204" pitchFamily="34" charset="0"/>
                    <a:ea typeface="Verdana" panose="020B0604030504040204" pitchFamily="34" charset="0"/>
                  </a:rPr>
                  <a:t>):</a:t>
                </a:r>
              </a:p>
              <a:p>
                <a:pPr/>
                <a14:m>
                  <m:oMathPara xmlns:m="http://schemas.openxmlformats.org/officeDocument/2006/math">
                    <m:oMathParaPr>
                      <m:jc m:val="left"/>
                    </m:oMathParaPr>
                    <m:oMath xmlns:m="http://schemas.openxmlformats.org/officeDocument/2006/math">
                      <m:r>
                        <a:rPr lang="en-US" sz="1600" i="1" smtClean="0">
                          <a:solidFill>
                            <a:srgbClr val="000000"/>
                          </a:solidFill>
                          <a:latin typeface="Cambria Math" panose="02040503050406030204" pitchFamily="18" charset="0"/>
                          <a:ea typeface="Verdana" panose="020B0604030504040204" pitchFamily="34" charset="0"/>
                        </a:rPr>
                        <m:t>𝐸</m:t>
                      </m:r>
                      <m:r>
                        <a:rPr lang="en-US" sz="1600" b="0" i="1" baseline="-25000" smtClean="0">
                          <a:solidFill>
                            <a:srgbClr val="000000"/>
                          </a:solidFill>
                          <a:latin typeface="Cambria Math" panose="02040503050406030204" pitchFamily="18" charset="0"/>
                          <a:ea typeface="Verdana" panose="020B0604030504040204" pitchFamily="34" charset="0"/>
                        </a:rPr>
                        <m:t>𝐻𝑜𝑡</m:t>
                      </m:r>
                      <m:r>
                        <a:rPr lang="en-US" sz="1600" b="0" i="1" baseline="-25000" smtClean="0">
                          <a:solidFill>
                            <a:srgbClr val="000000"/>
                          </a:solidFill>
                          <a:latin typeface="Cambria Math" panose="02040503050406030204" pitchFamily="18" charset="0"/>
                          <a:ea typeface="Verdana" panose="020B0604030504040204" pitchFamily="34" charset="0"/>
                        </a:rPr>
                        <m:t>−</m:t>
                      </m:r>
                      <m:r>
                        <a:rPr lang="en-US" sz="1600" b="0" i="1" baseline="-25000" smtClean="0">
                          <a:solidFill>
                            <a:srgbClr val="000000"/>
                          </a:solidFill>
                          <a:latin typeface="Cambria Math" panose="02040503050406030204" pitchFamily="18" charset="0"/>
                          <a:ea typeface="Verdana" panose="020B0604030504040204" pitchFamily="34" charset="0"/>
                        </a:rPr>
                        <m:t>𝑏𝑙𝑎𝑠𝑡</m:t>
                      </m:r>
                      <m:r>
                        <a:rPr lang="en-US" sz="1600" i="1">
                          <a:solidFill>
                            <a:srgbClr val="000000"/>
                          </a:solidFill>
                          <a:latin typeface="Cambria Math" panose="02040503050406030204" pitchFamily="18" charset="0"/>
                          <a:ea typeface="Verdana" panose="020B0604030504040204" pitchFamily="34" charset="0"/>
                        </a:rPr>
                        <m:t>=</m:t>
                      </m:r>
                      <m:r>
                        <a:rPr lang="en-US" sz="1600" i="1">
                          <a:solidFill>
                            <a:srgbClr val="000000"/>
                          </a:solidFill>
                          <a:latin typeface="Cambria Math" panose="02040503050406030204" pitchFamily="18" charset="0"/>
                          <a:ea typeface="Verdana" panose="020B0604030504040204" pitchFamily="34" charset="0"/>
                        </a:rPr>
                        <m:t>𝑊𝑒𝑖𝑔h𝑡</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𝑁</m:t>
                      </m:r>
                      <m:r>
                        <a:rPr lang="en-US" sz="1600" b="0" i="1" baseline="-25000" smtClean="0">
                          <a:solidFill>
                            <a:srgbClr val="000000"/>
                          </a:solidFill>
                          <a:latin typeface="Cambria Math" panose="02040503050406030204" pitchFamily="18" charset="0"/>
                          <a:ea typeface="Verdana" panose="020B0604030504040204" pitchFamily="34" charset="0"/>
                        </a:rPr>
                        <m:t>2</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𝑆𝑝𝑒𝑐𝑖𝑓𝑖</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h𝑒𝑎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𝑁</m:t>
                      </m:r>
                      <m:r>
                        <a:rPr lang="en-US" sz="1600" b="0" i="1" baseline="-25000" smtClean="0">
                          <a:solidFill>
                            <a:srgbClr val="000000"/>
                          </a:solidFill>
                          <a:latin typeface="Cambria Math" panose="02040503050406030204" pitchFamily="18" charset="0"/>
                          <a:ea typeface="Verdana" panose="020B0604030504040204" pitchFamily="34" charset="0"/>
                        </a:rPr>
                        <m:t>2</m:t>
                      </m:r>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 </m:t>
                      </m:r>
                      <m:d>
                        <m:dPr>
                          <m:ctrlPr>
                            <a:rPr lang="en-US" sz="1600" b="0" i="1" smtClean="0">
                              <a:solidFill>
                                <a:srgbClr val="000000"/>
                              </a:solidFill>
                              <a:latin typeface="Cambria Math" panose="02040503050406030204" pitchFamily="18" charset="0"/>
                              <a:ea typeface="Verdana" panose="020B0604030504040204" pitchFamily="34" charset="0"/>
                            </a:rPr>
                          </m:ctrlPr>
                        </m:dPr>
                        <m:e>
                          <m:r>
                            <a:rPr lang="en-US" sz="1600" b="0" i="1" smtClean="0">
                              <a:solidFill>
                                <a:srgbClr val="000000"/>
                              </a:solidFill>
                              <a:latin typeface="Cambria Math" panose="02040503050406030204" pitchFamily="18" charset="0"/>
                              <a:ea typeface="Verdana" panose="020B0604030504040204" pitchFamily="34" charset="0"/>
                            </a:rPr>
                            <m:t>𝑡</m:t>
                          </m:r>
                          <m:r>
                            <a:rPr lang="en-US" sz="1600" b="0" i="1" smtClean="0">
                              <a:solidFill>
                                <a:srgbClr val="000000"/>
                              </a:solidFill>
                              <a:latin typeface="Cambria Math" panose="02040503050406030204" pitchFamily="18" charset="0"/>
                              <a:ea typeface="Verdana" panose="020B0604030504040204" pitchFamily="34" charset="0"/>
                            </a:rPr>
                            <m:t>−25</m:t>
                          </m:r>
                        </m:e>
                      </m:d>
                      <m:r>
                        <a:rPr lang="en-US" sz="1600" b="0" i="1" smtClean="0">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𝑊𝑒𝑖𝑔h𝑡</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𝑂</m:t>
                      </m:r>
                      <m:r>
                        <a:rPr lang="en-US" sz="1600" i="1" baseline="-25000">
                          <a:solidFill>
                            <a:srgbClr val="000000"/>
                          </a:solidFill>
                          <a:latin typeface="Cambria Math" panose="02040503050406030204" pitchFamily="18" charset="0"/>
                          <a:ea typeface="Verdana" panose="020B0604030504040204" pitchFamily="34" charset="0"/>
                        </a:rPr>
                        <m:t>2</m:t>
                      </m:r>
                      <m:r>
                        <a:rPr lang="en-US" sz="1600" i="1">
                          <a:solidFill>
                            <a:srgbClr val="000000"/>
                          </a:solidFill>
                          <a:latin typeface="Cambria Math" panose="02040503050406030204" pitchFamily="18" charset="0"/>
                          <a:ea typeface="Verdana" panose="020B0604030504040204" pitchFamily="34" charset="0"/>
                        </a:rPr>
                        <m:t> ∗</m:t>
                      </m:r>
                    </m:oMath>
                  </m:oMathPara>
                </a14:m>
                <a:endParaRPr lang="en-US" sz="1600" i="1" dirty="0" smtClean="0">
                  <a:solidFill>
                    <a:srgbClr val="000000"/>
                  </a:solidFill>
                  <a:latin typeface="Cambria Math" panose="02040503050406030204" pitchFamily="18" charset="0"/>
                  <a:ea typeface="Verdana" panose="020B0604030504040204" pitchFamily="34" charset="0"/>
                </a:endParaRPr>
              </a:p>
              <a:p>
                <a:pPr/>
                <a14:m>
                  <m:oMathPara xmlns:m="http://schemas.openxmlformats.org/officeDocument/2006/math">
                    <m:oMathParaPr>
                      <m:jc m:val="left"/>
                    </m:oMathParaPr>
                    <m:oMath xmlns:m="http://schemas.openxmlformats.org/officeDocument/2006/math">
                      <m:r>
                        <a:rPr lang="en-US" sz="1600" i="1">
                          <a:solidFill>
                            <a:srgbClr val="000000"/>
                          </a:solidFill>
                          <a:latin typeface="Cambria Math" panose="02040503050406030204" pitchFamily="18" charset="0"/>
                          <a:ea typeface="Verdana" panose="020B0604030504040204" pitchFamily="34" charset="0"/>
                        </a:rPr>
                        <m:t>𝑆𝑝𝑒𝑐𝑖𝑓𝑖</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h𝑒𝑎𝑡</m:t>
                      </m:r>
                      <m:r>
                        <a:rPr lang="en-US" sz="1600" i="1">
                          <a:solidFill>
                            <a:srgbClr val="000000"/>
                          </a:solidFill>
                          <a:latin typeface="Cambria Math" panose="02040503050406030204" pitchFamily="18" charset="0"/>
                          <a:ea typeface="Verdana" panose="020B0604030504040204" pitchFamily="34" charset="0"/>
                        </a:rPr>
                        <m:t> </m:t>
                      </m:r>
                      <m:r>
                        <a:rPr lang="en-US" sz="1600" i="1">
                          <a:solidFill>
                            <a:srgbClr val="000000"/>
                          </a:solidFill>
                          <a:latin typeface="Cambria Math" panose="02040503050406030204" pitchFamily="18" charset="0"/>
                          <a:ea typeface="Verdana" panose="020B0604030504040204" pitchFamily="34" charset="0"/>
                        </a:rPr>
                        <m:t>𝑜𝑓</m:t>
                      </m:r>
                      <m:r>
                        <a:rPr lang="en-US" sz="1600" i="1">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𝑂</m:t>
                      </m:r>
                      <m:r>
                        <a:rPr lang="en-US" sz="1600" i="1" baseline="-25000">
                          <a:solidFill>
                            <a:srgbClr val="000000"/>
                          </a:solidFill>
                          <a:latin typeface="Cambria Math" panose="02040503050406030204" pitchFamily="18" charset="0"/>
                          <a:ea typeface="Verdana" panose="020B0604030504040204" pitchFamily="34" charset="0"/>
                        </a:rPr>
                        <m:t>2 </m:t>
                      </m:r>
                      <m:r>
                        <a:rPr lang="en-US" sz="1600" i="1">
                          <a:solidFill>
                            <a:srgbClr val="000000"/>
                          </a:solidFill>
                          <a:latin typeface="Cambria Math" panose="02040503050406030204" pitchFamily="18" charset="0"/>
                          <a:ea typeface="Verdana" panose="020B0604030504040204" pitchFamily="34" charset="0"/>
                        </a:rPr>
                        <m:t>∗  </m:t>
                      </m:r>
                      <m:d>
                        <m:dPr>
                          <m:ctrlPr>
                            <a:rPr lang="en-US" sz="1600" i="1">
                              <a:solidFill>
                                <a:srgbClr val="000000"/>
                              </a:solidFill>
                              <a:latin typeface="Cambria Math" panose="02040503050406030204" pitchFamily="18" charset="0"/>
                              <a:ea typeface="Verdana" panose="020B0604030504040204" pitchFamily="34" charset="0"/>
                            </a:rPr>
                          </m:ctrlPr>
                        </m:dPr>
                        <m:e>
                          <m:r>
                            <a:rPr lang="en-US" sz="1600" i="1">
                              <a:solidFill>
                                <a:srgbClr val="000000"/>
                              </a:solidFill>
                              <a:latin typeface="Cambria Math" panose="02040503050406030204" pitchFamily="18" charset="0"/>
                              <a:ea typeface="Verdana" panose="020B0604030504040204" pitchFamily="34" charset="0"/>
                            </a:rPr>
                            <m:t>𝑡</m:t>
                          </m:r>
                          <m:r>
                            <a:rPr lang="en-US" sz="1600" i="1">
                              <a:solidFill>
                                <a:srgbClr val="000000"/>
                              </a:solidFill>
                              <a:latin typeface="Cambria Math" panose="02040503050406030204" pitchFamily="18" charset="0"/>
                              <a:ea typeface="Verdana" panose="020B0604030504040204" pitchFamily="34" charset="0"/>
                            </a:rPr>
                            <m:t>−25</m:t>
                          </m:r>
                        </m:e>
                      </m:d>
                    </m:oMath>
                  </m:oMathPara>
                </a14:m>
                <a:endParaRPr lang="en-US" sz="1600" dirty="0" smtClean="0">
                  <a:solidFill>
                    <a:srgbClr val="000000"/>
                  </a:solidFill>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
                </a:r>
                <a:br>
                  <a:rPr lang="en-US" sz="1600" dirty="0" smtClean="0">
                    <a:latin typeface="Verdana" panose="020B0604030504040204" pitchFamily="34" charset="0"/>
                    <a:ea typeface="Verdana" panose="020B0604030504040204" pitchFamily="34" charset="0"/>
                  </a:rPr>
                </a:br>
                <a:r>
                  <a:rPr lang="en-US" sz="1600" dirty="0" smtClean="0">
                    <a:solidFill>
                      <a:srgbClr val="000000"/>
                    </a:solidFill>
                    <a:latin typeface="Verdana" panose="020B0604030504040204" pitchFamily="34" charset="0"/>
                    <a:ea typeface="Verdana" panose="020B0604030504040204" pitchFamily="34" charset="0"/>
                  </a:rPr>
                  <a:t>4.</a:t>
                </a:r>
                <a:r>
                  <a:rPr lang="en-US" sz="1600" dirty="0">
                    <a:latin typeface="Verdana" panose="020B0604030504040204" pitchFamily="34" charset="0"/>
                    <a:ea typeface="Verdana" panose="020B0604030504040204" pitchFamily="34" charset="0"/>
                  </a:rPr>
                  <a:t> Energy from Steam</a:t>
                </a:r>
                <a:r>
                  <a:rPr lang="en-US" sz="1600" dirty="0" smtClean="0">
                    <a:latin typeface="Verdana" panose="020B0604030504040204" pitchFamily="34" charset="0"/>
                    <a:ea typeface="Verdana" panose="020B0604030504040204" pitchFamily="34" charset="0"/>
                  </a:rPr>
                  <a:t>:</a:t>
                </a:r>
              </a:p>
              <a:p>
                <a:pPr/>
                <a14:m>
                  <m:oMathPara xmlns:m="http://schemas.openxmlformats.org/officeDocument/2006/math">
                    <m:oMathParaPr>
                      <m:jc m:val="left"/>
                    </m:oMathParaPr>
                    <m:oMath xmlns:m="http://schemas.openxmlformats.org/officeDocument/2006/math">
                      <m:r>
                        <a:rPr lang="en-US" sz="1600" i="1" smtClean="0">
                          <a:solidFill>
                            <a:srgbClr val="000000"/>
                          </a:solidFill>
                          <a:latin typeface="Cambria Math" panose="02040503050406030204" pitchFamily="18" charset="0"/>
                          <a:ea typeface="Verdana" panose="020B0604030504040204" pitchFamily="34" charset="0"/>
                        </a:rPr>
                        <m:t>𝐸</m:t>
                      </m:r>
                      <m:r>
                        <a:rPr lang="en-US" sz="1600" b="0" i="1" baseline="-25000" smtClean="0">
                          <a:solidFill>
                            <a:srgbClr val="000000"/>
                          </a:solidFill>
                          <a:latin typeface="Cambria Math" panose="02040503050406030204" pitchFamily="18" charset="0"/>
                          <a:ea typeface="Verdana" panose="020B0604030504040204" pitchFamily="34" charset="0"/>
                        </a:rPr>
                        <m:t>𝑠𝑡𝑒𝑎𝑚</m:t>
                      </m:r>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𝑊𝑒𝑖𝑔h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𝑤𝑎𝑡𝑒𝑟</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𝑠𝑝𝑒𝑐𝑖𝑓𝑖𝑐</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h𝑒𝑎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𝑤𝑎𝑡𝑒𝑟</m:t>
                      </m:r>
                      <m:r>
                        <a:rPr lang="en-US" sz="1600" b="0" i="1" smtClean="0">
                          <a:solidFill>
                            <a:srgbClr val="000000"/>
                          </a:solidFill>
                          <a:latin typeface="Cambria Math" panose="02040503050406030204" pitchFamily="18" charset="0"/>
                          <a:ea typeface="Verdana" panose="020B0604030504040204" pitchFamily="34" charset="0"/>
                        </a:rPr>
                        <m:t> ∗</m:t>
                      </m:r>
                      <m:d>
                        <m:dPr>
                          <m:ctrlPr>
                            <a:rPr lang="en-US" sz="1600" b="0" i="1" smtClean="0">
                              <a:solidFill>
                                <a:srgbClr val="000000"/>
                              </a:solidFill>
                              <a:latin typeface="Cambria Math" panose="02040503050406030204" pitchFamily="18" charset="0"/>
                              <a:ea typeface="Verdana" panose="020B0604030504040204" pitchFamily="34" charset="0"/>
                            </a:rPr>
                          </m:ctrlPr>
                        </m:dPr>
                        <m:e>
                          <m:r>
                            <a:rPr lang="en-US" sz="1600" b="0" i="1" smtClean="0">
                              <a:solidFill>
                                <a:srgbClr val="000000"/>
                              </a:solidFill>
                              <a:latin typeface="Cambria Math" panose="02040503050406030204" pitchFamily="18" charset="0"/>
                              <a:ea typeface="Verdana" panose="020B0604030504040204" pitchFamily="34" charset="0"/>
                            </a:rPr>
                            <m:t>𝑡</m:t>
                          </m:r>
                          <m:r>
                            <a:rPr lang="en-US" sz="1600" b="0" i="1" smtClean="0">
                              <a:solidFill>
                                <a:srgbClr val="000000"/>
                              </a:solidFill>
                              <a:latin typeface="Cambria Math" panose="02040503050406030204" pitchFamily="18" charset="0"/>
                              <a:ea typeface="Verdana" panose="020B0604030504040204" pitchFamily="34" charset="0"/>
                            </a:rPr>
                            <m:t>−100</m:t>
                          </m:r>
                        </m:e>
                      </m:d>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𝐿𝑎𝑡𝑒𝑛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h𝑒𝑎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𝑉𝑎𝑝𝑜𝑟𝑖𝑠𝑎𝑡𝑖𝑜𝑛</m:t>
                      </m:r>
                      <m:r>
                        <a:rPr lang="en-US" sz="1600" b="0" i="1" smtClean="0">
                          <a:solidFill>
                            <a:srgbClr val="000000"/>
                          </a:solidFill>
                          <a:latin typeface="Cambria Math" panose="02040503050406030204" pitchFamily="18" charset="0"/>
                          <a:ea typeface="Verdana" panose="020B0604030504040204" pitchFamily="34" charset="0"/>
                        </a:rPr>
                        <m:t>)</m:t>
                      </m:r>
                    </m:oMath>
                  </m:oMathPara>
                </a14:m>
                <a:endParaRPr lang="en-US" sz="1600" dirty="0" smtClean="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
                </a:r>
                <a:br>
                  <a:rPr lang="en-US" sz="1600" dirty="0" smtClean="0">
                    <a:latin typeface="Verdana" panose="020B0604030504040204" pitchFamily="34" charset="0"/>
                    <a:ea typeface="Verdana" panose="020B0604030504040204" pitchFamily="34" charset="0"/>
                  </a:rPr>
                </a:br>
                <a:r>
                  <a:rPr lang="en-US" sz="1600" dirty="0" smtClean="0">
                    <a:latin typeface="Verdana" panose="020B0604030504040204" pitchFamily="34" charset="0"/>
                    <a:ea typeface="Verdana" panose="020B0604030504040204" pitchFamily="34" charset="0"/>
                  </a:rPr>
                  <a:t>5.Kinetic </a:t>
                </a:r>
                <a:r>
                  <a:rPr lang="en-US" sz="1600" dirty="0">
                    <a:latin typeface="Verdana" panose="020B0604030504040204" pitchFamily="34" charset="0"/>
                    <a:ea typeface="Verdana" panose="020B0604030504040204" pitchFamily="34" charset="0"/>
                  </a:rPr>
                  <a:t>Energy of Hot Blast</a:t>
                </a:r>
                <a:r>
                  <a:rPr lang="en-US" sz="1600" dirty="0" smtClean="0">
                    <a:latin typeface="Verdana" panose="020B0604030504040204" pitchFamily="34" charset="0"/>
                    <a:ea typeface="Verdana" panose="020B0604030504040204" pitchFamily="34" charset="0"/>
                  </a:rPr>
                  <a:t>:</a:t>
                </a:r>
              </a:p>
              <a:p>
                <a:pPr/>
                <a14:m>
                  <m:oMathPara xmlns:m="http://schemas.openxmlformats.org/officeDocument/2006/math">
                    <m:oMathParaPr>
                      <m:jc m:val="left"/>
                    </m:oMathParaPr>
                    <m:oMath xmlns:m="http://schemas.openxmlformats.org/officeDocument/2006/math">
                      <m:r>
                        <a:rPr lang="en-US" sz="1600" i="1">
                          <a:solidFill>
                            <a:srgbClr val="000000"/>
                          </a:solidFill>
                          <a:latin typeface="Cambria Math" panose="02040503050406030204" pitchFamily="18" charset="0"/>
                          <a:ea typeface="Verdana" panose="020B0604030504040204" pitchFamily="34" charset="0"/>
                        </a:rPr>
                        <m:t>𝐸</m:t>
                      </m:r>
                      <m:r>
                        <a:rPr lang="en-US" sz="1600" b="0" i="1" baseline="-25000" smtClean="0">
                          <a:solidFill>
                            <a:srgbClr val="000000"/>
                          </a:solidFill>
                          <a:latin typeface="Cambria Math" panose="02040503050406030204" pitchFamily="18" charset="0"/>
                          <a:ea typeface="Verdana" panose="020B0604030504040204" pitchFamily="34" charset="0"/>
                        </a:rPr>
                        <m:t>𝐾𝑖𝑛𝑒𝑡𝑖𝑐</m:t>
                      </m:r>
                      <m:r>
                        <a:rPr lang="en-US" sz="1600" b="0" i="1" baseline="-25000" smtClean="0">
                          <a:solidFill>
                            <a:srgbClr val="000000"/>
                          </a:solidFill>
                          <a:latin typeface="Cambria Math" panose="02040503050406030204" pitchFamily="18" charset="0"/>
                          <a:ea typeface="Verdana" panose="020B0604030504040204" pitchFamily="34" charset="0"/>
                        </a:rPr>
                        <m:t> </m:t>
                      </m:r>
                      <m:r>
                        <a:rPr lang="en-US" sz="1600" b="0" i="1" baseline="-25000" smtClean="0">
                          <a:solidFill>
                            <a:srgbClr val="000000"/>
                          </a:solidFill>
                          <a:latin typeface="Cambria Math" panose="02040503050406030204" pitchFamily="18" charset="0"/>
                          <a:ea typeface="Verdana" panose="020B0604030504040204" pitchFamily="34" charset="0"/>
                        </a:rPr>
                        <m:t>𝐸𝑛𝑒𝑟𝑔𝑦</m:t>
                      </m:r>
                      <m:r>
                        <a:rPr lang="en-US" sz="1600" b="0" i="1" smtClean="0">
                          <a:solidFill>
                            <a:srgbClr val="000000"/>
                          </a:solidFill>
                          <a:latin typeface="Cambria Math" panose="02040503050406030204" pitchFamily="18" charset="0"/>
                          <a:ea typeface="Verdana" panose="020B0604030504040204" pitchFamily="34" charset="0"/>
                        </a:rPr>
                        <m:t>=</m:t>
                      </m:r>
                      <m:d>
                        <m:dPr>
                          <m:ctrlPr>
                            <a:rPr lang="en-US" sz="1600" b="0" i="1" smtClean="0">
                              <a:solidFill>
                                <a:srgbClr val="000000"/>
                              </a:solidFill>
                              <a:latin typeface="Cambria Math" panose="02040503050406030204" pitchFamily="18" charset="0"/>
                              <a:ea typeface="Verdana" panose="020B0604030504040204" pitchFamily="34" charset="0"/>
                            </a:rPr>
                          </m:ctrlPr>
                        </m:dPr>
                        <m:e>
                          <m:f>
                            <m:fPr>
                              <m:ctrlPr>
                                <a:rPr lang="en-US" sz="1600" b="0" i="1" smtClean="0">
                                  <a:solidFill>
                                    <a:srgbClr val="000000"/>
                                  </a:solidFill>
                                  <a:latin typeface="Cambria Math" panose="02040503050406030204" pitchFamily="18" charset="0"/>
                                  <a:ea typeface="Verdana" panose="020B0604030504040204" pitchFamily="34" charset="0"/>
                                </a:rPr>
                              </m:ctrlPr>
                            </m:fPr>
                            <m:num>
                              <m:r>
                                <a:rPr lang="en-US" sz="1600" b="0" i="1" smtClean="0">
                                  <a:solidFill>
                                    <a:srgbClr val="000000"/>
                                  </a:solidFill>
                                  <a:latin typeface="Cambria Math" panose="02040503050406030204" pitchFamily="18" charset="0"/>
                                  <a:ea typeface="Verdana" panose="020B0604030504040204" pitchFamily="34" charset="0"/>
                                </a:rPr>
                                <m:t>1</m:t>
                              </m:r>
                            </m:num>
                            <m:den>
                              <m:r>
                                <a:rPr lang="en-US" sz="1600" b="0" i="1" smtClean="0">
                                  <a:solidFill>
                                    <a:srgbClr val="000000"/>
                                  </a:solidFill>
                                  <a:latin typeface="Cambria Math" panose="02040503050406030204" pitchFamily="18" charset="0"/>
                                  <a:ea typeface="Verdana" panose="020B0604030504040204" pitchFamily="34" charset="0"/>
                                </a:rPr>
                                <m:t>2</m:t>
                              </m:r>
                            </m:den>
                          </m:f>
                        </m:e>
                      </m:d>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𝑀𝑎𝑠𝑠</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h𝑜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𝑏𝑙𝑎𝑠𝑡</m:t>
                      </m:r>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𝐻𝑜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𝑏𝑙𝑎𝑠𝑡</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𝑣𝑒𝑙𝑜𝑐𝑖𝑡𝑦</m:t>
                      </m:r>
                      <m:r>
                        <a:rPr lang="en-US" sz="1600" b="0" i="1" smtClean="0">
                          <a:solidFill>
                            <a:srgbClr val="000000"/>
                          </a:solidFill>
                          <a:latin typeface="Cambria Math" panose="02040503050406030204" pitchFamily="18" charset="0"/>
                          <a:ea typeface="Verdana" panose="020B0604030504040204" pitchFamily="34" charset="0"/>
                        </a:rPr>
                        <m:t>^2</m:t>
                      </m:r>
                    </m:oMath>
                  </m:oMathPara>
                </a14:m>
                <a:endParaRPr lang="en-US" sz="1600" dirty="0" smtClean="0">
                  <a:latin typeface="Verdana" panose="020B0604030504040204" pitchFamily="34" charset="0"/>
                  <a:ea typeface="Verdana" panose="020B0604030504040204" pitchFamily="34" charset="0"/>
                </a:endParaRPr>
              </a:p>
            </p:txBody>
          </p:sp>
        </mc:Choice>
        <mc:Fallback xmlns="">
          <p:sp>
            <p:nvSpPr>
              <p:cNvPr id="3" name="Rectangle 2"/>
              <p:cNvSpPr>
                <a:spLocks noRot="1" noChangeAspect="1" noMove="1" noResize="1" noEditPoints="1" noAdjustHandles="1" noChangeArrowheads="1" noChangeShapeType="1" noTextEdit="1"/>
              </p:cNvSpPr>
              <p:nvPr/>
            </p:nvSpPr>
            <p:spPr>
              <a:xfrm>
                <a:off x="623392" y="1076584"/>
                <a:ext cx="7416824" cy="4573816"/>
              </a:xfrm>
              <a:prstGeom prst="rect">
                <a:avLst/>
              </a:prstGeom>
              <a:blipFill>
                <a:blip r:embed="rId2"/>
                <a:stretch>
                  <a:fillRect/>
                </a:stretch>
              </a:blipFill>
              <a:ln w="28575">
                <a:solidFill>
                  <a:schemeClr val="tx2"/>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8" name="Text Box 5"/>
          <p:cNvSpPr txBox="1">
            <a:spLocks noChangeArrowheads="1"/>
          </p:cNvSpPr>
          <p:nvPr/>
        </p:nvSpPr>
        <p:spPr bwMode="auto">
          <a:xfrm>
            <a:off x="8688288" y="1162891"/>
            <a:ext cx="3312368" cy="4401201"/>
          </a:xfrm>
          <a:prstGeom prst="rect">
            <a:avLst/>
          </a:prstGeom>
          <a:solidFill>
            <a:srgbClr val="E9EDF4"/>
          </a:solidFill>
          <a:ln w="28575">
            <a:solidFill>
              <a:schemeClr val="tx1"/>
            </a:solidFill>
            <a:miter lim="800000"/>
            <a:headEnd/>
            <a:tailEnd/>
          </a:ln>
          <a:effectLst>
            <a:outerShdw blurRad="50800" dist="38100" dir="2700000" algn="tl" rotWithShape="0">
              <a:prstClr val="black">
                <a:alpha val="40000"/>
              </a:prstClr>
            </a:outerShdw>
          </a:effectLst>
        </p:spPr>
        <p:txBody>
          <a:bodyPr wrap="square" lIns="91436" tIns="45718" rIns="91436" bIns="45718">
            <a:prstTxWarp prst="textNoShape">
              <a:avLst/>
            </a:prstTxWarp>
            <a:spAutoFit/>
          </a:bodyPr>
          <a:lstStyle/>
          <a:p>
            <a:r>
              <a:rPr lang="en-US" sz="1400" dirty="0">
                <a:latin typeface="Verdana" panose="020B0604030504040204" pitchFamily="34" charset="0"/>
                <a:ea typeface="Verdana" panose="020B0604030504040204" pitchFamily="34" charset="0"/>
              </a:rPr>
              <a:t>Calorific Value of Pure carbon = 7800 Kcal/kg</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Late heat of Vaporization = 540 Cal/kg</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Specific heat of water = 1 Kcal/kg</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Specific Heat of O</a:t>
            </a:r>
            <a:r>
              <a:rPr lang="en-US" sz="1400" baseline="-25000" dirty="0">
                <a:latin typeface="Verdana" panose="020B0604030504040204" pitchFamily="34" charset="0"/>
                <a:ea typeface="Verdana" panose="020B0604030504040204" pitchFamily="34" charset="0"/>
              </a:rPr>
              <a:t>2</a:t>
            </a:r>
            <a:r>
              <a:rPr lang="en-US" sz="1400" dirty="0">
                <a:latin typeface="Verdana" panose="020B0604030504040204" pitchFamily="34" charset="0"/>
                <a:ea typeface="Verdana" panose="020B0604030504040204" pitchFamily="34" charset="0"/>
              </a:rPr>
              <a:t> = 0.22 Kcal/kg.</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Specific Heat of N</a:t>
            </a:r>
            <a:r>
              <a:rPr lang="en-US" sz="1400" baseline="-25000" dirty="0">
                <a:latin typeface="Verdana" panose="020B0604030504040204" pitchFamily="34" charset="0"/>
                <a:ea typeface="Verdana" panose="020B0604030504040204" pitchFamily="34" charset="0"/>
              </a:rPr>
              <a:t>2</a:t>
            </a:r>
            <a:r>
              <a:rPr lang="en-US" sz="1400" dirty="0">
                <a:latin typeface="Verdana" panose="020B0604030504040204" pitchFamily="34" charset="0"/>
                <a:ea typeface="Verdana" panose="020B0604030504040204" pitchFamily="34" charset="0"/>
              </a:rPr>
              <a:t> = 0.25 Kcal/kg.</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Fixed Carbon is the amount of pure carbon in Coke/Coal</a:t>
            </a: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The Base Temperature is taken at 25 Degree Celsius and all energies are calculated per Ton of Hot Metal</a:t>
            </a:r>
            <a:endParaRPr lang="en-IN" sz="1400" kern="0" dirty="0">
              <a:solidFill>
                <a:schemeClr val="tx2"/>
              </a:solidFill>
              <a:latin typeface="Arial" panose="020B0604020202020204" pitchFamily="34" charset="0"/>
              <a:ea typeface="+mj-ea"/>
              <a:cs typeface="Arial" panose="020B0604020202020204" pitchFamily="34" charset="0"/>
            </a:endParaRPr>
          </a:p>
        </p:txBody>
      </p:sp>
      <p:sp>
        <p:nvSpPr>
          <p:cNvPr id="10" name="Left Arrow 9"/>
          <p:cNvSpPr/>
          <p:nvPr/>
        </p:nvSpPr>
        <p:spPr>
          <a:xfrm>
            <a:off x="8148228" y="2982363"/>
            <a:ext cx="432048" cy="576064"/>
          </a:xfrm>
          <a:prstGeom prst="lef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11" name="Rectangle 10"/>
              <p:cNvSpPr/>
              <p:nvPr/>
            </p:nvSpPr>
            <p:spPr>
              <a:xfrm>
                <a:off x="731402" y="6279383"/>
                <a:ext cx="7524838" cy="362984"/>
              </a:xfrm>
              <a:prstGeom prst="rect">
                <a:avLst/>
              </a:prstGeom>
              <a:solidFill>
                <a:srgbClr val="E9EDF4"/>
              </a:solidFill>
              <a:ln w="28575">
                <a:solidFill>
                  <a:srgbClr val="002060"/>
                </a:solidFill>
              </a:ln>
              <a:effectLst>
                <a:outerShdw blurRad="50800" dist="38100" dir="2700000" algn="tl" rotWithShape="0">
                  <a:prstClr val="black">
                    <a:alpha val="40000"/>
                  </a:prstClr>
                </a:outerShdw>
              </a:effectLst>
            </p:spPr>
            <p:txBody>
              <a:bodyPr wrap="square">
                <a:spAutoFit/>
              </a:bodyPr>
              <a:lstStyle/>
              <a:p>
                <a:pPr/>
                <a14:m>
                  <m:oMathPara xmlns:m="http://schemas.openxmlformats.org/officeDocument/2006/math">
                    <m:oMathParaPr>
                      <m:jc m:val="left"/>
                    </m:oMathParaPr>
                    <m:oMath xmlns:m="http://schemas.openxmlformats.org/officeDocument/2006/math">
                      <m:r>
                        <a:rPr lang="en-US" i="1">
                          <a:latin typeface="Cambria Math" panose="02040503050406030204" pitchFamily="18" charset="0"/>
                          <a:ea typeface="Verdana" panose="020B0604030504040204" pitchFamily="34" charset="0"/>
                        </a:rPr>
                        <m:t>𝑇𝑜𝑡𝑎𝑙</m:t>
                      </m:r>
                      <m:r>
                        <a:rPr lang="en-US" i="1">
                          <a:latin typeface="Cambria Math" panose="02040503050406030204" pitchFamily="18" charset="0"/>
                          <a:ea typeface="Verdana" panose="020B0604030504040204" pitchFamily="34" charset="0"/>
                        </a:rPr>
                        <m:t> </m:t>
                      </m:r>
                      <m:r>
                        <a:rPr lang="en-US" i="1">
                          <a:latin typeface="Cambria Math" panose="02040503050406030204" pitchFamily="18" charset="0"/>
                          <a:ea typeface="Verdana" panose="020B0604030504040204" pitchFamily="34" charset="0"/>
                        </a:rPr>
                        <m:t>𝐼𝑛𝑝𝑢𝑡</m:t>
                      </m:r>
                      <m:r>
                        <a:rPr lang="en-US" i="1">
                          <a:latin typeface="Cambria Math" panose="02040503050406030204" pitchFamily="18" charset="0"/>
                          <a:ea typeface="Verdana" panose="020B0604030504040204" pitchFamily="34" charset="0"/>
                        </a:rPr>
                        <m:t> </m:t>
                      </m:r>
                      <m:r>
                        <a:rPr lang="en-US" i="1">
                          <a:latin typeface="Cambria Math" panose="02040503050406030204" pitchFamily="18" charset="0"/>
                          <a:ea typeface="Verdana" panose="020B0604030504040204" pitchFamily="34" charset="0"/>
                        </a:rPr>
                        <m:t>𝐸𝑛𝑒𝑟𝑔𝑦</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𝑐𝑜𝑘𝑒</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𝑐</m:t>
                      </m:r>
                      <m:r>
                        <a:rPr lang="en-US" i="1" baseline="-25000">
                          <a:latin typeface="Cambria Math" panose="02040503050406030204" pitchFamily="18" charset="0"/>
                          <a:ea typeface="Verdana" panose="020B0604030504040204" pitchFamily="34" charset="0"/>
                        </a:rPr>
                        <m:t>𝑜𝑎𝑙</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𝐻</m:t>
                      </m:r>
                      <m:r>
                        <a:rPr lang="en-US" i="1" baseline="-25000">
                          <a:latin typeface="Cambria Math" panose="02040503050406030204" pitchFamily="18" charset="0"/>
                          <a:ea typeface="Verdana" panose="020B0604030504040204" pitchFamily="34" charset="0"/>
                        </a:rPr>
                        <m:t>𝑜𝑡</m:t>
                      </m:r>
                      <m:r>
                        <a:rPr lang="en-US" i="1" baseline="-25000">
                          <a:latin typeface="Cambria Math" panose="02040503050406030204" pitchFamily="18" charset="0"/>
                          <a:ea typeface="Verdana" panose="020B0604030504040204" pitchFamily="34" charset="0"/>
                        </a:rPr>
                        <m:t>−</m:t>
                      </m:r>
                      <m:r>
                        <a:rPr lang="en-US" i="1" baseline="-25000">
                          <a:latin typeface="Cambria Math" panose="02040503050406030204" pitchFamily="18" charset="0"/>
                          <a:ea typeface="Verdana" panose="020B0604030504040204" pitchFamily="34" charset="0"/>
                        </a:rPr>
                        <m:t>𝑏𝑙𝑎𝑠𝑡</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𝑠</m:t>
                      </m:r>
                      <m:r>
                        <a:rPr lang="en-US" i="1" baseline="-25000">
                          <a:latin typeface="Cambria Math" panose="02040503050406030204" pitchFamily="18" charset="0"/>
                          <a:ea typeface="Verdana" panose="020B0604030504040204" pitchFamily="34" charset="0"/>
                        </a:rPr>
                        <m:t>𝑡𝑒𝑎𝑚</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𝑘</m:t>
                      </m:r>
                      <m:r>
                        <a:rPr lang="en-US" i="1" baseline="-25000">
                          <a:latin typeface="Cambria Math" panose="02040503050406030204" pitchFamily="18" charset="0"/>
                          <a:ea typeface="Verdana" panose="020B0604030504040204" pitchFamily="34" charset="0"/>
                        </a:rPr>
                        <m:t>𝑖𝑛𝑒𝑡𝑖𝑐</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𝐸𝑛𝑒𝑟𝑔𝑦</m:t>
                      </m:r>
                    </m:oMath>
                  </m:oMathPara>
                </a14:m>
                <a:endParaRPr lang="en-US" baseline="-25000" dirty="0">
                  <a:latin typeface="Verdana" panose="020B0604030504040204" pitchFamily="34" charset="0"/>
                  <a:ea typeface="Verdana" panose="020B0604030504040204" pitchFamily="34" charset="0"/>
                </a:endParaRPr>
              </a:p>
            </p:txBody>
          </p:sp>
        </mc:Choice>
        <mc:Fallback>
          <p:sp>
            <p:nvSpPr>
              <p:cNvPr id="11" name="Rectangle 10"/>
              <p:cNvSpPr>
                <a:spLocks noRot="1" noChangeAspect="1" noMove="1" noResize="1" noEditPoints="1" noAdjustHandles="1" noChangeArrowheads="1" noChangeShapeType="1" noTextEdit="1"/>
              </p:cNvSpPr>
              <p:nvPr/>
            </p:nvSpPr>
            <p:spPr>
              <a:xfrm>
                <a:off x="731402" y="6279383"/>
                <a:ext cx="7524838" cy="362984"/>
              </a:xfrm>
              <a:prstGeom prst="rect">
                <a:avLst/>
              </a:prstGeom>
              <a:blipFill>
                <a:blip r:embed="rId3"/>
                <a:stretch>
                  <a:fillRect/>
                </a:stretch>
              </a:blipFill>
              <a:ln w="28575">
                <a:solidFill>
                  <a:srgbClr val="002060"/>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12" name="Down Arrow 11"/>
          <p:cNvSpPr/>
          <p:nvPr/>
        </p:nvSpPr>
        <p:spPr>
          <a:xfrm>
            <a:off x="3935760" y="5728576"/>
            <a:ext cx="576064" cy="420637"/>
          </a:xfrm>
          <a:prstGeom prst="down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45991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39"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41" name="Group 40">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50" name="Rectangle 49">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51" name="Rectangle 50">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47" name="Rectangle 46">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BD038CF4-70F6-3ED5-A251-6593ED308A00}"/>
                </a:ext>
              </a:extLst>
            </p:cNvPr>
            <p:cNvGrpSpPr/>
            <p:nvPr/>
          </p:nvGrpSpPr>
          <p:grpSpPr>
            <a:xfrm>
              <a:off x="4226915" y="3886762"/>
              <a:ext cx="7519504" cy="720080"/>
              <a:chOff x="6489076" y="1395922"/>
              <a:chExt cx="5255621" cy="720080"/>
            </a:xfrm>
          </p:grpSpPr>
          <p:sp>
            <p:nvSpPr>
              <p:cNvPr id="44" name="Rectangle 43">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45" name="Rectangle 44">
                <a:extLst>
                  <a:ext uri="{FF2B5EF4-FFF2-40B4-BE49-F238E27FC236}">
                    <a16:creationId xmlns:a16="http://schemas.microsoft.com/office/drawing/2014/main" id="{3F2A70AE-41B4-A095-4210-6790B1CFE194}"/>
                  </a:ext>
                </a:extLst>
              </p:cNvPr>
              <p:cNvSpPr/>
              <p:nvPr/>
            </p:nvSpPr>
            <p:spPr>
              <a:xfrm>
                <a:off x="6715036" y="1395922"/>
                <a:ext cx="189985" cy="712807"/>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8435E3-F308-7729-ABF6-EDAA951CEE60}"/>
                  </a:ext>
                </a:extLst>
              </p:cNvPr>
              <p:cNvSpPr/>
              <p:nvPr/>
            </p:nvSpPr>
            <p:spPr>
              <a:xfrm>
                <a:off x="6489076" y="1395922"/>
                <a:ext cx="186185" cy="712808"/>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3" name="Rectangle 5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54" name="Rectangle 5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57" name="Rectangle 5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60" name="Straight Connector 5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2571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178149" y="1700808"/>
            <a:ext cx="8352928" cy="523220"/>
          </a:xfrm>
          <a:prstGeom prst="rect">
            <a:avLst/>
          </a:prstGeom>
          <a:solidFill>
            <a:srgbClr val="E9EDF4"/>
          </a:solidFill>
          <a:ln w="19050">
            <a:solidFill>
              <a:schemeClr val="tx2"/>
            </a:solidFill>
          </a:ln>
        </p:spPr>
        <p:txBody>
          <a:bodyPr wrap="square">
            <a:spAutoFit/>
          </a:bodyPr>
          <a:lstStyle/>
          <a:p>
            <a:pPr marL="342900" indent="-342900">
              <a:buAutoNum type="arabicParenR"/>
            </a:pPr>
            <a:r>
              <a:rPr lang="en-US" sz="1400" dirty="0">
                <a:solidFill>
                  <a:srgbClr val="000000"/>
                </a:solidFill>
                <a:latin typeface="Verdana" panose="020B0604030504040204" pitchFamily="34" charset="0"/>
              </a:rPr>
              <a:t>Volume from the Flow Sensor</a:t>
            </a:r>
          </a:p>
          <a:p>
            <a:pPr marL="342900" indent="-342900">
              <a:buAutoNum type="arabicParenR"/>
            </a:pPr>
            <a:r>
              <a:rPr lang="en-US" sz="1400" dirty="0">
                <a:solidFill>
                  <a:srgbClr val="000000"/>
                </a:solidFill>
                <a:latin typeface="Verdana" panose="020B0604030504040204" pitchFamily="34" charset="0"/>
              </a:rPr>
              <a:t>Volume from the Gas Sensor data using the N</a:t>
            </a:r>
            <a:r>
              <a:rPr lang="en-US" sz="1400" baseline="-25000" dirty="0">
                <a:solidFill>
                  <a:srgbClr val="000000"/>
                </a:solidFill>
                <a:latin typeface="Verdana" panose="020B0604030504040204" pitchFamily="34" charset="0"/>
              </a:rPr>
              <a:t>2</a:t>
            </a:r>
            <a:r>
              <a:rPr lang="en-US" sz="1400" dirty="0">
                <a:solidFill>
                  <a:srgbClr val="000000"/>
                </a:solidFill>
                <a:latin typeface="Verdana" panose="020B0604030504040204" pitchFamily="34" charset="0"/>
              </a:rPr>
              <a:t> Conservation in both Input and </a:t>
            </a:r>
            <a:r>
              <a:rPr lang="en-US" sz="1400" dirty="0" smtClean="0">
                <a:solidFill>
                  <a:srgbClr val="000000"/>
                </a:solidFill>
                <a:latin typeface="Verdana" panose="020B0604030504040204" pitchFamily="34" charset="0"/>
              </a:rPr>
              <a:t>Output</a:t>
            </a:r>
            <a:endParaRPr lang="en-US" sz="1400" dirty="0">
              <a:solidFill>
                <a:srgbClr val="000000"/>
              </a:solidFill>
              <a:latin typeface="Verdana" panose="020B0604030504040204" pitchFamily="34" charset="0"/>
            </a:endParaRPr>
          </a:p>
        </p:txBody>
      </p:sp>
      <p:sp>
        <p:nvSpPr>
          <p:cNvPr id="4" name="Title 1">
            <a:extLst>
              <a:ext uri="{FF2B5EF4-FFF2-40B4-BE49-F238E27FC236}">
                <a16:creationId xmlns:a16="http://schemas.microsoft.com/office/drawing/2014/main" id="{574A7643-54F9-CF22-24BA-661BC99CC161}"/>
              </a:ext>
            </a:extLst>
          </p:cNvPr>
          <p:cNvSpPr txBox="1">
            <a:spLocks/>
          </p:cNvSpPr>
          <p:nvPr/>
        </p:nvSpPr>
        <p:spPr>
          <a:xfrm>
            <a:off x="3791744" y="332656"/>
            <a:ext cx="5328592" cy="369332"/>
          </a:xfrm>
          <a:prstGeom prst="rect">
            <a:avLst/>
          </a:prstGeom>
        </p:spPr>
        <p:txBody>
          <a:bodyPr wrap="square" lIns="0" tIns="0" rIns="0" bIns="0">
            <a:spAutoFit/>
          </a:bodyPr>
          <a:lstStyle>
            <a:lvl1pPr>
              <a:defRPr sz="3600" b="0" i="0">
                <a:solidFill>
                  <a:schemeClr val="tx1"/>
                </a:solidFill>
                <a:latin typeface="Calibri Light"/>
                <a:ea typeface="+mj-ea"/>
                <a:cs typeface="Calibri Light"/>
              </a:defRPr>
            </a:lvl1pPr>
          </a:lstStyle>
          <a:p>
            <a:r>
              <a:rPr lang="en-US" sz="2400" b="1" dirty="0">
                <a:solidFill>
                  <a:srgbClr val="003399"/>
                </a:solidFill>
                <a:latin typeface="Verdana" panose="020B0604030504040204" pitchFamily="34" charset="0"/>
                <a:ea typeface="Verdana" panose="020B0604030504040204" pitchFamily="34" charset="0"/>
                <a:cs typeface="+mn-cs"/>
              </a:rPr>
              <a:t>Blast Furnace Gas Calculation</a:t>
            </a:r>
          </a:p>
        </p:txBody>
      </p:sp>
      <p:graphicFrame>
        <p:nvGraphicFramePr>
          <p:cNvPr id="6" name="Chart 5"/>
          <p:cNvGraphicFramePr>
            <a:graphicFrameLocks/>
          </p:cNvGraphicFramePr>
          <p:nvPr>
            <p:extLst>
              <p:ext uri="{D42A27DB-BD31-4B8C-83A1-F6EECF244321}">
                <p14:modId xmlns:p14="http://schemas.microsoft.com/office/powerpoint/2010/main" val="3420062995"/>
              </p:ext>
            </p:extLst>
          </p:nvPr>
        </p:nvGraphicFramePr>
        <p:xfrm>
          <a:off x="119336" y="3178136"/>
          <a:ext cx="11737304" cy="2795271"/>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p:cNvCxnSpPr/>
          <p:nvPr/>
        </p:nvCxnSpPr>
        <p:spPr>
          <a:xfrm rot="10800000">
            <a:off x="3071664"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952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Subtitle 2"/>
              <p:cNvSpPr>
                <a:spLocks noGrp="1"/>
              </p:cNvSpPr>
              <p:nvPr>
                <p:ph type="subTitle" idx="4"/>
              </p:nvPr>
            </p:nvSpPr>
            <p:spPr>
              <a:xfrm>
                <a:off x="1199456" y="1124744"/>
                <a:ext cx="10153128" cy="4939237"/>
              </a:xfrm>
              <a:solidFill>
                <a:srgbClr val="E9EDF4"/>
              </a:solidFill>
              <a:ln w="28575">
                <a:solidFill>
                  <a:srgbClr val="141462"/>
                </a:solidFill>
              </a:ln>
              <a:effectLst>
                <a:outerShdw blurRad="50800" dist="38100" dir="2700000" algn="tl" rotWithShape="0">
                  <a:prstClr val="black">
                    <a:alpha val="40000"/>
                  </a:prstClr>
                </a:outerShdw>
              </a:effectLst>
            </p:spPr>
            <p:txBody>
              <a:bodyPr/>
              <a:lstStyle/>
              <a:p>
                <a:pPr marL="342900" indent="-342900" rtl="0">
                  <a:buFont typeface="+mj-lt"/>
                  <a:buAutoNum type="arabicPeriod"/>
                </a:pPr>
                <a:endParaRPr lang="en-US" sz="1600" dirty="0" smtClean="0">
                  <a:latin typeface="Verdana" panose="020B0604030504040204" pitchFamily="34" charset="0"/>
                  <a:ea typeface="Verdana" panose="020B0604030504040204" pitchFamily="34" charset="0"/>
                </a:endParaRPr>
              </a:p>
              <a:p>
                <a:pPr rtl="0"/>
                <a:endParaRPr lang="en-US" sz="1600" dirty="0" smtClean="0">
                  <a:latin typeface="Verdana" panose="020B0604030504040204" pitchFamily="34" charset="0"/>
                  <a:ea typeface="Verdana" panose="020B0604030504040204" pitchFamily="34" charset="0"/>
                </a:endParaRPr>
              </a:p>
              <a:p>
                <a:pPr marL="342900" indent="-342900" rtl="0">
                  <a:buFont typeface="+mj-lt"/>
                  <a:buAutoNum type="arabicPeriod"/>
                </a:pPr>
                <a:r>
                  <a:rPr lang="en-US" sz="1600" dirty="0" smtClean="0">
                    <a:latin typeface="Verdana" panose="020B0604030504040204" pitchFamily="34" charset="0"/>
                    <a:ea typeface="Verdana" panose="020B0604030504040204" pitchFamily="34" charset="0"/>
                  </a:rPr>
                  <a:t>Energy Lost due to unburnt carbon (CO) in the BF gas</a:t>
                </a:r>
              </a:p>
              <a:p>
                <a:pPr rtl="0"/>
                <a14:m>
                  <m:oMathPara xmlns:m="http://schemas.openxmlformats.org/officeDocument/2006/math">
                    <m:oMathParaPr>
                      <m:jc m:val="left"/>
                    </m:oMathParaPr>
                    <m:oMath xmlns:m="http://schemas.openxmlformats.org/officeDocument/2006/math">
                      <m:r>
                        <a:rPr lang="en-US" sz="1600" b="0" i="1" smtClean="0">
                          <a:solidFill>
                            <a:srgbClr val="000000"/>
                          </a:solidFill>
                          <a:latin typeface="Cambria Math" panose="02040503050406030204" pitchFamily="18" charset="0"/>
                          <a:ea typeface="Verdana" panose="020B0604030504040204" pitchFamily="34" charset="0"/>
                        </a:rPr>
                        <m:t>𝐸</m:t>
                      </m:r>
                      <m:r>
                        <a:rPr lang="en-US" sz="1600" b="0" i="1" baseline="-25000" smtClean="0">
                          <a:solidFill>
                            <a:srgbClr val="000000"/>
                          </a:solidFill>
                          <a:latin typeface="Cambria Math" panose="02040503050406030204" pitchFamily="18" charset="0"/>
                          <a:ea typeface="Verdana" panose="020B0604030504040204" pitchFamily="34" charset="0"/>
                        </a:rPr>
                        <m:t>𝐵𝐹</m:t>
                      </m:r>
                      <m:r>
                        <a:rPr lang="en-US" sz="1600" b="0" i="1" baseline="-25000" smtClean="0">
                          <a:solidFill>
                            <a:srgbClr val="000000"/>
                          </a:solidFill>
                          <a:latin typeface="Cambria Math" panose="02040503050406030204" pitchFamily="18" charset="0"/>
                          <a:ea typeface="Verdana" panose="020B0604030504040204" pitchFamily="34" charset="0"/>
                        </a:rPr>
                        <m:t> </m:t>
                      </m:r>
                      <m:r>
                        <a:rPr lang="en-US" sz="1600" b="0" i="1" baseline="-25000" smtClean="0">
                          <a:solidFill>
                            <a:srgbClr val="000000"/>
                          </a:solidFill>
                          <a:latin typeface="Cambria Math" panose="02040503050406030204" pitchFamily="18" charset="0"/>
                          <a:ea typeface="Verdana" panose="020B0604030504040204" pitchFamily="34" charset="0"/>
                        </a:rPr>
                        <m:t>𝐺𝑎𝑠</m:t>
                      </m:r>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𝑉𝑜𝑙𝑢𝑚𝑒</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𝐵𝐹</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𝐺𝑎𝑠</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𝑔𝑒𝑛𝑒𝑟𝑎𝑡𝑒𝑑</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𝐶𝑎𝑙𝑜𝑟𝑖𝑓𝑖𝑐</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𝑉𝑎𝑙𝑢𝑒</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𝐶𝑂</m:t>
                      </m:r>
                      <m:r>
                        <a:rPr lang="en-US" sz="1600" b="0" i="1" smtClean="0">
                          <a:solidFill>
                            <a:srgbClr val="000000"/>
                          </a:solidFill>
                          <a:latin typeface="Cambria Math" panose="02040503050406030204" pitchFamily="18" charset="0"/>
                          <a:ea typeface="Verdana" panose="020B0604030504040204" pitchFamily="34" charset="0"/>
                        </a:rPr>
                        <m:t>+</m:t>
                      </m:r>
                      <m:r>
                        <a:rPr lang="en-US" sz="1600" b="0" i="1" smtClean="0">
                          <a:solidFill>
                            <a:srgbClr val="000000"/>
                          </a:solidFill>
                          <a:latin typeface="Cambria Math" panose="02040503050406030204" pitchFamily="18" charset="0"/>
                          <a:ea typeface="Verdana" panose="020B0604030504040204" pitchFamily="34" charset="0"/>
                        </a:rPr>
                        <m:t>𝐶𝑎𝑙𝑜𝑟𝑖𝑓𝑖𝑐</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𝑉𝑎𝑙𝑢𝑒</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𝑜𝑓</m:t>
                      </m:r>
                      <m:r>
                        <a:rPr lang="en-US" sz="1600" b="0" i="1" smtClean="0">
                          <a:solidFill>
                            <a:srgbClr val="000000"/>
                          </a:solidFill>
                          <a:latin typeface="Cambria Math" panose="02040503050406030204" pitchFamily="18" charset="0"/>
                          <a:ea typeface="Verdana" panose="020B0604030504040204" pitchFamily="34" charset="0"/>
                        </a:rPr>
                        <m:t> </m:t>
                      </m:r>
                      <m:r>
                        <a:rPr lang="en-US" sz="1600" b="0" i="1" smtClean="0">
                          <a:solidFill>
                            <a:srgbClr val="000000"/>
                          </a:solidFill>
                          <a:latin typeface="Cambria Math" panose="02040503050406030204" pitchFamily="18" charset="0"/>
                          <a:ea typeface="Verdana" panose="020B0604030504040204" pitchFamily="34" charset="0"/>
                        </a:rPr>
                        <m:t>𝐻</m:t>
                      </m:r>
                      <m:r>
                        <a:rPr lang="en-US" sz="1600" b="0" i="1" smtClean="0">
                          <a:solidFill>
                            <a:srgbClr val="000000"/>
                          </a:solidFill>
                          <a:latin typeface="Cambria Math" panose="02040503050406030204" pitchFamily="18" charset="0"/>
                          <a:ea typeface="Verdana" panose="020B0604030504040204" pitchFamily="34" charset="0"/>
                        </a:rPr>
                        <m:t>2)</m:t>
                      </m:r>
                    </m:oMath>
                  </m:oMathPara>
                </a14:m>
                <a:endParaRPr lang="en-US" sz="1600" dirty="0">
                  <a:latin typeface="Verdana" panose="020B0604030504040204" pitchFamily="34" charset="0"/>
                  <a:ea typeface="Verdana" panose="020B0604030504040204" pitchFamily="34" charset="0"/>
                </a:endParaRPr>
              </a:p>
              <a:p>
                <a:pPr rtl="0"/>
                <a:endParaRPr lang="en-US" sz="1600" dirty="0">
                  <a:latin typeface="Verdana" panose="020B0604030504040204" pitchFamily="34" charset="0"/>
                  <a:ea typeface="Verdana" panose="020B0604030504040204" pitchFamily="34" charset="0"/>
                </a:endParaRPr>
              </a:p>
              <a:p>
                <a:pPr marL="342900" indent="-342900" rtl="0">
                  <a:buAutoNum type="arabicPeriod" startAt="2"/>
                </a:pPr>
                <a:r>
                  <a:rPr lang="en-US" sz="1600" dirty="0" smtClean="0">
                    <a:latin typeface="Verdana" panose="020B0604030504040204" pitchFamily="34" charset="0"/>
                    <a:ea typeface="Verdana" panose="020B0604030504040204" pitchFamily="34" charset="0"/>
                  </a:rPr>
                  <a:t>Thermal </a:t>
                </a:r>
                <a:r>
                  <a:rPr lang="en-US" sz="1600" dirty="0">
                    <a:latin typeface="Verdana" panose="020B0604030504040204" pitchFamily="34" charset="0"/>
                    <a:ea typeface="Verdana" panose="020B0604030504040204" pitchFamily="34" charset="0"/>
                  </a:rPr>
                  <a:t>energy of BF </a:t>
                </a:r>
                <a:r>
                  <a:rPr lang="en-US" sz="1600" dirty="0" smtClean="0">
                    <a:latin typeface="Verdana" panose="020B0604030504040204" pitchFamily="34" charset="0"/>
                    <a:ea typeface="Verdana" panose="020B0604030504040204" pitchFamily="34" charset="0"/>
                  </a:rPr>
                  <a:t>gas</a:t>
                </a:r>
              </a:p>
              <a:p>
                <a:pPr rtl="0"/>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i="1" baseline="-25000">
                          <a:latin typeface="Cambria Math" panose="02040503050406030204" pitchFamily="18" charset="0"/>
                          <a:ea typeface="Verdana" panose="020B0604030504040204" pitchFamily="34" charset="0"/>
                        </a:rPr>
                        <m:t>𝑇h𝑒𝑟𝑚𝑎𝑙</m:t>
                      </m:r>
                      <m:r>
                        <a:rPr lang="en-US" sz="1600" b="0" i="1" baseline="-25000" smtClean="0">
                          <a:latin typeface="Cambria Math" panose="02040503050406030204" pitchFamily="18" charset="0"/>
                          <a:ea typeface="Verdana" panose="020B0604030504040204" pitchFamily="34" charset="0"/>
                        </a:rPr>
                        <m:t> </m:t>
                      </m:r>
                      <m:r>
                        <a:rPr lang="en-US" sz="1600" b="0" i="1" baseline="-25000" smtClean="0">
                          <a:latin typeface="Cambria Math" panose="02040503050406030204" pitchFamily="18" charset="0"/>
                          <a:ea typeface="Verdana" panose="020B0604030504040204" pitchFamily="34" charset="0"/>
                        </a:rPr>
                        <m:t>𝑜𝑓</m:t>
                      </m:r>
                      <m:r>
                        <a:rPr lang="en-US" sz="1600" b="0" i="1" baseline="-25000" smtClean="0">
                          <a:latin typeface="Cambria Math" panose="02040503050406030204" pitchFamily="18" charset="0"/>
                          <a:ea typeface="Verdana" panose="020B0604030504040204" pitchFamily="34" charset="0"/>
                        </a:rPr>
                        <m:t> </m:t>
                      </m:r>
                      <m:r>
                        <a:rPr lang="en-US" sz="1600" b="0" i="1" baseline="-25000" smtClean="0">
                          <a:latin typeface="Cambria Math" panose="02040503050406030204" pitchFamily="18" charset="0"/>
                          <a:ea typeface="Verdana" panose="020B0604030504040204" pitchFamily="34" charset="0"/>
                        </a:rPr>
                        <m:t>𝐵𝐹𝐺𝑎𝑠</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𝑊𝑒𝑖𝑔h𝑡</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𝑜𝑓</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𝐵𝐹</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𝐺𝑎𝑠</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𝑔𝑒𝑛𝑒𝑟𝑎𝑡𝑒𝑑</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𝐶𝑂</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𝑆𝑝𝑒𝑐𝑖𝑓𝑖𝑐</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h𝑒𝑎𝑡</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𝑜𝑓</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𝐶𝑂</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𝐻</m:t>
                      </m:r>
                      <m:r>
                        <a:rPr lang="en-US" sz="1600" i="1">
                          <a:latin typeface="Cambria Math" panose="02040503050406030204" pitchFamily="18" charset="0"/>
                          <a:ea typeface="Verdana" panose="020B0604030504040204" pitchFamily="34" charset="0"/>
                        </a:rPr>
                        <m:t>2%  ∗</m:t>
                      </m:r>
                      <m:r>
                        <a:rPr lang="en-US" sz="1600" i="1">
                          <a:latin typeface="Cambria Math" panose="02040503050406030204" pitchFamily="18" charset="0"/>
                          <a:ea typeface="Verdana" panose="020B0604030504040204" pitchFamily="34" charset="0"/>
                        </a:rPr>
                        <m:t>𝑆𝑝𝑒𝑐𝑖𝑓𝑖𝑐</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h𝑒𝑎𝑡</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𝐻</m:t>
                      </m:r>
                      <m:r>
                        <a:rPr lang="en-US" sz="1600" i="1">
                          <a:latin typeface="Cambria Math" panose="02040503050406030204" pitchFamily="18" charset="0"/>
                          <a:ea typeface="Verdana" panose="020B0604030504040204" pitchFamily="34" charset="0"/>
                        </a:rPr>
                        <m:t>2)</m:t>
                      </m:r>
                    </m:oMath>
                  </m:oMathPara>
                </a14:m>
                <a:endParaRPr lang="en-US" sz="1600" dirty="0">
                  <a:latin typeface="Verdana" panose="020B0604030504040204" pitchFamily="34" charset="0"/>
                  <a:ea typeface="Verdana" panose="020B0604030504040204" pitchFamily="34" charset="0"/>
                </a:endParaRPr>
              </a:p>
              <a:p>
                <a:pPr rtl="0"/>
                <a:endParaRPr lang="en-US" sz="1600" dirty="0">
                  <a:latin typeface="Verdana" panose="020B0604030504040204" pitchFamily="34" charset="0"/>
                  <a:ea typeface="Verdana" panose="020B0604030504040204" pitchFamily="34" charset="0"/>
                </a:endParaRPr>
              </a:p>
              <a:p>
                <a:pPr marL="342900" indent="-342900" rtl="0">
                  <a:buAutoNum type="arabicPeriod" startAt="3"/>
                </a:pPr>
                <a:r>
                  <a:rPr lang="en-US" sz="1600" dirty="0">
                    <a:latin typeface="Verdana" panose="020B0604030504040204" pitchFamily="34" charset="0"/>
                    <a:ea typeface="Verdana" panose="020B0604030504040204" pitchFamily="34" charset="0"/>
                  </a:rPr>
                  <a:t>Thermal energy in Hot Metal </a:t>
                </a:r>
                <a:endParaRPr lang="en-US" sz="1600" dirty="0" smtClean="0">
                  <a:latin typeface="Verdana" panose="020B0604030504040204" pitchFamily="34" charset="0"/>
                  <a:ea typeface="Verdana" panose="020B0604030504040204" pitchFamily="34" charset="0"/>
                </a:endParaRPr>
              </a:p>
              <a:p>
                <a:pPr rtl="0"/>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ea typeface="Verdana" panose="020B0604030504040204" pitchFamily="34" charset="0"/>
                        </a:rPr>
                        <m:t>𝐸</m:t>
                      </m:r>
                      <m:r>
                        <a:rPr lang="en-US" sz="1600" b="0" i="1" baseline="-25000" smtClean="0">
                          <a:latin typeface="Cambria Math" panose="02040503050406030204" pitchFamily="18" charset="0"/>
                          <a:ea typeface="Verdana" panose="020B0604030504040204" pitchFamily="34" charset="0"/>
                        </a:rPr>
                        <m:t>𝐻𝑜𝑡</m:t>
                      </m:r>
                      <m:r>
                        <a:rPr lang="en-US" sz="1600" b="0" i="1" baseline="-25000" smtClean="0">
                          <a:latin typeface="Cambria Math" panose="02040503050406030204" pitchFamily="18" charset="0"/>
                          <a:ea typeface="Verdana" panose="020B0604030504040204" pitchFamily="34" charset="0"/>
                        </a:rPr>
                        <m:t> </m:t>
                      </m:r>
                      <m:r>
                        <a:rPr lang="en-US" sz="1600" b="0" i="1" baseline="-25000" smtClean="0">
                          <a:latin typeface="Cambria Math" panose="02040503050406030204" pitchFamily="18" charset="0"/>
                          <a:ea typeface="Verdana" panose="020B0604030504040204" pitchFamily="34" charset="0"/>
                        </a:rPr>
                        <m:t>𝑀𝑒𝑡𝑎𝑙</m:t>
                      </m:r>
                      <m:r>
                        <a:rPr lang="en-US" sz="1600" b="0" i="1" smtClean="0">
                          <a:latin typeface="Cambria Math" panose="02040503050406030204" pitchFamily="18" charset="0"/>
                          <a:ea typeface="Verdana" panose="020B0604030504040204" pitchFamily="34" charset="0"/>
                        </a:rPr>
                        <m:t>=</m:t>
                      </m:r>
                      <m:r>
                        <a:rPr lang="en-US" sz="1600" b="0" i="1" smtClean="0">
                          <a:latin typeface="Cambria Math" panose="02040503050406030204" pitchFamily="18" charset="0"/>
                          <a:ea typeface="Verdana" panose="020B0604030504040204" pitchFamily="34" charset="0"/>
                        </a:rPr>
                        <m:t>𝑊𝑒𝑖𝑔h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𝐻𝑜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𝑀𝑒𝑡𝑎𝑙</m:t>
                      </m:r>
                      <m:r>
                        <a:rPr lang="en-US" sz="1600" b="0" i="1" smtClean="0">
                          <a:latin typeface="Cambria Math" panose="02040503050406030204" pitchFamily="18" charset="0"/>
                          <a:ea typeface="Verdana" panose="020B0604030504040204" pitchFamily="34" charset="0"/>
                        </a:rPr>
                        <m:t>∗</m:t>
                      </m:r>
                      <m:d>
                        <m:dPr>
                          <m:ctrlPr>
                            <a:rPr lang="en-US" sz="1600" b="0" i="1" smtClean="0">
                              <a:latin typeface="Cambria Math" panose="02040503050406030204" pitchFamily="18" charset="0"/>
                              <a:ea typeface="Verdana" panose="020B0604030504040204" pitchFamily="34" charset="0"/>
                            </a:rPr>
                          </m:ctrlPr>
                        </m:dPr>
                        <m:e>
                          <m:r>
                            <a:rPr lang="en-US" sz="1600" b="0" i="1" smtClean="0">
                              <a:latin typeface="Cambria Math" panose="02040503050406030204" pitchFamily="18" charset="0"/>
                              <a:ea typeface="Verdana" panose="020B0604030504040204" pitchFamily="34" charset="0"/>
                            </a:rPr>
                            <m:t>𝐹𝑒</m:t>
                          </m:r>
                          <m:r>
                            <a:rPr lang="en-US" sz="1600" b="0" i="1" smtClean="0">
                              <a:latin typeface="Cambria Math" panose="02040503050406030204" pitchFamily="18" charset="0"/>
                              <a:ea typeface="Verdana" panose="020B0604030504040204" pitchFamily="34" charset="0"/>
                            </a:rPr>
                            <m:t>%∗</m:t>
                          </m:r>
                          <m:r>
                            <a:rPr lang="en-US" sz="1600" b="0" i="1" smtClean="0">
                              <a:latin typeface="Cambria Math" panose="02040503050406030204" pitchFamily="18" charset="0"/>
                              <a:ea typeface="Verdana" panose="020B0604030504040204" pitchFamily="34" charset="0"/>
                            </a:rPr>
                            <m:t>𝑆𝑝𝑒𝑐𝑖𝑓𝑖𝑐</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h𝑒𝑎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𝐼𝑟𝑜𝑛</m:t>
                          </m:r>
                          <m:d>
                            <m:dPr>
                              <m:ctrlPr>
                                <a:rPr lang="en-US" sz="1600" b="0" i="1" smtClean="0">
                                  <a:latin typeface="Cambria Math" panose="02040503050406030204" pitchFamily="18" charset="0"/>
                                  <a:ea typeface="Verdana" panose="020B0604030504040204" pitchFamily="34" charset="0"/>
                                </a:rPr>
                              </m:ctrlPr>
                            </m:dPr>
                            <m:e>
                              <m:r>
                                <a:rPr lang="en-US" sz="1600" b="0" i="1" smtClean="0">
                                  <a:latin typeface="Cambria Math" panose="02040503050406030204" pitchFamily="18" charset="0"/>
                                  <a:ea typeface="Verdana" panose="020B0604030504040204" pitchFamily="34" charset="0"/>
                                </a:rPr>
                                <m:t>𝐹𝑒</m:t>
                              </m:r>
                            </m:e>
                          </m:d>
                          <m:r>
                            <a:rPr lang="en-US" sz="1600" b="0" i="1" smtClean="0">
                              <a:latin typeface="Cambria Math" panose="02040503050406030204" pitchFamily="18" charset="0"/>
                              <a:ea typeface="Verdana" panose="020B0604030504040204" pitchFamily="34" charset="0"/>
                            </a:rPr>
                            <m:t>∗</m:t>
                          </m:r>
                          <m:d>
                            <m:dPr>
                              <m:ctrlPr>
                                <a:rPr lang="en-US" sz="1600" b="0" i="1" smtClean="0">
                                  <a:latin typeface="Cambria Math" panose="02040503050406030204" pitchFamily="18" charset="0"/>
                                  <a:ea typeface="Verdana" panose="020B0604030504040204" pitchFamily="34" charset="0"/>
                                </a:rPr>
                              </m:ctrlPr>
                            </m:dPr>
                            <m:e>
                              <m:r>
                                <a:rPr lang="en-US" sz="1600" b="0" i="1" smtClean="0">
                                  <a:latin typeface="Cambria Math" panose="02040503050406030204" pitchFamily="18" charset="0"/>
                                  <a:ea typeface="Verdana" panose="020B0604030504040204" pitchFamily="34" charset="0"/>
                                </a:rPr>
                                <m:t>𝐻𝑜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𝑀𝑒𝑡𝑎𝑙</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𝑇𝑒𝑚𝑝𝑒𝑟𝑎𝑡𝑢𝑟𝑒</m:t>
                              </m:r>
                              <m:r>
                                <a:rPr lang="en-US" sz="1600" b="0" i="1" smtClean="0">
                                  <a:latin typeface="Cambria Math" panose="02040503050406030204" pitchFamily="18" charset="0"/>
                                  <a:ea typeface="Verdana" panose="020B0604030504040204" pitchFamily="34" charset="0"/>
                                </a:rPr>
                                <m:t>−25</m:t>
                              </m:r>
                            </m:e>
                          </m:d>
                          <m:r>
                            <a:rPr lang="en-US" sz="1600" b="0" i="1" smtClean="0">
                              <a:latin typeface="Cambria Math" panose="02040503050406030204" pitchFamily="18" charset="0"/>
                              <a:ea typeface="Verdana" panose="020B0604030504040204" pitchFamily="34" charset="0"/>
                            </a:rPr>
                            <m:t> + </m:t>
                          </m:r>
                          <m:r>
                            <a:rPr lang="en-US" sz="1600" b="0" i="1" smtClean="0">
                              <a:latin typeface="Cambria Math" panose="02040503050406030204" pitchFamily="18" charset="0"/>
                              <a:ea typeface="Verdana" panose="020B0604030504040204" pitchFamily="34" charset="0"/>
                            </a:rPr>
                            <m:t>𝐿𝑎𝑡𝑒𝑛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h𝑒𝑎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𝑓𝑢𝑠𝑖𝑜𝑛</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𝐼𝑟𝑜𝑛</m:t>
                          </m:r>
                        </m:e>
                      </m:d>
                      <m:r>
                        <a:rPr lang="en-US" sz="1600" b="0" i="1" smtClean="0">
                          <a:latin typeface="Cambria Math" panose="02040503050406030204" pitchFamily="18" charset="0"/>
                          <a:ea typeface="Verdana" panose="020B0604030504040204" pitchFamily="34" charset="0"/>
                        </a:rPr>
                        <m:t>+1000∗</m:t>
                      </m:r>
                      <m:d>
                        <m:dPr>
                          <m:ctrlPr>
                            <a:rPr lang="en-US" sz="1600" i="1">
                              <a:latin typeface="Cambria Math" panose="02040503050406030204" pitchFamily="18" charset="0"/>
                              <a:ea typeface="Verdana" panose="020B0604030504040204" pitchFamily="34" charset="0"/>
                            </a:rPr>
                          </m:ctrlPr>
                        </m:dPr>
                        <m:e>
                          <m:r>
                            <a:rPr lang="en-US" sz="1600" b="0" i="1" smtClean="0">
                              <a:latin typeface="Cambria Math" panose="02040503050406030204" pitchFamily="18" charset="0"/>
                              <a:ea typeface="Verdana" panose="020B0604030504040204" pitchFamily="34" charset="0"/>
                            </a:rPr>
                            <m:t>𝐶𝑎𝑟𝑏𝑜𝑛</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𝑆𝑝𝑒𝑐𝑖𝑓𝑖𝑐</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h𝑒𝑎𝑡</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𝑜𝑓</m:t>
                          </m:r>
                          <m:r>
                            <a:rPr lang="en-US" sz="1600" i="1">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𝑐𝑎𝑟𝑏𝑜𝑛</m:t>
                          </m:r>
                          <m:d>
                            <m:dPr>
                              <m:ctrlPr>
                                <a:rPr lang="en-US" sz="1600" i="1">
                                  <a:latin typeface="Cambria Math" panose="02040503050406030204" pitchFamily="18" charset="0"/>
                                  <a:ea typeface="Verdana" panose="020B0604030504040204" pitchFamily="34" charset="0"/>
                                </a:rPr>
                              </m:ctrlPr>
                            </m:dPr>
                            <m:e>
                              <m:r>
                                <a:rPr lang="en-US" sz="1600" b="0" i="1" smtClean="0">
                                  <a:latin typeface="Cambria Math" panose="02040503050406030204" pitchFamily="18" charset="0"/>
                                  <a:ea typeface="Verdana" panose="020B0604030504040204" pitchFamily="34" charset="0"/>
                                </a:rPr>
                                <m:t>𝐶</m:t>
                              </m:r>
                            </m:e>
                          </m:d>
                          <m:r>
                            <a:rPr lang="en-US" sz="1600" i="1">
                              <a:latin typeface="Cambria Math" panose="02040503050406030204" pitchFamily="18" charset="0"/>
                              <a:ea typeface="Verdana" panose="020B0604030504040204" pitchFamily="34" charset="0"/>
                            </a:rPr>
                            <m:t>∗</m:t>
                          </m:r>
                          <m:d>
                            <m:dPr>
                              <m:ctrlPr>
                                <a:rPr lang="en-US" sz="1600" i="1">
                                  <a:latin typeface="Cambria Math" panose="02040503050406030204" pitchFamily="18" charset="0"/>
                                  <a:ea typeface="Verdana" panose="020B0604030504040204" pitchFamily="34" charset="0"/>
                                </a:rPr>
                              </m:ctrlPr>
                            </m:dPr>
                            <m:e>
                              <m:r>
                                <a:rPr lang="en-US" sz="1600" i="1">
                                  <a:latin typeface="Cambria Math" panose="02040503050406030204" pitchFamily="18" charset="0"/>
                                  <a:ea typeface="Verdana" panose="020B0604030504040204" pitchFamily="34" charset="0"/>
                                </a:rPr>
                                <m:t>𝐻𝑜𝑡</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𝑀𝑒𝑡𝑎𝑙</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𝑇𝑒𝑚𝑝𝑒𝑟𝑎𝑡𝑢𝑟𝑒</m:t>
                              </m:r>
                              <m:r>
                                <a:rPr lang="en-US" sz="1600" i="1">
                                  <a:latin typeface="Cambria Math" panose="02040503050406030204" pitchFamily="18" charset="0"/>
                                  <a:ea typeface="Verdana" panose="020B0604030504040204" pitchFamily="34" charset="0"/>
                                </a:rPr>
                                <m:t>−25</m:t>
                              </m:r>
                            </m:e>
                          </m:d>
                        </m:e>
                      </m:d>
                    </m:oMath>
                  </m:oMathPara>
                </a14:m>
                <a:endParaRPr lang="en-US" sz="1600" dirty="0" smtClean="0">
                  <a:latin typeface="Verdana" panose="020B0604030504040204" pitchFamily="34" charset="0"/>
                  <a:ea typeface="Verdana" panose="020B0604030504040204" pitchFamily="34" charset="0"/>
                </a:endParaRPr>
              </a:p>
              <a:p>
                <a:pPr rtl="0"/>
                <a:endParaRPr lang="en-US" sz="1600" dirty="0">
                  <a:latin typeface="Verdana" panose="020B0604030504040204" pitchFamily="34" charset="0"/>
                  <a:ea typeface="Verdana" panose="020B0604030504040204" pitchFamily="34" charset="0"/>
                </a:endParaRPr>
              </a:p>
              <a:p>
                <a:pPr marL="342900" indent="-342900" rtl="0">
                  <a:buAutoNum type="arabicPeriod" startAt="4"/>
                </a:pPr>
                <a:r>
                  <a:rPr lang="en-US" sz="1600" dirty="0" smtClean="0">
                    <a:latin typeface="Verdana" panose="020B0604030504040204" pitchFamily="34" charset="0"/>
                    <a:ea typeface="Verdana" panose="020B0604030504040204" pitchFamily="34" charset="0"/>
                  </a:rPr>
                  <a:t>Thermal </a:t>
                </a:r>
                <a:r>
                  <a:rPr lang="en-US" sz="1600" dirty="0">
                    <a:latin typeface="Verdana" panose="020B0604030504040204" pitchFamily="34" charset="0"/>
                    <a:ea typeface="Verdana" panose="020B0604030504040204" pitchFamily="34" charset="0"/>
                  </a:rPr>
                  <a:t>Energy in </a:t>
                </a:r>
                <a:r>
                  <a:rPr lang="en-US" sz="1600" dirty="0" smtClean="0">
                    <a:latin typeface="Verdana" panose="020B0604030504040204" pitchFamily="34" charset="0"/>
                    <a:ea typeface="Verdana" panose="020B0604030504040204" pitchFamily="34" charset="0"/>
                  </a:rPr>
                  <a:t>slag</a:t>
                </a:r>
              </a:p>
              <a:p>
                <a:pPr rtl="0"/>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b="0" i="1" baseline="-25000" smtClean="0">
                          <a:latin typeface="Cambria Math" panose="02040503050406030204" pitchFamily="18" charset="0"/>
                          <a:ea typeface="Verdana" panose="020B0604030504040204" pitchFamily="34" charset="0"/>
                        </a:rPr>
                        <m:t>𝑆𝑙𝑎𝑔</m:t>
                      </m:r>
                      <m:r>
                        <a:rPr lang="en-US" sz="1600" i="1">
                          <a:latin typeface="Cambria Math" panose="02040503050406030204" pitchFamily="18" charset="0"/>
                          <a:ea typeface="Verdana" panose="020B0604030504040204" pitchFamily="34" charset="0"/>
                        </a:rPr>
                        <m:t>=</m:t>
                      </m:r>
                      <m:r>
                        <a:rPr lang="en-US" sz="1600" b="0" i="1" smtClean="0">
                          <a:latin typeface="Cambria Math" panose="02040503050406030204" pitchFamily="18" charset="0"/>
                          <a:ea typeface="Verdana" panose="020B0604030504040204" pitchFamily="34" charset="0"/>
                        </a:rPr>
                        <m:t>𝑆𝑝𝑒𝑐𝑖𝑓𝑖𝑐</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𝐻𝑒𝑎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𝑆𝑙𝑎𝑔</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𝑊𝑒𝑖𝑔h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𝑆𝑙𝑎𝑔</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𝐻𝑜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𝑀𝑒𝑡𝑎𝑙</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𝑇𝑒𝑚𝑝𝑟𝑎𝑡𝑢𝑟𝑒</m:t>
                      </m:r>
                      <m:r>
                        <a:rPr lang="en-US" sz="1600" b="0" i="1" smtClean="0">
                          <a:latin typeface="Cambria Math" panose="02040503050406030204" pitchFamily="18" charset="0"/>
                          <a:ea typeface="Verdana" panose="020B0604030504040204" pitchFamily="34" charset="0"/>
                        </a:rPr>
                        <m:t> −25)</m:t>
                      </m:r>
                    </m:oMath>
                  </m:oMathPara>
                </a14:m>
                <a:endParaRPr lang="en-US" sz="1600" dirty="0" smtClean="0">
                  <a:latin typeface="Verdana" panose="020B0604030504040204" pitchFamily="34" charset="0"/>
                  <a:ea typeface="Verdana" panose="020B0604030504040204" pitchFamily="34" charset="0"/>
                </a:endParaRPr>
              </a:p>
              <a:p>
                <a:pPr rtl="0"/>
                <a:endParaRPr lang="en-US" sz="1600" dirty="0">
                  <a:latin typeface="Verdana" panose="020B0604030504040204" pitchFamily="34" charset="0"/>
                  <a:ea typeface="Verdana" panose="020B0604030504040204" pitchFamily="34" charset="0"/>
                </a:endParaRPr>
              </a:p>
              <a:p>
                <a:pPr marL="342900" indent="-342900" rtl="0">
                  <a:buAutoNum type="arabicPeriod" startAt="5"/>
                </a:pPr>
                <a:r>
                  <a:rPr lang="en-US" sz="1600" dirty="0" smtClean="0">
                    <a:latin typeface="Verdana" panose="020B0604030504040204" pitchFamily="34" charset="0"/>
                    <a:ea typeface="Verdana" panose="020B0604030504040204" pitchFamily="34" charset="0"/>
                  </a:rPr>
                  <a:t>Energy </a:t>
                </a:r>
                <a:r>
                  <a:rPr lang="en-US" sz="1600" dirty="0">
                    <a:latin typeface="Verdana" panose="020B0604030504040204" pitchFamily="34" charset="0"/>
                    <a:ea typeface="Verdana" panose="020B0604030504040204" pitchFamily="34" charset="0"/>
                  </a:rPr>
                  <a:t>lost due to unburnt carbon dissolved in Hot </a:t>
                </a:r>
                <a:r>
                  <a:rPr lang="en-US" sz="1600" dirty="0" smtClean="0">
                    <a:latin typeface="Verdana" panose="020B0604030504040204" pitchFamily="34" charset="0"/>
                    <a:ea typeface="Verdana" panose="020B0604030504040204" pitchFamily="34" charset="0"/>
                  </a:rPr>
                  <a:t>metal</a:t>
                </a:r>
              </a:p>
              <a:p>
                <a:pPr rtl="0"/>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b="0" i="1" baseline="-25000" smtClean="0">
                          <a:latin typeface="Cambria Math" panose="02040503050406030204" pitchFamily="18" charset="0"/>
                          <a:ea typeface="Verdana" panose="020B0604030504040204" pitchFamily="34" charset="0"/>
                        </a:rPr>
                        <m:t>𝐻𝑜𝑡</m:t>
                      </m:r>
                      <m:r>
                        <a:rPr lang="en-US" sz="1600" b="0" i="1" baseline="-25000" smtClean="0">
                          <a:latin typeface="Cambria Math" panose="02040503050406030204" pitchFamily="18" charset="0"/>
                          <a:ea typeface="Verdana" panose="020B0604030504040204" pitchFamily="34" charset="0"/>
                        </a:rPr>
                        <m:t> </m:t>
                      </m:r>
                      <m:r>
                        <a:rPr lang="en-US" sz="1600" b="0" i="1" baseline="-25000" smtClean="0">
                          <a:latin typeface="Cambria Math" panose="02040503050406030204" pitchFamily="18" charset="0"/>
                          <a:ea typeface="Verdana" panose="020B0604030504040204" pitchFamily="34" charset="0"/>
                        </a:rPr>
                        <m:t>𝑀𝑒𝑡𝑎𝑙</m:t>
                      </m:r>
                      <m:r>
                        <a:rPr lang="en-US" sz="1600" b="0" i="1" baseline="-25000" smtClean="0">
                          <a:latin typeface="Cambria Math" panose="02040503050406030204" pitchFamily="18" charset="0"/>
                          <a:ea typeface="Verdana" panose="020B0604030504040204" pitchFamily="34" charset="0"/>
                        </a:rPr>
                        <m:t> </m:t>
                      </m:r>
                      <m:r>
                        <a:rPr lang="en-US" sz="1600" b="0" i="1" baseline="-25000" smtClean="0">
                          <a:latin typeface="Cambria Math" panose="02040503050406030204" pitchFamily="18" charset="0"/>
                          <a:ea typeface="Verdana" panose="020B0604030504040204" pitchFamily="34" charset="0"/>
                        </a:rPr>
                        <m:t>𝐶𝑎𝑟𝑏𝑜𝑛</m:t>
                      </m:r>
                      <m:r>
                        <a:rPr lang="en-US" sz="1600" i="1">
                          <a:latin typeface="Cambria Math" panose="02040503050406030204" pitchFamily="18" charset="0"/>
                          <a:ea typeface="Verdana" panose="020B0604030504040204" pitchFamily="34" charset="0"/>
                        </a:rPr>
                        <m:t>=</m:t>
                      </m:r>
                      <m:r>
                        <a:rPr lang="en-US" sz="1600" b="0" i="1" smtClean="0">
                          <a:latin typeface="Cambria Math" panose="02040503050406030204" pitchFamily="18" charset="0"/>
                          <a:ea typeface="Verdana" panose="020B0604030504040204" pitchFamily="34" charset="0"/>
                        </a:rPr>
                        <m:t>𝐶𝑎𝑟𝑏𝑜𝑛</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𝑖𝑛</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𝐻𝑜𝑡</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𝑀𝑒𝑡𝑎𝑙</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𝐶𝑎𝑙𝑜𝑟𝑖𝑓𝑖𝑐</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𝑉𝑎𝑙𝑢𝑒</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𝑜𝑓</m:t>
                      </m:r>
                      <m:r>
                        <a:rPr lang="en-US" sz="1600" b="0" i="1" smtClean="0">
                          <a:latin typeface="Cambria Math" panose="02040503050406030204" pitchFamily="18" charset="0"/>
                          <a:ea typeface="Verdana" panose="020B0604030504040204" pitchFamily="34" charset="0"/>
                        </a:rPr>
                        <m:t> </m:t>
                      </m:r>
                      <m:r>
                        <a:rPr lang="en-US" sz="1600" b="0" i="1" smtClean="0">
                          <a:latin typeface="Cambria Math" panose="02040503050406030204" pitchFamily="18" charset="0"/>
                          <a:ea typeface="Verdana" panose="020B0604030504040204" pitchFamily="34" charset="0"/>
                        </a:rPr>
                        <m:t>𝐶𝑎𝑟𝑏𝑜𝑛</m:t>
                      </m:r>
                    </m:oMath>
                  </m:oMathPara>
                </a14:m>
                <a:endParaRPr lang="en-US" sz="1600" dirty="0">
                  <a:latin typeface="Verdana" panose="020B0604030504040204" pitchFamily="34" charset="0"/>
                  <a:ea typeface="Verdana" panose="020B0604030504040204" pitchFamily="34" charset="0"/>
                </a:endParaRPr>
              </a:p>
              <a:p>
                <a:pPr rtl="0"/>
                <a:endParaRPr lang="en-US" sz="1600" dirty="0">
                  <a:latin typeface="Verdana" panose="020B0604030504040204" pitchFamily="34" charset="0"/>
                  <a:ea typeface="Verdana" panose="020B0604030504040204" pitchFamily="34" charset="0"/>
                </a:endParaRPr>
              </a:p>
            </p:txBody>
          </p:sp>
        </mc:Choice>
        <mc:Fallback xmlns="">
          <p:sp>
            <p:nvSpPr>
              <p:cNvPr id="3" name="Subtitle 2"/>
              <p:cNvSpPr>
                <a:spLocks noGrp="1" noRot="1" noChangeAspect="1" noMove="1" noResize="1" noEditPoints="1" noAdjustHandles="1" noChangeArrowheads="1" noChangeShapeType="1" noTextEdit="1"/>
              </p:cNvSpPr>
              <p:nvPr>
                <p:ph type="subTitle" idx="4"/>
              </p:nvPr>
            </p:nvSpPr>
            <p:spPr>
              <a:xfrm>
                <a:off x="1199456" y="1124744"/>
                <a:ext cx="10153128" cy="4939237"/>
              </a:xfrm>
              <a:blipFill>
                <a:blip r:embed="rId2"/>
                <a:stretch>
                  <a:fillRect/>
                </a:stretch>
              </a:blipFill>
              <a:ln w="28575">
                <a:solidFill>
                  <a:srgbClr val="141462"/>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5" name="Text Box 5"/>
          <p:cNvSpPr txBox="1">
            <a:spLocks noChangeArrowheads="1"/>
          </p:cNvSpPr>
          <p:nvPr/>
        </p:nvSpPr>
        <p:spPr bwMode="auto">
          <a:xfrm>
            <a:off x="3408958" y="53796"/>
            <a:ext cx="5207322" cy="646327"/>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Output energy calculations</a:t>
            </a:r>
            <a:r>
              <a:rPr lang="en-IN" sz="3600" dirty="0">
                <a:solidFill>
                  <a:schemeClr val="tx2"/>
                </a:solidFill>
                <a:latin typeface="Arial"/>
                <a:ea typeface="+mj-ea"/>
                <a:cs typeface="Arial"/>
              </a:rPr>
              <a:t>  </a:t>
            </a:r>
            <a:endParaRPr lang="en-IN" sz="3600" dirty="0">
              <a:solidFill>
                <a:schemeClr val="tx2"/>
              </a:solidFill>
              <a:latin typeface="Arial" panose="020B0604020202020204" pitchFamily="34" charset="0"/>
              <a:ea typeface="+mj-ea"/>
              <a:cs typeface="Arial" panose="020B0604020202020204" pitchFamily="34" charset="0"/>
            </a:endParaRPr>
          </a:p>
        </p:txBody>
      </p:sp>
      <p:cxnSp>
        <p:nvCxnSpPr>
          <p:cNvPr id="6" name="Straight Connector 5"/>
          <p:cNvCxnSpPr/>
          <p:nvPr/>
        </p:nvCxnSpPr>
        <p:spPr>
          <a:xfrm rot="10800000">
            <a:off x="2567608" y="71420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06068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5"/>
          <p:cNvSpPr txBox="1">
            <a:spLocks noChangeArrowheads="1"/>
          </p:cNvSpPr>
          <p:nvPr/>
        </p:nvSpPr>
        <p:spPr bwMode="auto">
          <a:xfrm>
            <a:off x="3719736" y="188640"/>
            <a:ext cx="6248400" cy="461661"/>
          </a:xfrm>
          <a:prstGeom prst="rect">
            <a:avLst/>
          </a:prstGeom>
          <a:noFill/>
          <a:ln w="9525">
            <a:noFill/>
            <a:miter lim="800000"/>
            <a:headEnd/>
            <a:tailEnd/>
          </a:ln>
        </p:spPr>
        <p:txBody>
          <a:bodyPr lIns="91436" tIns="45718" rIns="91436" bIns="45718">
            <a:prstTxWarp prst="textNoShape">
              <a:avLst/>
            </a:prstTxWarp>
            <a:spAutoFit/>
          </a:bodyPr>
          <a:lstStyle/>
          <a:p>
            <a:pPr algn="ctr"/>
            <a:r>
              <a:rPr lang="en-IN" sz="2400" b="1" dirty="0">
                <a:solidFill>
                  <a:srgbClr val="003399"/>
                </a:solidFill>
                <a:latin typeface="Verdana" panose="020B0604030504040204" pitchFamily="34" charset="0"/>
                <a:ea typeface="Verdana" panose="020B0604030504040204" pitchFamily="34" charset="0"/>
              </a:rPr>
              <a:t>Project Overview </a:t>
            </a:r>
          </a:p>
        </p:txBody>
      </p:sp>
      <p:cxnSp>
        <p:nvCxnSpPr>
          <p:cNvPr id="5" name="Straight Connector 4"/>
          <p:cNvCxnSpPr/>
          <p:nvPr/>
        </p:nvCxnSpPr>
        <p:spPr>
          <a:xfrm flipH="1">
            <a:off x="4827712" y="764704"/>
            <a:ext cx="4032448"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6" name="Diagram 5"/>
          <p:cNvGraphicFramePr/>
          <p:nvPr>
            <p:extLst>
              <p:ext uri="{D42A27DB-BD31-4B8C-83A1-F6EECF244321}">
                <p14:modId xmlns:p14="http://schemas.microsoft.com/office/powerpoint/2010/main" val="2416283282"/>
              </p:ext>
            </p:extLst>
          </p:nvPr>
        </p:nvGraphicFramePr>
        <p:xfrm>
          <a:off x="2495600" y="1196752"/>
          <a:ext cx="7664400" cy="49415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123112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Rectangle 1"/>
              <p:cNvSpPr/>
              <p:nvPr/>
            </p:nvSpPr>
            <p:spPr>
              <a:xfrm>
                <a:off x="1163452" y="1138318"/>
                <a:ext cx="9793088" cy="3662541"/>
              </a:xfrm>
              <a:prstGeom prst="rect">
                <a:avLst/>
              </a:prstGeom>
              <a:solidFill>
                <a:srgbClr val="E9EDF4"/>
              </a:solidFill>
              <a:ln w="28575">
                <a:solidFill>
                  <a:srgbClr val="1F497D"/>
                </a:solidFill>
              </a:ln>
              <a:effectLst>
                <a:outerShdw blurRad="50800" dist="38100" dir="2700000" algn="tl" rotWithShape="0">
                  <a:prstClr val="black">
                    <a:alpha val="40000"/>
                  </a:prstClr>
                </a:outerShdw>
              </a:effectLst>
            </p:spPr>
            <p:txBody>
              <a:bodyPr wrap="square">
                <a:spAutoFit/>
              </a:bodyPr>
              <a:lstStyle/>
              <a:p>
                <a:pPr marL="342900" indent="-342900">
                  <a:buAutoNum type="arabicPeriod" startAt="6"/>
                </a:pPr>
                <a:r>
                  <a:rPr lang="en-US" sz="1600" dirty="0" smtClean="0">
                    <a:latin typeface="Verdana" panose="020B0604030504040204" pitchFamily="34" charset="0"/>
                    <a:ea typeface="Verdana" panose="020B0604030504040204" pitchFamily="34" charset="0"/>
                  </a:rPr>
                  <a:t>Energy lost in Dust in the from of carbon</a:t>
                </a:r>
              </a:p>
              <a:p>
                <a:pPr/>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i="1" baseline="-25000">
                          <a:latin typeface="Cambria Math" panose="02040503050406030204" pitchFamily="18" charset="0"/>
                          <a:ea typeface="Verdana" panose="020B0604030504040204" pitchFamily="34" charset="0"/>
                        </a:rPr>
                        <m:t>𝐷𝑢𝑠𝑡</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𝐶𝑎𝑟𝑏𝑜𝑛</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𝑖𝑛</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𝐷𝑢𝑠𝑡</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𝐶𝑎𝑙𝑟𝑖𝑓𝑖𝑐</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𝑉𝑎𝑙𝑢𝑒</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𝑜𝑓</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𝐶𝑎𝑟𝑏𝑜𝑛</m:t>
                      </m:r>
                    </m:oMath>
                  </m:oMathPara>
                </a14:m>
                <a:endParaRPr lang="en-US" sz="1600" dirty="0">
                  <a:latin typeface="Verdana" panose="020B0604030504040204" pitchFamily="34" charset="0"/>
                  <a:ea typeface="Verdana" panose="020B0604030504040204" pitchFamily="34" charset="0"/>
                </a:endParaRPr>
              </a:p>
              <a:p>
                <a:endParaRPr lang="en-US" sz="1600" dirty="0">
                  <a:latin typeface="Verdana" panose="020B0604030504040204" pitchFamily="34" charset="0"/>
                  <a:ea typeface="Verdana" panose="020B0604030504040204" pitchFamily="34" charset="0"/>
                </a:endParaRPr>
              </a:p>
              <a:p>
                <a:pPr marL="342900" indent="-342900">
                  <a:buAutoNum type="arabicPeriod" startAt="7"/>
                </a:pPr>
                <a:r>
                  <a:rPr lang="en-US" sz="1600" dirty="0">
                    <a:latin typeface="Verdana" panose="020B0604030504040204" pitchFamily="34" charset="0"/>
                    <a:ea typeface="Verdana" panose="020B0604030504040204" pitchFamily="34" charset="0"/>
                  </a:rPr>
                  <a:t>Energy lost in Metalloid Reactions(Fe</a:t>
                </a:r>
                <a:r>
                  <a:rPr lang="en-US" sz="1600" baseline="-25000" dirty="0">
                    <a:latin typeface="Verdana" panose="020B0604030504040204" pitchFamily="34" charset="0"/>
                    <a:ea typeface="Verdana" panose="020B0604030504040204" pitchFamily="34" charset="0"/>
                  </a:rPr>
                  <a:t>2</a:t>
                </a:r>
                <a:r>
                  <a:rPr lang="en-US" sz="1600" dirty="0">
                    <a:latin typeface="Verdana" panose="020B0604030504040204" pitchFamily="34" charset="0"/>
                    <a:ea typeface="Verdana" panose="020B0604030504040204" pitchFamily="34" charset="0"/>
                  </a:rPr>
                  <a:t>O</a:t>
                </a:r>
                <a:r>
                  <a:rPr lang="en-US" sz="1600" baseline="-25000" dirty="0">
                    <a:latin typeface="Verdana" panose="020B0604030504040204" pitchFamily="34" charset="0"/>
                    <a:ea typeface="Verdana" panose="020B0604030504040204" pitchFamily="34" charset="0"/>
                  </a:rPr>
                  <a:t>3</a:t>
                </a:r>
                <a:r>
                  <a:rPr lang="en-US" sz="1600" dirty="0">
                    <a:latin typeface="Verdana" panose="020B0604030504040204" pitchFamily="34" charset="0"/>
                    <a:ea typeface="Verdana" panose="020B0604030504040204" pitchFamily="34" charset="0"/>
                  </a:rPr>
                  <a:t> </a:t>
                </a:r>
                <a:r>
                  <a:rPr lang="en-US" sz="1600" dirty="0" smtClean="0">
                    <a:latin typeface="Verdana" panose="020B0604030504040204" pitchFamily="34" charset="0"/>
                    <a:ea typeface="Verdana" panose="020B0604030504040204" pitchFamily="34" charset="0"/>
                  </a:rPr>
                  <a:t>to </a:t>
                </a:r>
                <a:r>
                  <a:rPr lang="en-US" sz="1600" dirty="0">
                    <a:latin typeface="Verdana" panose="020B0604030504040204" pitchFamily="34" charset="0"/>
                    <a:ea typeface="Verdana" panose="020B0604030504040204" pitchFamily="34" charset="0"/>
                  </a:rPr>
                  <a:t>Fe, </a:t>
                </a:r>
                <a:r>
                  <a:rPr lang="en-US" sz="1600" dirty="0" smtClean="0">
                    <a:latin typeface="Verdana" panose="020B0604030504040204" pitchFamily="34" charset="0"/>
                    <a:ea typeface="Verdana" panose="020B0604030504040204" pitchFamily="34" charset="0"/>
                  </a:rPr>
                  <a:t>Mn</a:t>
                </a:r>
                <a:r>
                  <a:rPr lang="en-US" sz="1600" baseline="-25000" dirty="0" smtClean="0">
                    <a:latin typeface="Verdana" panose="020B0604030504040204" pitchFamily="34" charset="0"/>
                    <a:ea typeface="Verdana" panose="020B0604030504040204" pitchFamily="34" charset="0"/>
                  </a:rPr>
                  <a:t>2</a:t>
                </a:r>
                <a:r>
                  <a:rPr lang="en-US" sz="1600" dirty="0" smtClean="0">
                    <a:latin typeface="Verdana" panose="020B0604030504040204" pitchFamily="34" charset="0"/>
                    <a:ea typeface="Verdana" panose="020B0604030504040204" pitchFamily="34" charset="0"/>
                  </a:rPr>
                  <a:t>O</a:t>
                </a:r>
                <a:r>
                  <a:rPr lang="en-US" sz="1600" baseline="-25000" dirty="0" smtClean="0">
                    <a:latin typeface="Verdana" panose="020B0604030504040204" pitchFamily="34" charset="0"/>
                    <a:ea typeface="Verdana" panose="020B0604030504040204" pitchFamily="34" charset="0"/>
                  </a:rPr>
                  <a:t>3</a:t>
                </a:r>
                <a:r>
                  <a:rPr lang="en-US" sz="1600" dirty="0">
                    <a:latin typeface="Verdana" panose="020B0604030504040204" pitchFamily="34" charset="0"/>
                    <a:ea typeface="Verdana" panose="020B0604030504040204" pitchFamily="34" charset="0"/>
                  </a:rPr>
                  <a:t> </a:t>
                </a:r>
                <a:r>
                  <a:rPr lang="en-US" sz="1600" dirty="0" smtClean="0">
                    <a:latin typeface="Verdana" panose="020B0604030504040204" pitchFamily="34" charset="0"/>
                    <a:ea typeface="Verdana" panose="020B0604030504040204" pitchFamily="34" charset="0"/>
                  </a:rPr>
                  <a:t>to </a:t>
                </a:r>
                <a:r>
                  <a:rPr lang="en-US" sz="1600" dirty="0" err="1" smtClean="0">
                    <a:latin typeface="Verdana" panose="020B0604030504040204" pitchFamily="34" charset="0"/>
                    <a:ea typeface="Verdana" panose="020B0604030504040204" pitchFamily="34" charset="0"/>
                  </a:rPr>
                  <a:t>Mn</a:t>
                </a:r>
                <a:r>
                  <a:rPr lang="en-US" sz="1600" dirty="0" smtClean="0">
                    <a:latin typeface="Verdana" panose="020B0604030504040204" pitchFamily="34" charset="0"/>
                    <a:ea typeface="Verdana" panose="020B0604030504040204" pitchFamily="34" charset="0"/>
                  </a:rPr>
                  <a:t> and </a:t>
                </a:r>
                <a:r>
                  <a:rPr lang="en-US" sz="1600" dirty="0" err="1" smtClean="0">
                    <a:latin typeface="Verdana" panose="020B0604030504040204" pitchFamily="34" charset="0"/>
                    <a:ea typeface="Verdana" panose="020B0604030504040204" pitchFamily="34" charset="0"/>
                  </a:rPr>
                  <a:t>so..on</a:t>
                </a:r>
                <a:r>
                  <a:rPr lang="en-US" sz="1600" dirty="0" smtClean="0">
                    <a:latin typeface="Verdana" panose="020B0604030504040204" pitchFamily="34" charset="0"/>
                    <a:ea typeface="Verdana" panose="020B0604030504040204" pitchFamily="34" charset="0"/>
                  </a:rPr>
                  <a:t>.. n </a:t>
                </a:r>
                <a:r>
                  <a:rPr lang="en-US" sz="1600" dirty="0">
                    <a:latin typeface="Verdana" panose="020B0604030504040204" pitchFamily="34" charset="0"/>
                    <a:ea typeface="Verdana" panose="020B0604030504040204" pitchFamily="34" charset="0"/>
                  </a:rPr>
                  <a:t>Metals </a:t>
                </a:r>
                <a:r>
                  <a:rPr lang="en-US" sz="1600" dirty="0" err="1">
                    <a:latin typeface="Verdana" panose="020B0604030504040204" pitchFamily="34" charset="0"/>
                    <a:ea typeface="Verdana" panose="020B0604030504040204" pitchFamily="34" charset="0"/>
                  </a:rPr>
                  <a:t>etc</a:t>
                </a:r>
                <a:r>
                  <a:rPr lang="en-US" sz="1600" dirty="0">
                    <a:latin typeface="Verdana" panose="020B0604030504040204" pitchFamily="34" charset="0"/>
                    <a:ea typeface="Verdana" panose="020B0604030504040204" pitchFamily="34" charset="0"/>
                  </a:rPr>
                  <a:t>)</a:t>
                </a:r>
              </a:p>
              <a:p>
                <a:pPr/>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i="1" baseline="-25000">
                          <a:latin typeface="Cambria Math" panose="02040503050406030204" pitchFamily="18" charset="0"/>
                          <a:ea typeface="Verdana" panose="020B0604030504040204" pitchFamily="34" charset="0"/>
                        </a:rPr>
                        <m:t>𝑀𝑒𝑡𝑎𝑙𝑙𝑜𝑖𝑑</m:t>
                      </m:r>
                      <m:r>
                        <a:rPr lang="en-US" sz="1600" i="1">
                          <a:latin typeface="Cambria Math" panose="02040503050406030204" pitchFamily="18" charset="0"/>
                          <a:ea typeface="Verdana" panose="020B0604030504040204" pitchFamily="34" charset="0"/>
                        </a:rPr>
                        <m:t>=</m:t>
                      </m:r>
                      <m:r>
                        <m:rPr>
                          <m:sty m:val="p"/>
                        </m:rPr>
                        <a:rPr lang="el-GR" sz="1600" i="1">
                          <a:latin typeface="Cambria Math" panose="02040503050406030204" pitchFamily="18" charset="0"/>
                          <a:ea typeface="Verdana" panose="020B0604030504040204" pitchFamily="34" charset="0"/>
                        </a:rPr>
                        <m:t>Σ</m:t>
                      </m:r>
                      <m:r>
                        <m:rPr>
                          <m:sty m:val="p"/>
                        </m:rPr>
                        <a:rPr lang="en-US" sz="1600" baseline="-25000">
                          <a:latin typeface="Cambria Math" panose="02040503050406030204" pitchFamily="18" charset="0"/>
                          <a:ea typeface="Verdana" panose="020B0604030504040204" pitchFamily="34" charset="0"/>
                        </a:rPr>
                        <m:t>i</m:t>
                      </m:r>
                      <m:r>
                        <m:rPr>
                          <m:sty m:val="p"/>
                        </m:rPr>
                        <a:rPr lang="en-US" sz="1600" baseline="30000">
                          <a:latin typeface="Cambria Math" panose="02040503050406030204" pitchFamily="18" charset="0"/>
                          <a:ea typeface="Verdana" panose="020B0604030504040204" pitchFamily="34" charset="0"/>
                        </a:rPr>
                        <m:t>n</m:t>
                      </m:r>
                      <m:r>
                        <a:rPr lang="en-US" sz="1600" baseline="-25000">
                          <a:latin typeface="Cambria Math" panose="02040503050406030204" pitchFamily="18" charset="0"/>
                          <a:ea typeface="Verdana" panose="020B0604030504040204" pitchFamily="34" charset="0"/>
                        </a:rPr>
                        <m:t>=1</m:t>
                      </m:r>
                      <m:r>
                        <m:rPr>
                          <m:sty m:val="p"/>
                        </m:rPr>
                        <a:rPr lang="en-US" sz="1600">
                          <a:latin typeface="Cambria Math" panose="02040503050406030204" pitchFamily="18" charset="0"/>
                          <a:ea typeface="Verdana" panose="020B0604030504040204" pitchFamily="34" charset="0"/>
                        </a:rPr>
                        <m:t>Metal</m:t>
                      </m:r>
                      <m:r>
                        <m:rPr>
                          <m:sty m:val="p"/>
                        </m:rPr>
                        <a:rPr lang="en-US" sz="1600" baseline="-25000">
                          <a:latin typeface="Cambria Math" panose="02040503050406030204" pitchFamily="18" charset="0"/>
                          <a:ea typeface="Verdana" panose="020B0604030504040204" pitchFamily="34" charset="0"/>
                        </a:rPr>
                        <m:t>i</m:t>
                      </m:r>
                      <m:r>
                        <a:rPr lang="en-US" sz="1600" baseline="-25000">
                          <a:latin typeface="Cambria Math" panose="02040503050406030204" pitchFamily="18" charset="0"/>
                          <a:ea typeface="Verdana" panose="020B0604030504040204" pitchFamily="34" charset="0"/>
                        </a:rPr>
                        <m:t> % </m:t>
                      </m:r>
                      <m:r>
                        <m:rPr>
                          <m:sty m:val="p"/>
                        </m:rPr>
                        <a:rPr lang="en-US" sz="1600">
                          <a:latin typeface="Cambria Math" panose="02040503050406030204" pitchFamily="18" charset="0"/>
                          <a:ea typeface="Verdana" panose="020B0604030504040204" pitchFamily="34" charset="0"/>
                        </a:rPr>
                        <m:t>in</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Hot</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Metal</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Reduction</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Energy</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of</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Metali</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form</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its</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Oxide</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to</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Free</m:t>
                      </m:r>
                      <m:r>
                        <a:rPr lang="en-US" sz="1600">
                          <a:latin typeface="Cambria Math" panose="02040503050406030204" pitchFamily="18" charset="0"/>
                          <a:ea typeface="Verdana" panose="020B0604030504040204" pitchFamily="34" charset="0"/>
                        </a:rPr>
                        <m:t> </m:t>
                      </m:r>
                      <m:r>
                        <m:rPr>
                          <m:sty m:val="p"/>
                        </m:rPr>
                        <a:rPr lang="en-US" sz="1600">
                          <a:latin typeface="Cambria Math" panose="02040503050406030204" pitchFamily="18" charset="0"/>
                          <a:ea typeface="Verdana" panose="020B0604030504040204" pitchFamily="34" charset="0"/>
                        </a:rPr>
                        <m:t>State</m:t>
                      </m:r>
                    </m:oMath>
                  </m:oMathPara>
                </a14:m>
                <a:endParaRPr lang="en-US" sz="1600" dirty="0">
                  <a:latin typeface="Verdana" panose="020B0604030504040204" pitchFamily="34" charset="0"/>
                  <a:ea typeface="Verdana" panose="020B0604030504040204" pitchFamily="34" charset="0"/>
                </a:endParaRPr>
              </a:p>
              <a:p>
                <a:endParaRPr lang="en-US" sz="1600" dirty="0">
                  <a:latin typeface="Verdana" panose="020B0604030504040204" pitchFamily="34" charset="0"/>
                  <a:ea typeface="Verdana" panose="020B0604030504040204" pitchFamily="34" charset="0"/>
                </a:endParaRPr>
              </a:p>
              <a:p>
                <a:pPr marL="342900" indent="-342900">
                  <a:buAutoNum type="arabicPeriod" startAt="8"/>
                </a:pPr>
                <a:r>
                  <a:rPr lang="en-US" sz="1600" dirty="0">
                    <a:latin typeface="Verdana" panose="020B0604030504040204" pitchFamily="34" charset="0"/>
                    <a:ea typeface="Verdana" panose="020B0604030504040204" pitchFamily="34" charset="0"/>
                  </a:rPr>
                  <a:t>Energy generated from TRT-power generator </a:t>
                </a:r>
              </a:p>
              <a:p>
                <a:pPr/>
                <a14:m>
                  <m:oMathPara xmlns:m="http://schemas.openxmlformats.org/officeDocument/2006/math">
                    <m:oMathParaPr>
                      <m:jc m:val="left"/>
                    </m:oMathParaPr>
                    <m:oMath xmlns:m="http://schemas.openxmlformats.org/officeDocument/2006/math">
                      <m:r>
                        <a:rPr lang="en-US" sz="1600" i="1">
                          <a:latin typeface="Cambria Math" panose="02040503050406030204" pitchFamily="18" charset="0"/>
                          <a:ea typeface="Verdana" panose="020B0604030504040204" pitchFamily="34" charset="0"/>
                        </a:rPr>
                        <m:t>𝐸</m:t>
                      </m:r>
                      <m:r>
                        <a:rPr lang="en-US" sz="1600" i="1" baseline="-25000">
                          <a:latin typeface="Cambria Math" panose="02040503050406030204" pitchFamily="18" charset="0"/>
                          <a:ea typeface="Verdana" panose="020B0604030504040204" pitchFamily="34" charset="0"/>
                        </a:rPr>
                        <m:t>𝑇𝑅𝑇𝐺𝑒𝑛𝑒𝑟𝑎𝑡𝑜𝑟</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𝐸𝑛𝑒𝑟𝑔𝑦</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𝐺𝑒𝑛𝑒𝑟𝑎𝑡𝑒𝑑</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𝑏𝑦</m:t>
                      </m:r>
                      <m:r>
                        <a:rPr lang="en-US" sz="1600" i="1">
                          <a:latin typeface="Cambria Math" panose="02040503050406030204" pitchFamily="18" charset="0"/>
                          <a:ea typeface="Verdana" panose="020B0604030504040204" pitchFamily="34" charset="0"/>
                        </a:rPr>
                        <m:t> </m:t>
                      </m:r>
                      <m:r>
                        <a:rPr lang="en-US" sz="1600" i="1">
                          <a:latin typeface="Cambria Math" panose="02040503050406030204" pitchFamily="18" charset="0"/>
                          <a:ea typeface="Verdana" panose="020B0604030504040204" pitchFamily="34" charset="0"/>
                        </a:rPr>
                        <m:t>𝑇𝑅𝑇</m:t>
                      </m:r>
                      <m:r>
                        <a:rPr lang="en-US" sz="1600" i="1">
                          <a:latin typeface="Cambria Math" panose="02040503050406030204" pitchFamily="18" charset="0"/>
                          <a:ea typeface="Verdana" panose="020B0604030504040204" pitchFamily="34" charset="0"/>
                        </a:rPr>
                        <m:t>/</m:t>
                      </m:r>
                      <m:r>
                        <a:rPr lang="en-US" sz="1600" i="1">
                          <a:latin typeface="Cambria Math" panose="02040503050406030204" pitchFamily="18" charset="0"/>
                          <a:ea typeface="Verdana" panose="020B0604030504040204" pitchFamily="34" charset="0"/>
                        </a:rPr>
                        <m:t>𝐸𝑓𝑓𝑖𝑐𝑖𝑒𝑛𝑐𝑦</m:t>
                      </m:r>
                    </m:oMath>
                  </m:oMathPara>
                </a14:m>
                <a:endParaRPr lang="en-US" sz="1600" dirty="0">
                  <a:latin typeface="Verdana" panose="020B0604030504040204" pitchFamily="34" charset="0"/>
                  <a:ea typeface="Verdana" panose="020B0604030504040204" pitchFamily="34" charset="0"/>
                </a:endParaRPr>
              </a:p>
              <a:p>
                <a:endParaRPr lang="en-US" sz="1600" dirty="0" smtClean="0">
                  <a:latin typeface="Verdana" panose="020B0604030504040204" pitchFamily="34" charset="0"/>
                  <a:ea typeface="Verdana" panose="020B0604030504040204" pitchFamily="34" charset="0"/>
                </a:endParaRPr>
              </a:p>
              <a:p>
                <a:r>
                  <a:rPr lang="en-US" sz="2400" b="1" dirty="0" smtClean="0">
                    <a:solidFill>
                      <a:srgbClr val="003399"/>
                    </a:solidFill>
                    <a:latin typeface="Verdana" panose="020B0604030504040204" pitchFamily="34" charset="0"/>
                    <a:ea typeface="Verdana" panose="020B0604030504040204" pitchFamily="34" charset="0"/>
                  </a:rPr>
                  <a:t>                           (</a:t>
                </a:r>
                <a:r>
                  <a:rPr lang="en-US" sz="2400" b="1" dirty="0">
                    <a:solidFill>
                      <a:srgbClr val="003399"/>
                    </a:solidFill>
                    <a:latin typeface="Verdana" panose="020B0604030504040204" pitchFamily="34" charset="0"/>
                    <a:ea typeface="Verdana" panose="020B0604030504040204" pitchFamily="34" charset="0"/>
                  </a:rPr>
                  <a:t>Other Heat Losses</a:t>
                </a:r>
                <a:r>
                  <a:rPr lang="en-US" sz="2400" b="1" dirty="0" smtClean="0">
                    <a:solidFill>
                      <a:srgbClr val="003399"/>
                    </a:solidFill>
                    <a:latin typeface="Verdana" panose="020B0604030504040204" pitchFamily="34" charset="0"/>
                    <a:ea typeface="Verdana" panose="020B0604030504040204" pitchFamily="34" charset="0"/>
                  </a:rPr>
                  <a:t>)</a:t>
                </a:r>
              </a:p>
              <a:p>
                <a:endParaRPr lang="en-US" sz="1600" b="1" dirty="0" smtClean="0">
                  <a:solidFill>
                    <a:srgbClr val="003399"/>
                  </a:solidFill>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9. Energy lost in convection due to flow of steam around Blast Furnace lining</a:t>
                </a:r>
              </a:p>
              <a:p>
                <a:endParaRPr lang="en-US" sz="1600" dirty="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10. Kinetic </a:t>
                </a:r>
                <a:r>
                  <a:rPr lang="en-US" sz="1600" dirty="0">
                    <a:latin typeface="Verdana" panose="020B0604030504040204" pitchFamily="34" charset="0"/>
                    <a:ea typeface="Verdana" panose="020B0604030504040204" pitchFamily="34" charset="0"/>
                  </a:rPr>
                  <a:t>energy of the Hot metal flowing into the </a:t>
                </a:r>
                <a:r>
                  <a:rPr lang="en-US" sz="1600" dirty="0" smtClean="0">
                    <a:latin typeface="Verdana" panose="020B0604030504040204" pitchFamily="34" charset="0"/>
                    <a:ea typeface="Verdana" panose="020B0604030504040204" pitchFamily="34" charset="0"/>
                  </a:rPr>
                  <a:t>Torpedoes</a:t>
                </a:r>
                <a:endParaRPr lang="en-US" sz="1600" dirty="0">
                  <a:latin typeface="Verdana" panose="020B0604030504040204" pitchFamily="34" charset="0"/>
                  <a:ea typeface="Verdana" panose="020B0604030504040204" pitchFamily="34" charset="0"/>
                  <a:cs typeface="Calibri"/>
                </a:endParaRPr>
              </a:p>
            </p:txBody>
          </p:sp>
        </mc:Choice>
        <mc:Fallback xmlns="">
          <p:sp>
            <p:nvSpPr>
              <p:cNvPr id="2" name="Rectangle 1"/>
              <p:cNvSpPr>
                <a:spLocks noRot="1" noChangeAspect="1" noMove="1" noResize="1" noEditPoints="1" noAdjustHandles="1" noChangeArrowheads="1" noChangeShapeType="1" noTextEdit="1"/>
              </p:cNvSpPr>
              <p:nvPr/>
            </p:nvSpPr>
            <p:spPr>
              <a:xfrm>
                <a:off x="1163452" y="1138318"/>
                <a:ext cx="9793088" cy="3662541"/>
              </a:xfrm>
              <a:prstGeom prst="rect">
                <a:avLst/>
              </a:prstGeom>
              <a:blipFill>
                <a:blip r:embed="rId2"/>
                <a:stretch>
                  <a:fillRect/>
                </a:stretch>
              </a:blipFill>
              <a:ln w="28575">
                <a:solidFill>
                  <a:srgbClr val="1F497D"/>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5" name="Rectangle 4"/>
          <p:cNvSpPr/>
          <p:nvPr/>
        </p:nvSpPr>
        <p:spPr>
          <a:xfrm>
            <a:off x="3719736" y="55376"/>
            <a:ext cx="4968552" cy="461665"/>
          </a:xfrm>
          <a:prstGeom prst="rect">
            <a:avLst/>
          </a:prstGeom>
        </p:spPr>
        <p:txBody>
          <a:bodyPr wrap="square">
            <a:spAutoFit/>
          </a:bodyPr>
          <a:lstStyle/>
          <a:p>
            <a:r>
              <a:rPr lang="en-US" sz="2400" b="1" dirty="0">
                <a:solidFill>
                  <a:srgbClr val="003399"/>
                </a:solidFill>
                <a:latin typeface="Verdana" panose="020B0604030504040204" pitchFamily="34" charset="0"/>
                <a:ea typeface="Verdana" panose="020B0604030504040204" pitchFamily="34" charset="0"/>
              </a:rPr>
              <a:t>Output Energy </a:t>
            </a:r>
            <a:r>
              <a:rPr lang="en-US" sz="2400" b="1" dirty="0" smtClean="0">
                <a:solidFill>
                  <a:srgbClr val="003399"/>
                </a:solidFill>
                <a:latin typeface="Verdana" panose="020B0604030504040204" pitchFamily="34" charset="0"/>
                <a:ea typeface="Verdana" panose="020B0604030504040204" pitchFamily="34" charset="0"/>
              </a:rPr>
              <a:t>Calculations</a:t>
            </a:r>
            <a:endParaRPr lang="en-US" sz="2400" b="1" dirty="0">
              <a:solidFill>
                <a:srgbClr val="003399"/>
              </a:solidFill>
              <a:latin typeface="Verdana" panose="020B0604030504040204" pitchFamily="34" charset="0"/>
              <a:ea typeface="Verdana" panose="020B0604030504040204" pitchFamily="34" charset="0"/>
            </a:endParaRPr>
          </a:p>
        </p:txBody>
      </p:sp>
      <p:cxnSp>
        <p:nvCxnSpPr>
          <p:cNvPr id="6" name="Straight Connector 5"/>
          <p:cNvCxnSpPr/>
          <p:nvPr/>
        </p:nvCxnSpPr>
        <p:spPr>
          <a:xfrm flipH="1">
            <a:off x="3143672" y="516739"/>
            <a:ext cx="5832648" cy="23389"/>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9" name="Rectangle 8"/>
              <p:cNvSpPr/>
              <p:nvPr/>
            </p:nvSpPr>
            <p:spPr>
              <a:xfrm>
                <a:off x="1811524" y="5445224"/>
                <a:ext cx="8496944" cy="1151662"/>
              </a:xfrm>
              <a:prstGeom prst="rect">
                <a:avLst/>
              </a:prstGeom>
              <a:solidFill>
                <a:srgbClr val="E9EDF4"/>
              </a:solidFill>
              <a:ln w="28575">
                <a:solidFill>
                  <a:srgbClr val="002060"/>
                </a:solidFill>
              </a:ln>
              <a:effectLst>
                <a:outerShdw blurRad="50800" dist="38100" dir="2700000" algn="tl" rotWithShape="0">
                  <a:prstClr val="black">
                    <a:alpha val="40000"/>
                  </a:prstClr>
                </a:outerShdw>
              </a:effectLst>
            </p:spPr>
            <p:txBody>
              <a:bodyPr wrap="squar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ea typeface="Verdana" panose="020B0604030504040204" pitchFamily="34" charset="0"/>
                        </a:rPr>
                        <m:t>𝑇𝑜𝑡𝑎𝑙</m:t>
                      </m:r>
                      <m:r>
                        <a:rPr lang="en-US" i="1">
                          <a:latin typeface="Cambria Math" panose="02040503050406030204" pitchFamily="18" charset="0"/>
                          <a:ea typeface="Verdana" panose="020B0604030504040204" pitchFamily="34" charset="0"/>
                        </a:rPr>
                        <m:t> </m:t>
                      </m:r>
                      <m:r>
                        <a:rPr lang="en-US" i="1">
                          <a:latin typeface="Cambria Math" panose="02040503050406030204" pitchFamily="18" charset="0"/>
                          <a:ea typeface="Verdana" panose="020B0604030504040204" pitchFamily="34" charset="0"/>
                        </a:rPr>
                        <m:t>𝑂𝑢𝑡𝑝𝑢𝑡</m:t>
                      </m:r>
                      <m:r>
                        <a:rPr lang="en-US" i="1">
                          <a:latin typeface="Cambria Math" panose="02040503050406030204" pitchFamily="18" charset="0"/>
                          <a:ea typeface="Verdana" panose="020B0604030504040204" pitchFamily="34" charset="0"/>
                        </a:rPr>
                        <m:t> </m:t>
                      </m:r>
                      <m:r>
                        <a:rPr lang="en-US" i="1">
                          <a:latin typeface="Cambria Math" panose="02040503050406030204" pitchFamily="18" charset="0"/>
                          <a:ea typeface="Verdana" panose="020B0604030504040204" pitchFamily="34" charset="0"/>
                        </a:rPr>
                        <m:t>𝐸𝑛𝑒𝑟𝑔𝑦</m:t>
                      </m:r>
                      <m:r>
                        <a:rPr lang="en-US" i="1">
                          <a:latin typeface="Cambria Math" panose="02040503050406030204" pitchFamily="18" charset="0"/>
                          <a:ea typeface="Verdana" panose="020B0604030504040204" pitchFamily="34" charset="0"/>
                        </a:rPr>
                        <m:t>=</m:t>
                      </m:r>
                      <m:r>
                        <a:rPr lang="en-US" i="1">
                          <a:solidFill>
                            <a:srgbClr val="000000"/>
                          </a:solidFill>
                          <a:latin typeface="Cambria Math" panose="02040503050406030204" pitchFamily="18" charset="0"/>
                          <a:ea typeface="Verdana" panose="020B0604030504040204" pitchFamily="34" charset="0"/>
                        </a:rPr>
                        <m:t>𝐸</m:t>
                      </m:r>
                      <m:r>
                        <a:rPr lang="en-US" i="1" baseline="-25000">
                          <a:solidFill>
                            <a:srgbClr val="000000"/>
                          </a:solidFill>
                          <a:latin typeface="Cambria Math" panose="02040503050406030204" pitchFamily="18" charset="0"/>
                          <a:ea typeface="Verdana" panose="020B0604030504040204" pitchFamily="34" charset="0"/>
                        </a:rPr>
                        <m:t>𝐵𝐹</m:t>
                      </m:r>
                      <m:r>
                        <a:rPr lang="en-US" i="1" baseline="-25000">
                          <a:solidFill>
                            <a:srgbClr val="000000"/>
                          </a:solidFill>
                          <a:latin typeface="Cambria Math" panose="02040503050406030204" pitchFamily="18" charset="0"/>
                          <a:ea typeface="Verdana" panose="020B0604030504040204" pitchFamily="34" charset="0"/>
                        </a:rPr>
                        <m:t> </m:t>
                      </m:r>
                      <m:r>
                        <a:rPr lang="en-US" i="1" baseline="-25000">
                          <a:solidFill>
                            <a:srgbClr val="000000"/>
                          </a:solidFill>
                          <a:latin typeface="Cambria Math" panose="02040503050406030204" pitchFamily="18" charset="0"/>
                          <a:ea typeface="Verdana" panose="020B0604030504040204" pitchFamily="34" charset="0"/>
                        </a:rPr>
                        <m:t>𝐺𝑎𝑠</m:t>
                      </m:r>
                      <m:r>
                        <a:rPr lang="en-US">
                          <a:solidFill>
                            <a:srgbClr val="000000"/>
                          </a:solidFill>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m:t>
                      </m:r>
                      <m:r>
                        <a:rPr lang="en-US" i="1" baseline="-25000">
                          <a:latin typeface="Cambria Math" panose="02040503050406030204" pitchFamily="18" charset="0"/>
                          <a:ea typeface="Verdana" panose="020B0604030504040204" pitchFamily="34" charset="0"/>
                        </a:rPr>
                        <m:t>𝑇h𝑒𝑟𝑚𝑎𝑙</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𝑜𝑓</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𝐵𝐹𝐺𝑎𝑠</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𝐻</m:t>
                      </m:r>
                      <m:r>
                        <a:rPr lang="en-US" i="1" baseline="-25000">
                          <a:latin typeface="Cambria Math" panose="02040503050406030204" pitchFamily="18" charset="0"/>
                          <a:ea typeface="Verdana" panose="020B0604030504040204" pitchFamily="34" charset="0"/>
                        </a:rPr>
                        <m:t>𝑜𝑡</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𝑀𝑒𝑡𝑎𝑙</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𝑆</m:t>
                      </m:r>
                      <m:r>
                        <a:rPr lang="en-US" i="1" baseline="-25000">
                          <a:latin typeface="Cambria Math" panose="02040503050406030204" pitchFamily="18" charset="0"/>
                          <a:ea typeface="Verdana" panose="020B0604030504040204" pitchFamily="34" charset="0"/>
                        </a:rPr>
                        <m:t>𝑙𝑎𝑔</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𝐻</m:t>
                      </m:r>
                      <m:r>
                        <a:rPr lang="en-US" i="1" baseline="-25000">
                          <a:latin typeface="Cambria Math" panose="02040503050406030204" pitchFamily="18" charset="0"/>
                          <a:ea typeface="Verdana" panose="020B0604030504040204" pitchFamily="34" charset="0"/>
                        </a:rPr>
                        <m:t>𝑜𝑡</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𝑀𝑒𝑡𝑎𝑙</m:t>
                      </m:r>
                      <m:r>
                        <a:rPr lang="en-US" i="1" baseline="-25000">
                          <a:latin typeface="Cambria Math" panose="02040503050406030204" pitchFamily="18" charset="0"/>
                          <a:ea typeface="Verdana" panose="020B0604030504040204" pitchFamily="34" charset="0"/>
                        </a:rPr>
                        <m:t> </m:t>
                      </m:r>
                      <m:r>
                        <a:rPr lang="en-US" i="1" baseline="-25000">
                          <a:latin typeface="Cambria Math" panose="02040503050406030204" pitchFamily="18" charset="0"/>
                          <a:ea typeface="Verdana" panose="020B0604030504040204" pitchFamily="34" charset="0"/>
                        </a:rPr>
                        <m:t>𝐶𝑎𝑟𝑏𝑜𝑛</m:t>
                      </m:r>
                      <m:r>
                        <a:rPr lang="en-US" i="1">
                          <a:latin typeface="Cambria Math" panose="02040503050406030204" pitchFamily="18" charset="0"/>
                          <a:ea typeface="Verdana" panose="020B0604030504040204" pitchFamily="34" charset="0"/>
                        </a:rPr>
                        <m:t>+</m:t>
                      </m:r>
                      <m:r>
                        <a:rPr lang="en-US" i="1" baseline="-25000">
                          <a:latin typeface="Cambria Math" panose="02040503050406030204" pitchFamily="18" charset="0"/>
                          <a:ea typeface="Verdana" panose="020B0604030504040204" pitchFamily="34" charset="0"/>
                        </a:rPr>
                        <m:t>𝐸𝐷𝑢𝑠𝑡</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𝑀</m:t>
                      </m:r>
                      <m:r>
                        <a:rPr lang="en-US" i="1" baseline="-25000">
                          <a:latin typeface="Cambria Math" panose="02040503050406030204" pitchFamily="18" charset="0"/>
                          <a:ea typeface="Verdana" panose="020B0604030504040204" pitchFamily="34" charset="0"/>
                        </a:rPr>
                        <m:t>𝑒𝑡𝑎𝑙𝑙𝑜𝑖𝑑</m:t>
                      </m:r>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𝑇</m:t>
                      </m:r>
                      <m:r>
                        <a:rPr lang="en-US" i="1" baseline="-25000">
                          <a:latin typeface="Cambria Math" panose="02040503050406030204" pitchFamily="18" charset="0"/>
                          <a:ea typeface="Verdana" panose="020B0604030504040204" pitchFamily="34" charset="0"/>
                        </a:rPr>
                        <m:t>𝑅𝑇𝐺𝑒𝑛𝑒𝑟𝑎𝑡𝑜𝑟</m:t>
                      </m:r>
                      <m:r>
                        <a:rPr lang="en-US" i="1">
                          <a:latin typeface="Cambria Math" panose="02040503050406030204" pitchFamily="18" charset="0"/>
                          <a:ea typeface="Verdana" panose="020B0604030504040204" pitchFamily="34" charset="0"/>
                        </a:rPr>
                        <m:t>+</m:t>
                      </m:r>
                      <m:f>
                        <m:fPr>
                          <m:ctrlPr>
                            <a:rPr lang="en-US" i="1" baseline="-25000">
                              <a:latin typeface="Cambria Math" panose="02040503050406030204" pitchFamily="18" charset="0"/>
                              <a:ea typeface="Verdana" panose="020B0604030504040204" pitchFamily="34" charset="0"/>
                            </a:rPr>
                          </m:ctrlPr>
                        </m:fPr>
                        <m:num>
                          <m:r>
                            <a:rPr lang="en-US" i="1">
                              <a:latin typeface="Cambria Math" panose="02040503050406030204" pitchFamily="18" charset="0"/>
                              <a:ea typeface="Verdana" panose="020B0604030504040204" pitchFamily="34" charset="0"/>
                            </a:rPr>
                            <m:t>𝐸</m:t>
                          </m:r>
                          <m:r>
                            <a:rPr lang="en-US" i="1" baseline="-25000">
                              <a:latin typeface="Cambria Math" panose="02040503050406030204" pitchFamily="18" charset="0"/>
                              <a:ea typeface="Verdana" panose="020B0604030504040204" pitchFamily="34" charset="0"/>
                            </a:rPr>
                            <m:t>𝐶𝑜𝑛𝑣𝑒𝑐𝑡𝑖𝑜𝑛</m:t>
                          </m:r>
                        </m:num>
                        <m:den>
                          <m:r>
                            <a:rPr lang="en-US" i="1" baseline="-25000">
                              <a:latin typeface="Cambria Math" panose="02040503050406030204" pitchFamily="18" charset="0"/>
                              <a:ea typeface="Verdana" panose="020B0604030504040204" pitchFamily="34" charset="0"/>
                            </a:rPr>
                            <m:t>𝑅𝑎𝑑𝑖𝑎𝑡𝑜𝑛</m:t>
                          </m:r>
                        </m:den>
                      </m:f>
                      <m:r>
                        <a:rPr lang="en-US" i="1">
                          <a:latin typeface="Cambria Math" panose="02040503050406030204" pitchFamily="18" charset="0"/>
                          <a:ea typeface="Verdana" panose="020B0604030504040204" pitchFamily="34" charset="0"/>
                        </a:rPr>
                        <m:t>+</m:t>
                      </m:r>
                      <m:r>
                        <a:rPr lang="en-US" i="1">
                          <a:latin typeface="Cambria Math" panose="02040503050406030204" pitchFamily="18" charset="0"/>
                          <a:ea typeface="Verdana" panose="020B0604030504040204" pitchFamily="34" charset="0"/>
                        </a:rPr>
                        <m:t>𝐸𝐾</m:t>
                      </m:r>
                      <m:r>
                        <a:rPr lang="en-US" i="1" baseline="-25000">
                          <a:latin typeface="Cambria Math" panose="02040503050406030204" pitchFamily="18" charset="0"/>
                          <a:ea typeface="Verdana" panose="020B0604030504040204" pitchFamily="34" charset="0"/>
                        </a:rPr>
                        <m:t>𝑖𝑛𝑒𝑡𝑖𝑐𝑒𝑛𝑟𝑔𝑦</m:t>
                      </m:r>
                    </m:oMath>
                  </m:oMathPara>
                </a14:m>
                <a:endParaRPr lang="en-US" baseline="-25000" dirty="0">
                  <a:latin typeface="Verdana" panose="020B0604030504040204" pitchFamily="34" charset="0"/>
                  <a:ea typeface="Verdana" panose="020B0604030504040204" pitchFamily="34" charset="0"/>
                </a:endParaRPr>
              </a:p>
            </p:txBody>
          </p:sp>
        </mc:Choice>
        <mc:Fallback>
          <p:sp>
            <p:nvSpPr>
              <p:cNvPr id="9" name="Rectangle 8"/>
              <p:cNvSpPr>
                <a:spLocks noRot="1" noChangeAspect="1" noMove="1" noResize="1" noEditPoints="1" noAdjustHandles="1" noChangeArrowheads="1" noChangeShapeType="1" noTextEdit="1"/>
              </p:cNvSpPr>
              <p:nvPr/>
            </p:nvSpPr>
            <p:spPr>
              <a:xfrm>
                <a:off x="1811524" y="5445224"/>
                <a:ext cx="8496944" cy="1151662"/>
              </a:xfrm>
              <a:prstGeom prst="rect">
                <a:avLst/>
              </a:prstGeom>
              <a:blipFill>
                <a:blip r:embed="rId3"/>
                <a:stretch>
                  <a:fillRect/>
                </a:stretch>
              </a:blipFill>
              <a:ln w="28575">
                <a:solidFill>
                  <a:srgbClr val="002060"/>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10" name="Down Arrow 9"/>
          <p:cNvSpPr/>
          <p:nvPr/>
        </p:nvSpPr>
        <p:spPr>
          <a:xfrm>
            <a:off x="5807968" y="4869160"/>
            <a:ext cx="504056" cy="457881"/>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68415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39"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41" name="Group 40">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50" name="Rectangle 49">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51" name="Rectangle 50">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47" name="Rectangle 46">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BD038CF4-70F6-3ED5-A251-6593ED308A00}"/>
                </a:ext>
              </a:extLst>
            </p:cNvPr>
            <p:cNvGrpSpPr/>
            <p:nvPr/>
          </p:nvGrpSpPr>
          <p:grpSpPr>
            <a:xfrm>
              <a:off x="4228061" y="3886762"/>
              <a:ext cx="7518358" cy="720080"/>
              <a:chOff x="6489877" y="1395922"/>
              <a:chExt cx="5254820" cy="720080"/>
            </a:xfrm>
          </p:grpSpPr>
          <p:sp>
            <p:nvSpPr>
              <p:cNvPr id="44" name="Rectangle 43">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45" name="Rectangle 44">
                <a:extLst>
                  <a:ext uri="{FF2B5EF4-FFF2-40B4-BE49-F238E27FC236}">
                    <a16:creationId xmlns:a16="http://schemas.microsoft.com/office/drawing/2014/main" id="{3F2A70AE-41B4-A095-4210-6790B1CFE194}"/>
                  </a:ext>
                </a:extLst>
              </p:cNvPr>
              <p:cNvSpPr/>
              <p:nvPr/>
            </p:nvSpPr>
            <p:spPr>
              <a:xfrm>
                <a:off x="6715837" y="1395922"/>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8435E3-F308-7729-ABF6-EDAA951CEE6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3" name="Rectangle 5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54" name="Rectangle 5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57" name="Rectangle 5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60" name="Straight Connector 5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0396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
          </p:nvPr>
        </p:nvSpPr>
        <p:spPr>
          <a:xfrm>
            <a:off x="1636666" y="1063024"/>
            <a:ext cx="9348406" cy="492443"/>
          </a:xfrm>
        </p:spPr>
        <p:txBody>
          <a:bodyPr wrap="square" lIns="0" tIns="0" rIns="0" bIns="0" anchor="t">
            <a:spAutoFit/>
          </a:bodyPr>
          <a:lstStyle/>
          <a:p>
            <a:r>
              <a:rPr lang="en-US" sz="1600" dirty="0">
                <a:latin typeface="Verdana" panose="020B0604030504040204" pitchFamily="34" charset="0"/>
                <a:ea typeface="Verdana" panose="020B0604030504040204" pitchFamily="34" charset="0"/>
              </a:rPr>
              <a:t>From the Historical data of blast furnace input and output energies were calculated and their composition at different instances were </a:t>
            </a:r>
            <a:r>
              <a:rPr lang="en-US" sz="1600" dirty="0" smtClean="0">
                <a:latin typeface="Verdana" panose="020B0604030504040204" pitchFamily="34" charset="0"/>
                <a:ea typeface="Verdana" panose="020B0604030504040204" pitchFamily="34" charset="0"/>
              </a:rPr>
              <a:t>recorded</a:t>
            </a:r>
            <a:endParaRPr lang="en-US" sz="1600" dirty="0">
              <a:latin typeface="Verdana" panose="020B0604030504040204" pitchFamily="34" charset="0"/>
              <a:ea typeface="Verdana" panose="020B0604030504040204" pitchFamily="34" charset="0"/>
            </a:endParaRPr>
          </a:p>
        </p:txBody>
      </p:sp>
      <p:sp>
        <p:nvSpPr>
          <p:cNvPr id="5" name="Text Box 5"/>
          <p:cNvSpPr txBox="1">
            <a:spLocks noChangeArrowheads="1"/>
          </p:cNvSpPr>
          <p:nvPr/>
        </p:nvSpPr>
        <p:spPr bwMode="auto">
          <a:xfrm>
            <a:off x="3658339" y="239719"/>
            <a:ext cx="5305060" cy="892548"/>
          </a:xfrm>
          <a:prstGeom prst="rect">
            <a:avLst/>
          </a:prstGeom>
          <a:noFill/>
          <a:ln w="9525">
            <a:noFill/>
            <a:miter lim="800000"/>
            <a:headEnd/>
            <a:tailEnd/>
          </a:ln>
        </p:spPr>
        <p:txBody>
          <a:bodyPr wrap="square" lIns="91436" tIns="45718" rIns="91436" bIns="45718">
            <a:prstTxWarp prst="textNoShape">
              <a:avLst/>
            </a:prstTxWarp>
            <a:spAutoFit/>
          </a:bodyPr>
          <a:lstStyle/>
          <a:p>
            <a:r>
              <a:rPr lang="en-US" sz="2400" b="1" dirty="0">
                <a:solidFill>
                  <a:srgbClr val="003399"/>
                </a:solidFill>
                <a:latin typeface="Verdana" panose="020B0604030504040204" pitchFamily="34" charset="0"/>
                <a:ea typeface="Verdana" panose="020B0604030504040204" pitchFamily="34" charset="0"/>
              </a:rPr>
              <a:t>Input energy composition</a:t>
            </a:r>
          </a:p>
          <a:p>
            <a:endParaRPr lang="en-US" sz="2800" b="1" cap="all" dirty="0">
              <a:solidFill>
                <a:srgbClr val="17479E"/>
              </a:solidFill>
              <a:latin typeface="Verdana"/>
              <a:cs typeface="Verdana"/>
            </a:endParaRPr>
          </a:p>
        </p:txBody>
      </p:sp>
      <p:cxnSp>
        <p:nvCxnSpPr>
          <p:cNvPr id="6" name="Straight Connector 5"/>
          <p:cNvCxnSpPr/>
          <p:nvPr/>
        </p:nvCxnSpPr>
        <p:spPr>
          <a:xfrm rot="10800000">
            <a:off x="2460287" y="696987"/>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pic>
        <p:nvPicPr>
          <p:cNvPr id="1029" name="Picture 5" descr="https://lh7-us.googleusercontent.com/docsz/AD_4nXcXfJphBM_pEwccHmG3kPStLMwY_LMMBxQpRnP_asDZ7Df8CtAXwslGUvnlfe1OpLxagTY3FUM-vENkKkusrSzVK_0daKtectlEGDvwPPPUOe9QUXVYQJMrYTr8Zu9BeC5LwmMzCifmytnf8fW9HzqYpUX6?key=Cg6JX6Ow_yGyY40w41cFO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368" y="2708920"/>
            <a:ext cx="5472608" cy="3383897"/>
          </a:xfrm>
          <a:prstGeom prst="rect">
            <a:avLst/>
          </a:prstGeom>
          <a:noFill/>
          <a:extLst>
            <a:ext uri="{909E8E84-426E-40DD-AFC4-6F175D3DCCD1}">
              <a14:hiddenFill xmlns:a14="http://schemas.microsoft.com/office/drawing/2010/main">
                <a:solidFill>
                  <a:srgbClr val="FFFFFF"/>
                </a:solidFill>
              </a14:hiddenFill>
            </a:ext>
          </a:extLst>
        </p:spPr>
      </p:pic>
      <p:sp>
        <p:nvSpPr>
          <p:cNvPr id="10" name="Subtitle 2"/>
          <p:cNvSpPr txBox="1">
            <a:spLocks/>
          </p:cNvSpPr>
          <p:nvPr/>
        </p:nvSpPr>
        <p:spPr>
          <a:xfrm>
            <a:off x="6888088" y="1701306"/>
            <a:ext cx="3672408" cy="430887"/>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dirty="0">
                <a:latin typeface="Verdana" panose="020B0604030504040204" pitchFamily="34" charset="0"/>
                <a:ea typeface="Verdana" panose="020B0604030504040204" pitchFamily="34" charset="0"/>
              </a:rPr>
              <a:t>At Higher Input Energy</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Average energy: 3858442.951 Kcal/</a:t>
            </a:r>
            <a:r>
              <a:rPr lang="en-US" sz="1400" dirty="0" err="1">
                <a:latin typeface="Verdana" panose="020B0604030504040204" pitchFamily="34" charset="0"/>
                <a:ea typeface="Verdana" panose="020B0604030504040204" pitchFamily="34" charset="0"/>
              </a:rPr>
              <a:t>thm</a:t>
            </a:r>
            <a:endParaRPr lang="en-US" sz="1400" dirty="0">
              <a:latin typeface="Verdana" panose="020B0604030504040204" pitchFamily="34" charset="0"/>
              <a:ea typeface="Verdana" panose="020B0604030504040204" pitchFamily="34" charset="0"/>
              <a:cs typeface="Calibri"/>
            </a:endParaRPr>
          </a:p>
        </p:txBody>
      </p:sp>
      <p:pic>
        <p:nvPicPr>
          <p:cNvPr id="1031" name="Picture 7" descr="https://lh7-us.googleusercontent.com/docsz/AD_4nXfOGknqK2A3A_D3wqWKSDkaMx334xXLys9f0r6IEXBRd-OgbZ_ssTXL9sXiDxSA5Jkg-WfNzRyoOohhuasGK1MnC3YIfIk95GTHz4zwdgAFk8bVQWcOV9bUxASYs6jhSDNnTN5nkX-4IZ3-rc8E8EB0slfC?key=Cg6JX6Ow_yGyY40w41cFO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2024" y="2708920"/>
            <a:ext cx="5400600" cy="3339372"/>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txBox="1">
            <a:spLocks/>
          </p:cNvSpPr>
          <p:nvPr/>
        </p:nvSpPr>
        <p:spPr>
          <a:xfrm>
            <a:off x="1266342" y="1735017"/>
            <a:ext cx="3754660" cy="430887"/>
          </a:xfrm>
          <a:prstGeom prst="rect">
            <a:avLst/>
          </a:prstGeom>
          <a:solidFill>
            <a:srgbClr val="E9EDF4"/>
          </a:solidFill>
          <a:ln w="19050">
            <a:solidFill>
              <a:schemeClr val="tx1"/>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dirty="0">
                <a:latin typeface="Verdana" panose="020B0604030504040204" pitchFamily="34" charset="0"/>
                <a:ea typeface="Verdana" panose="020B0604030504040204" pitchFamily="34" charset="0"/>
              </a:rPr>
              <a:t>At Lower Input Energy</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Average  energy: 3609876.806 Kcal/</a:t>
            </a:r>
            <a:r>
              <a:rPr lang="en-US" sz="1400" dirty="0" err="1">
                <a:latin typeface="Verdana" panose="020B0604030504040204" pitchFamily="34" charset="0"/>
                <a:ea typeface="Verdana" panose="020B0604030504040204" pitchFamily="34" charset="0"/>
              </a:rPr>
              <a:t>thm</a:t>
            </a:r>
            <a:endParaRPr lang="en-US" sz="1400" dirty="0">
              <a:latin typeface="Verdana" panose="020B0604030504040204" pitchFamily="34" charset="0"/>
              <a:ea typeface="Verdana" panose="020B0604030504040204" pitchFamily="34" charset="0"/>
              <a:cs typeface="Calibri"/>
            </a:endParaRPr>
          </a:p>
        </p:txBody>
      </p:sp>
      <p:sp>
        <p:nvSpPr>
          <p:cNvPr id="4" name="Down Arrow 3"/>
          <p:cNvSpPr/>
          <p:nvPr/>
        </p:nvSpPr>
        <p:spPr>
          <a:xfrm>
            <a:off x="2927648" y="2227505"/>
            <a:ext cx="504056" cy="423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8573738" y="2208956"/>
            <a:ext cx="504056" cy="423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7624280"/>
      </p:ext>
    </p:extLst>
  </p:cSld>
  <p:clrMapOvr>
    <a:masterClrMapping/>
  </p:clrMapOvr>
  <p:transition spd="slow">
    <p:randomBar dir="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3575720" y="197244"/>
            <a:ext cx="5040560"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US" sz="2400" b="1" dirty="0">
                <a:solidFill>
                  <a:srgbClr val="003399"/>
                </a:solidFill>
                <a:latin typeface="Verdana" panose="020B0604030504040204" pitchFamily="34" charset="0"/>
                <a:ea typeface="Verdana" panose="020B0604030504040204" pitchFamily="34" charset="0"/>
              </a:rPr>
              <a:t>Output energy composition</a:t>
            </a:r>
          </a:p>
        </p:txBody>
      </p:sp>
      <p:cxnSp>
        <p:nvCxnSpPr>
          <p:cNvPr id="6" name="Straight Connector 5"/>
          <p:cNvCxnSpPr/>
          <p:nvPr/>
        </p:nvCxnSpPr>
        <p:spPr>
          <a:xfrm rot="10800000">
            <a:off x="2567608" y="675536"/>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10" name="Subtitle 2"/>
          <p:cNvSpPr txBox="1">
            <a:spLocks/>
          </p:cNvSpPr>
          <p:nvPr/>
        </p:nvSpPr>
        <p:spPr>
          <a:xfrm>
            <a:off x="6888088" y="1484784"/>
            <a:ext cx="3717100" cy="430887"/>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dirty="0">
                <a:latin typeface="Verdana" panose="020B0604030504040204" pitchFamily="34" charset="0"/>
                <a:ea typeface="Verdana" panose="020B0604030504040204" pitchFamily="34" charset="0"/>
              </a:rPr>
              <a:t>At Higher Input Energy</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Average Energy: </a:t>
            </a:r>
            <a:r>
              <a:rPr lang="en-US" sz="1400" dirty="0" smtClean="0">
                <a:latin typeface="Verdana" panose="020B0604030504040204" pitchFamily="34" charset="0"/>
                <a:ea typeface="Verdana" panose="020B0604030504040204" pitchFamily="34" charset="0"/>
              </a:rPr>
              <a:t>3858442.951</a:t>
            </a:r>
            <a:r>
              <a:rPr lang="en-US" sz="1400" dirty="0">
                <a:latin typeface="Verdana" panose="020B0604030504040204" pitchFamily="34" charset="0"/>
                <a:ea typeface="Verdana" panose="020B0604030504040204" pitchFamily="34" charset="0"/>
              </a:rPr>
              <a:t> Kcal/</a:t>
            </a:r>
            <a:r>
              <a:rPr lang="en-US" sz="1400" dirty="0" err="1">
                <a:latin typeface="Verdana" panose="020B0604030504040204" pitchFamily="34" charset="0"/>
                <a:ea typeface="Verdana" panose="020B0604030504040204" pitchFamily="34" charset="0"/>
              </a:rPr>
              <a:t>thm</a:t>
            </a:r>
            <a:endParaRPr lang="en-US" sz="1400" dirty="0">
              <a:latin typeface="Verdana" panose="020B0604030504040204" pitchFamily="34" charset="0"/>
              <a:ea typeface="Verdana" panose="020B0604030504040204" pitchFamily="34" charset="0"/>
              <a:cs typeface="Calibri"/>
            </a:endParaRPr>
          </a:p>
        </p:txBody>
      </p:sp>
      <p:sp>
        <p:nvSpPr>
          <p:cNvPr id="12" name="Subtitle 2"/>
          <p:cNvSpPr txBox="1">
            <a:spLocks/>
          </p:cNvSpPr>
          <p:nvPr/>
        </p:nvSpPr>
        <p:spPr>
          <a:xfrm>
            <a:off x="1199456" y="1484784"/>
            <a:ext cx="3868933" cy="430887"/>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400" dirty="0">
                <a:latin typeface="Verdana" panose="020B0604030504040204" pitchFamily="34" charset="0"/>
                <a:ea typeface="Verdana" panose="020B0604030504040204" pitchFamily="34" charset="0"/>
              </a:rPr>
              <a:t>At Lower Input Energy</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Average energy: </a:t>
            </a:r>
            <a:r>
              <a:rPr lang="en-US" sz="1400" dirty="0" smtClean="0">
                <a:latin typeface="Verdana" panose="020B0604030504040204" pitchFamily="34" charset="0"/>
                <a:ea typeface="Verdana" panose="020B0604030504040204" pitchFamily="34" charset="0"/>
              </a:rPr>
              <a:t>3609876.806</a:t>
            </a:r>
            <a:r>
              <a:rPr lang="en-US" sz="1400" dirty="0">
                <a:latin typeface="Verdana" panose="020B0604030504040204" pitchFamily="34" charset="0"/>
                <a:ea typeface="Verdana" panose="020B0604030504040204" pitchFamily="34" charset="0"/>
              </a:rPr>
              <a:t> </a:t>
            </a:r>
            <a:r>
              <a:rPr lang="en-US" sz="1400" dirty="0" smtClean="0">
                <a:latin typeface="Verdana" panose="020B0604030504040204" pitchFamily="34" charset="0"/>
                <a:ea typeface="Verdana" panose="020B0604030504040204" pitchFamily="34" charset="0"/>
              </a:rPr>
              <a:t> </a:t>
            </a:r>
            <a:r>
              <a:rPr lang="en-US" sz="1400" dirty="0">
                <a:latin typeface="Verdana" panose="020B0604030504040204" pitchFamily="34" charset="0"/>
                <a:ea typeface="Verdana" panose="020B0604030504040204" pitchFamily="34" charset="0"/>
              </a:rPr>
              <a:t>Kcal/</a:t>
            </a:r>
            <a:r>
              <a:rPr lang="en-US" sz="1400" dirty="0" err="1">
                <a:latin typeface="Verdana" panose="020B0604030504040204" pitchFamily="34" charset="0"/>
                <a:ea typeface="Verdana" panose="020B0604030504040204" pitchFamily="34" charset="0"/>
              </a:rPr>
              <a:t>thm</a:t>
            </a:r>
            <a:endParaRPr lang="en-US" sz="1400" dirty="0">
              <a:latin typeface="Verdana" panose="020B0604030504040204" pitchFamily="34" charset="0"/>
              <a:ea typeface="Verdana" panose="020B0604030504040204" pitchFamily="34" charset="0"/>
              <a:cs typeface="Calibri"/>
            </a:endParaRPr>
          </a:p>
        </p:txBody>
      </p:sp>
      <p:pic>
        <p:nvPicPr>
          <p:cNvPr id="2" name="Picture 1" descr="A pie chart with text&#10;&#10;Description automatically generated">
            <a:extLst>
              <a:ext uri="{FF2B5EF4-FFF2-40B4-BE49-F238E27FC236}">
                <a16:creationId xmlns:a16="http://schemas.microsoft.com/office/drawing/2014/main" id="{474E3B30-D614-895D-2420-9CC6E1B0AB2E}"/>
              </a:ext>
            </a:extLst>
          </p:cNvPr>
          <p:cNvPicPr>
            <a:picLocks noChangeAspect="1"/>
          </p:cNvPicPr>
          <p:nvPr/>
        </p:nvPicPr>
        <p:blipFill>
          <a:blip r:embed="rId2"/>
          <a:stretch>
            <a:fillRect/>
          </a:stretch>
        </p:blipFill>
        <p:spPr>
          <a:xfrm>
            <a:off x="673000" y="2360605"/>
            <a:ext cx="5173772" cy="3461889"/>
          </a:xfrm>
          <a:prstGeom prst="rect">
            <a:avLst/>
          </a:prstGeom>
        </p:spPr>
      </p:pic>
      <p:pic>
        <p:nvPicPr>
          <p:cNvPr id="7" name="Picture 6" descr="A pie chart with text&#10;&#10;Description automatically generated">
            <a:extLst>
              <a:ext uri="{FF2B5EF4-FFF2-40B4-BE49-F238E27FC236}">
                <a16:creationId xmlns:a16="http://schemas.microsoft.com/office/drawing/2014/main" id="{64F266FD-6B03-7D61-8E36-EBBCF52037EB}"/>
              </a:ext>
            </a:extLst>
          </p:cNvPr>
          <p:cNvPicPr>
            <a:picLocks noChangeAspect="1"/>
          </p:cNvPicPr>
          <p:nvPr/>
        </p:nvPicPr>
        <p:blipFill>
          <a:blip r:embed="rId3"/>
          <a:stretch>
            <a:fillRect/>
          </a:stretch>
        </p:blipFill>
        <p:spPr>
          <a:xfrm>
            <a:off x="6195958" y="2391927"/>
            <a:ext cx="5130955" cy="3418757"/>
          </a:xfrm>
          <a:prstGeom prst="rect">
            <a:avLst/>
          </a:prstGeom>
        </p:spPr>
      </p:pic>
      <p:sp>
        <p:nvSpPr>
          <p:cNvPr id="11" name="Down Arrow 10"/>
          <p:cNvSpPr/>
          <p:nvPr/>
        </p:nvSpPr>
        <p:spPr>
          <a:xfrm>
            <a:off x="2881894" y="1938592"/>
            <a:ext cx="504056" cy="423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8509407" y="1950507"/>
            <a:ext cx="504056" cy="423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97038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980728"/>
            <a:ext cx="3969876" cy="5232186"/>
          </a:xfrm>
          <a:prstGeom prst="rect">
            <a:avLst/>
          </a:prstGeom>
        </p:spPr>
      </p:pic>
      <mc:AlternateContent xmlns:mc="http://schemas.openxmlformats.org/markup-compatibility/2006">
        <mc:Choice xmlns:a14="http://schemas.microsoft.com/office/drawing/2010/main" Requires="a14">
          <p:sp>
            <p:nvSpPr>
              <p:cNvPr id="5" name="Rectangle 4"/>
              <p:cNvSpPr/>
              <p:nvPr/>
            </p:nvSpPr>
            <p:spPr>
              <a:xfrm>
                <a:off x="5231904" y="1196752"/>
                <a:ext cx="6096000" cy="4247317"/>
              </a:xfrm>
              <a:prstGeom prst="rect">
                <a:avLst/>
              </a:prstGeom>
              <a:solidFill>
                <a:srgbClr val="E9EDF4"/>
              </a:solidFill>
              <a:ln w="19050">
                <a:solidFill>
                  <a:schemeClr val="tx2"/>
                </a:solidFill>
              </a:ln>
            </p:spPr>
            <p:txBody>
              <a:bodyPr>
                <a:spAutoFit/>
              </a:bodyPr>
              <a:lstStyle/>
              <a:p>
                <a:r>
                  <a:rPr lang="en-US" dirty="0" smtClean="0"/>
                  <a:t>Water-cooled </a:t>
                </a:r>
                <a:r>
                  <a:rPr lang="en-US" dirty="0"/>
                  <a:t>blast furnace </a:t>
                </a:r>
                <a:r>
                  <a:rPr lang="en-US" dirty="0" smtClean="0"/>
                  <a:t>cooling element - </a:t>
                </a:r>
                <a:r>
                  <a:rPr lang="en-US" dirty="0"/>
                  <a:t>called a stave. These staves are attached to the inside of the blast furnace walls. Cooling staves can made from copper or cast iron. Their job is to maintain the </a:t>
                </a:r>
                <a:r>
                  <a:rPr lang="en-US" dirty="0" smtClean="0"/>
                  <a:t>structural </a:t>
                </a:r>
                <a:r>
                  <a:rPr lang="en-US" dirty="0"/>
                  <a:t>integrity of the furnace by cooling the walls. Cool water is pumped into, around, and out of a hollow flow pattern or pipe inside the stave - removing heat from the furnace wall. In service, the grooved interior face (left) is packed with refractory bricks. Many other water cooling shapes are used as </a:t>
                </a:r>
                <a:r>
                  <a:rPr lang="en-US" dirty="0" smtClean="0"/>
                  <a:t>needed</a:t>
                </a:r>
              </a:p>
              <a:p>
                <a:endParaRPr lang="en-US" dirty="0"/>
              </a:p>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𝐻𝑒𝑎𝑡</m:t>
                      </m:r>
                      <m:r>
                        <a:rPr lang="en-US" i="1">
                          <a:latin typeface="Cambria Math" panose="02040503050406030204" pitchFamily="18" charset="0"/>
                        </a:rPr>
                        <m:t> </m:t>
                      </m:r>
                      <m:r>
                        <a:rPr lang="en-US" i="1">
                          <a:latin typeface="Cambria Math" panose="02040503050406030204" pitchFamily="18" charset="0"/>
                        </a:rPr>
                        <m:t>𝐿𝑜𝑠𝑡</m:t>
                      </m:r>
                      <m:r>
                        <a:rPr lang="en-US" i="1">
                          <a:latin typeface="Cambria Math" panose="02040503050406030204" pitchFamily="18" charset="0"/>
                        </a:rPr>
                        <m:t> </m:t>
                      </m:r>
                      <m:r>
                        <a:rPr lang="en-US" i="1">
                          <a:latin typeface="Cambria Math" panose="02040503050406030204" pitchFamily="18" charset="0"/>
                        </a:rPr>
                        <m:t>𝑇h𝑟𝑜𝑢𝑔h</m:t>
                      </m:r>
                      <m:r>
                        <a:rPr lang="en-US" i="1">
                          <a:latin typeface="Cambria Math" panose="02040503050406030204" pitchFamily="18" charset="0"/>
                        </a:rPr>
                        <m:t> </m:t>
                      </m:r>
                      <m:r>
                        <a:rPr lang="en-US" i="1">
                          <a:latin typeface="Cambria Math" panose="02040503050406030204" pitchFamily="18" charset="0"/>
                        </a:rPr>
                        <m:t>𝐶𝑜𝑛𝑣𝑒𝑐𝑡𝑖𝑜𝑛</m:t>
                      </m:r>
                      <m:r>
                        <a:rPr lang="en-US" i="1">
                          <a:latin typeface="Cambria Math" panose="02040503050406030204" pitchFamily="18" charset="0"/>
                        </a:rPr>
                        <m:t>=</m:t>
                      </m:r>
                    </m:oMath>
                  </m:oMathPara>
                </a14:m>
                <a:endParaRPr lang="en-US"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𝑊𝑒𝑖𝑔h𝑡</m:t>
                      </m:r>
                      <m:r>
                        <a:rPr lang="en-US" i="1">
                          <a:latin typeface="Cambria Math" panose="02040503050406030204" pitchFamily="18" charset="0"/>
                        </a:rPr>
                        <m:t> </m:t>
                      </m:r>
                      <m:r>
                        <a:rPr lang="en-US" i="1">
                          <a:latin typeface="Cambria Math" panose="02040503050406030204" pitchFamily="18" charset="0"/>
                        </a:rPr>
                        <m:t>𝑜𝑓</m:t>
                      </m:r>
                      <m:r>
                        <a:rPr lang="en-US" i="1">
                          <a:latin typeface="Cambria Math" panose="02040503050406030204" pitchFamily="18" charset="0"/>
                        </a:rPr>
                        <m:t> </m:t>
                      </m:r>
                      <m:r>
                        <a:rPr lang="en-US" i="1">
                          <a:latin typeface="Cambria Math" panose="02040503050406030204" pitchFamily="18" charset="0"/>
                        </a:rPr>
                        <m:t>𝑆𝑡𝑒𝑎𝑚</m:t>
                      </m:r>
                      <m:r>
                        <a:rPr lang="en-US" i="1">
                          <a:latin typeface="Cambria Math" panose="02040503050406030204" pitchFamily="18" charset="0"/>
                        </a:rPr>
                        <m:t>∗</m:t>
                      </m:r>
                      <m:r>
                        <a:rPr lang="en-US" i="1">
                          <a:latin typeface="Cambria Math" panose="02040503050406030204" pitchFamily="18" charset="0"/>
                        </a:rPr>
                        <m:t>𝑆𝑝𝑒𝑐𝑖𝑓𝑖𝑐</m:t>
                      </m:r>
                      <m:r>
                        <a:rPr lang="en-US" i="1">
                          <a:latin typeface="Cambria Math" panose="02040503050406030204" pitchFamily="18" charset="0"/>
                        </a:rPr>
                        <m:t> </m:t>
                      </m:r>
                      <m:r>
                        <a:rPr lang="en-US" i="1">
                          <a:latin typeface="Cambria Math" panose="02040503050406030204" pitchFamily="18" charset="0"/>
                        </a:rPr>
                        <m:t>h𝑒𝑎𝑡</m:t>
                      </m:r>
                      <m:r>
                        <a:rPr lang="en-US" i="1">
                          <a:latin typeface="Cambria Math" panose="02040503050406030204" pitchFamily="18" charset="0"/>
                        </a:rPr>
                        <m:t> </m:t>
                      </m:r>
                      <m:r>
                        <a:rPr lang="en-US" i="1">
                          <a:latin typeface="Cambria Math" panose="02040503050406030204" pitchFamily="18" charset="0"/>
                        </a:rPr>
                        <m:t>𝑜𝑓</m:t>
                      </m:r>
                      <m:r>
                        <a:rPr lang="en-US" i="1">
                          <a:latin typeface="Cambria Math" panose="02040503050406030204" pitchFamily="18" charset="0"/>
                        </a:rPr>
                        <m:t> </m:t>
                      </m:r>
                      <m:r>
                        <a:rPr lang="en-US" i="1">
                          <a:latin typeface="Cambria Math" panose="02040503050406030204" pitchFamily="18" charset="0"/>
                        </a:rPr>
                        <m:t>𝑠𝑡𝑒𝑎𝑚</m:t>
                      </m:r>
                    </m:oMath>
                  </m:oMathPara>
                </a14:m>
                <a:endParaRPr lang="en-US"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a:latin typeface="Cambria Math" panose="02040503050406030204" pitchFamily="18" charset="0"/>
                        </a:rPr>
                        <m:t>∗(</m:t>
                      </m:r>
                      <m:r>
                        <m:rPr>
                          <m:sty m:val="p"/>
                        </m:rPr>
                        <a:rPr lang="en-US">
                          <a:latin typeface="Cambria Math" panose="02040503050406030204" pitchFamily="18" charset="0"/>
                        </a:rPr>
                        <m:t>Outlet</m:t>
                      </m:r>
                      <m:r>
                        <a:rPr lang="en-US">
                          <a:latin typeface="Cambria Math" panose="02040503050406030204" pitchFamily="18" charset="0"/>
                        </a:rPr>
                        <m:t> </m:t>
                      </m:r>
                      <m:r>
                        <m:rPr>
                          <m:sty m:val="p"/>
                        </m:rPr>
                        <a:rPr lang="en-US">
                          <a:latin typeface="Cambria Math" panose="02040503050406030204" pitchFamily="18" charset="0"/>
                        </a:rPr>
                        <m:t>temperature</m:t>
                      </m:r>
                      <m:r>
                        <a:rPr lang="en-US">
                          <a:latin typeface="Cambria Math" panose="02040503050406030204" pitchFamily="18" charset="0"/>
                        </a:rPr>
                        <m:t>−</m:t>
                      </m:r>
                      <m:r>
                        <m:rPr>
                          <m:sty m:val="p"/>
                        </m:rPr>
                        <a:rPr lang="en-US">
                          <a:latin typeface="Cambria Math" panose="02040503050406030204" pitchFamily="18" charset="0"/>
                        </a:rPr>
                        <m:t>Inlet</m:t>
                      </m:r>
                      <m:r>
                        <a:rPr lang="en-US">
                          <a:latin typeface="Cambria Math" panose="02040503050406030204" pitchFamily="18" charset="0"/>
                        </a:rPr>
                        <m:t> </m:t>
                      </m:r>
                      <m:r>
                        <m:rPr>
                          <m:sty m:val="p"/>
                        </m:rPr>
                        <a:rPr lang="en-US">
                          <a:latin typeface="Cambria Math" panose="02040503050406030204" pitchFamily="18" charset="0"/>
                        </a:rPr>
                        <m:t>temperature</m:t>
                      </m:r>
                      <m:r>
                        <a:rPr lang="en-US">
                          <a:latin typeface="Cambria Math" panose="02040503050406030204" pitchFamily="18" charset="0"/>
                        </a:rPr>
                        <m:t>)</m:t>
                      </m:r>
                    </m:oMath>
                  </m:oMathPara>
                </a14:m>
                <a:endParaRPr lang="en-US" dirty="0" smtClean="0"/>
              </a:p>
              <a:p>
                <a:pPr/>
                <a:endParaRPr lang="en-US" dirty="0"/>
              </a:p>
              <a:p>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𝐻𝑒𝑎𝑡</m:t>
                      </m:r>
                      <m:r>
                        <a:rPr lang="en-US" i="1">
                          <a:latin typeface="Cambria Math" panose="02040503050406030204" pitchFamily="18" charset="0"/>
                        </a:rPr>
                        <m:t> </m:t>
                      </m:r>
                      <m:r>
                        <a:rPr lang="en-US" i="1">
                          <a:latin typeface="Cambria Math" panose="02040503050406030204" pitchFamily="18" charset="0"/>
                        </a:rPr>
                        <m:t>𝐿𝑜𝑠𝑡</m:t>
                      </m:r>
                      <m:r>
                        <a:rPr lang="en-US" i="1">
                          <a:latin typeface="Cambria Math" panose="02040503050406030204" pitchFamily="18" charset="0"/>
                        </a:rPr>
                        <m:t> </m:t>
                      </m:r>
                      <m:r>
                        <a:rPr lang="en-US" i="1">
                          <a:latin typeface="Cambria Math" panose="02040503050406030204" pitchFamily="18" charset="0"/>
                        </a:rPr>
                        <m:t>𝑇h𝑟𝑜𝑢𝑔h</m:t>
                      </m:r>
                      <m:r>
                        <a:rPr lang="en-US" i="1">
                          <a:latin typeface="Cambria Math" panose="02040503050406030204" pitchFamily="18" charset="0"/>
                        </a:rPr>
                        <m:t> </m:t>
                      </m:r>
                      <m:r>
                        <a:rPr lang="en-US" i="1">
                          <a:latin typeface="Cambria Math" panose="02040503050406030204" pitchFamily="18" charset="0"/>
                        </a:rPr>
                        <m:t>𝑅𝑎𝑑𝑖𝑎𝑡𝑜𝑛</m:t>
                      </m:r>
                      <m:r>
                        <a:rPr lang="en-US" i="1">
                          <a:latin typeface="Cambria Math" panose="02040503050406030204" pitchFamily="18" charset="0"/>
                        </a:rPr>
                        <m:t>=</m:t>
                      </m:r>
                      <m:r>
                        <m:rPr>
                          <m:sty m:val="p"/>
                        </m:rPr>
                        <a:rPr lang="en-US" dirty="0">
                          <a:latin typeface="Cambria Math" panose="02040503050406030204" pitchFamily="18" charset="0"/>
                        </a:rPr>
                        <m:t>σ</m:t>
                      </m:r>
                      <m:r>
                        <m:rPr>
                          <m:sty m:val="p"/>
                        </m:rPr>
                        <a:rPr lang="en-US" i="1" dirty="0">
                          <a:latin typeface="Cambria Math" panose="02040503050406030204" pitchFamily="18" charset="0"/>
                        </a:rPr>
                        <m:t>eA</m:t>
                      </m:r>
                      <m:r>
                        <a:rPr lang="en-US" i="1" dirty="0">
                          <a:latin typeface="Cambria Math" panose="02040503050406030204" pitchFamily="18" charset="0"/>
                        </a:rPr>
                        <m:t>(</m:t>
                      </m:r>
                      <m:r>
                        <a:rPr lang="en-US" i="1" dirty="0">
                          <a:latin typeface="Cambria Math" panose="02040503050406030204" pitchFamily="18" charset="0"/>
                        </a:rPr>
                        <m:t>𝑇</m:t>
                      </m:r>
                      <m:r>
                        <a:rPr lang="en-US" i="1" baseline="30000" dirty="0">
                          <a:latin typeface="Cambria Math" panose="02040503050406030204" pitchFamily="18" charset="0"/>
                        </a:rPr>
                        <m:t>4</m:t>
                      </m:r>
                      <m:r>
                        <a:rPr lang="en-US" i="1" dirty="0">
                          <a:latin typeface="Cambria Math" panose="02040503050406030204" pitchFamily="18" charset="0"/>
                        </a:rPr>
                        <m:t>−</m:t>
                      </m:r>
                      <m:r>
                        <a:rPr lang="en-US" i="1" dirty="0">
                          <a:latin typeface="Cambria Math" panose="02040503050406030204" pitchFamily="18" charset="0"/>
                        </a:rPr>
                        <m:t>𝑇𝑜</m:t>
                      </m:r>
                      <m:r>
                        <a:rPr lang="en-US" i="1" baseline="30000" dirty="0">
                          <a:latin typeface="Cambria Math" panose="02040503050406030204" pitchFamily="18" charset="0"/>
                        </a:rPr>
                        <m:t>4</m:t>
                      </m:r>
                      <m:r>
                        <a:rPr lang="en-US" i="1" dirty="0">
                          <a:latin typeface="Cambria Math" panose="02040503050406030204" pitchFamily="18" charset="0"/>
                        </a:rPr>
                        <m:t>)</m:t>
                      </m:r>
                    </m:oMath>
                  </m:oMathPara>
                </a14:m>
                <a:endParaRPr lang="en-US" i="1" dirty="0">
                  <a:latin typeface="Cambria Math" panose="02040503050406030204" pitchFamily="18" charset="0"/>
                </a:endParaRPr>
              </a:p>
            </p:txBody>
          </p:sp>
        </mc:Choice>
        <mc:Fallback>
          <p:sp>
            <p:nvSpPr>
              <p:cNvPr id="5" name="Rectangle 4"/>
              <p:cNvSpPr>
                <a:spLocks noRot="1" noChangeAspect="1" noMove="1" noResize="1" noEditPoints="1" noAdjustHandles="1" noChangeArrowheads="1" noChangeShapeType="1" noTextEdit="1"/>
              </p:cNvSpPr>
              <p:nvPr/>
            </p:nvSpPr>
            <p:spPr>
              <a:xfrm>
                <a:off x="5231904" y="1196752"/>
                <a:ext cx="6096000" cy="4247317"/>
              </a:xfrm>
              <a:prstGeom prst="rect">
                <a:avLst/>
              </a:prstGeom>
              <a:blipFill>
                <a:blip r:embed="rId3"/>
                <a:stretch>
                  <a:fillRect l="-698" t="-571" r="-1196" b="-143"/>
                </a:stretch>
              </a:blipFill>
              <a:ln w="19050">
                <a:solidFill>
                  <a:schemeClr val="tx2"/>
                </a:solidFill>
              </a:ln>
            </p:spPr>
            <p:txBody>
              <a:bodyPr/>
              <a:lstStyle/>
              <a:p>
                <a:r>
                  <a:rPr lang="en-US">
                    <a:noFill/>
                  </a:rPr>
                  <a:t> </a:t>
                </a:r>
              </a:p>
            </p:txBody>
          </p:sp>
        </mc:Fallback>
      </mc:AlternateContent>
      <p:sp>
        <p:nvSpPr>
          <p:cNvPr id="7" name="Rectangle 6"/>
          <p:cNvSpPr/>
          <p:nvPr/>
        </p:nvSpPr>
        <p:spPr>
          <a:xfrm>
            <a:off x="4295800" y="188640"/>
            <a:ext cx="4628190" cy="461665"/>
          </a:xfrm>
          <a:prstGeom prst="rect">
            <a:avLst/>
          </a:prstGeom>
        </p:spPr>
        <p:txBody>
          <a:bodyPr wrap="none">
            <a:spAutoFit/>
          </a:bodyPr>
          <a:lstStyle/>
          <a:p>
            <a:r>
              <a:rPr lang="en-US" sz="2400" b="1" dirty="0" smtClean="0">
                <a:solidFill>
                  <a:srgbClr val="003399"/>
                </a:solidFill>
                <a:latin typeface="Verdana" panose="020B0604030504040204" pitchFamily="34" charset="0"/>
                <a:ea typeface="Verdana" panose="020B0604030504040204" pitchFamily="34" charset="0"/>
              </a:rPr>
              <a:t>Unaccounted Heat losses </a:t>
            </a:r>
            <a:endParaRPr lang="en-US" sz="2400" dirty="0"/>
          </a:p>
        </p:txBody>
      </p:sp>
      <p:cxnSp>
        <p:nvCxnSpPr>
          <p:cNvPr id="8" name="Straight Connector 7"/>
          <p:cNvCxnSpPr/>
          <p:nvPr/>
        </p:nvCxnSpPr>
        <p:spPr>
          <a:xfrm flipH="1">
            <a:off x="4079776" y="650305"/>
            <a:ext cx="4844214"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13" name="Left Arrow 12"/>
          <p:cNvSpPr/>
          <p:nvPr/>
        </p:nvSpPr>
        <p:spPr>
          <a:xfrm>
            <a:off x="4223792" y="2996952"/>
            <a:ext cx="504056" cy="432048"/>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23292" y="6358670"/>
            <a:ext cx="6631046" cy="369332"/>
          </a:xfrm>
          <a:prstGeom prst="rect">
            <a:avLst/>
          </a:prstGeom>
        </p:spPr>
        <p:txBody>
          <a:bodyPr wrap="none">
            <a:spAutoFit/>
          </a:bodyPr>
          <a:lstStyle/>
          <a:p>
            <a:r>
              <a:rPr lang="en-US" dirty="0" smtClean="0"/>
              <a:t>*Source : blast-furnace-ironmaking-analysis-control-and-optimization</a:t>
            </a:r>
            <a:endParaRPr lang="en-US" dirty="0"/>
          </a:p>
        </p:txBody>
      </p:sp>
    </p:spTree>
    <p:extLst>
      <p:ext uri="{BB962C8B-B14F-4D97-AF65-F5344CB8AC3E}">
        <p14:creationId xmlns:p14="http://schemas.microsoft.com/office/powerpoint/2010/main" val="25463580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extLst>
              <p:ext uri="{D42A27DB-BD31-4B8C-83A1-F6EECF244321}">
                <p14:modId xmlns:p14="http://schemas.microsoft.com/office/powerpoint/2010/main" val="2384122037"/>
              </p:ext>
            </p:extLst>
          </p:nvPr>
        </p:nvGraphicFramePr>
        <p:xfrm>
          <a:off x="983432" y="1268760"/>
          <a:ext cx="10441160" cy="3240360"/>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2639616" y="260648"/>
            <a:ext cx="7920880" cy="461665"/>
          </a:xfrm>
          <a:prstGeom prst="rect">
            <a:avLst/>
          </a:prstGeom>
        </p:spPr>
        <p:txBody>
          <a:bodyPr wrap="square">
            <a:spAutoFit/>
          </a:bodyPr>
          <a:lstStyle/>
          <a:p>
            <a:pPr algn="ctr">
              <a:defRPr sz="2128" b="1" i="0" u="none" strike="noStrike" kern="1200" baseline="0">
                <a:solidFill>
                  <a:prstClr val="black">
                    <a:lumMod val="65000"/>
                    <a:lumOff val="35000"/>
                  </a:prstClr>
                </a:solidFill>
                <a:latin typeface="+mn-lt"/>
                <a:ea typeface="+mn-ea"/>
                <a:cs typeface="+mn-cs"/>
              </a:defRPr>
            </a:pPr>
            <a:r>
              <a:rPr lang="en-US" sz="2400" b="1" dirty="0">
                <a:solidFill>
                  <a:srgbClr val="003399"/>
                </a:solidFill>
                <a:latin typeface="Verdana" panose="020B0604030504040204" pitchFamily="34" charset="0"/>
                <a:ea typeface="Verdana" panose="020B0604030504040204" pitchFamily="34" charset="0"/>
              </a:rPr>
              <a:t>Input and Output Energies of Blast Furnace </a:t>
            </a:r>
          </a:p>
        </p:txBody>
      </p:sp>
      <p:cxnSp>
        <p:nvCxnSpPr>
          <p:cNvPr id="5" name="Straight Connector 4"/>
          <p:cNvCxnSpPr/>
          <p:nvPr/>
        </p:nvCxnSpPr>
        <p:spPr>
          <a:xfrm flipH="1">
            <a:off x="2423592" y="722313"/>
            <a:ext cx="8208912"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135898" y="4869160"/>
            <a:ext cx="8928316" cy="646331"/>
          </a:xfrm>
          <a:prstGeom prst="rect">
            <a:avLst/>
          </a:prstGeom>
        </p:spPr>
        <p:txBody>
          <a:bodyPr wrap="square">
            <a:spAutoFit/>
          </a:bodyPr>
          <a:lstStyle/>
          <a:p>
            <a:r>
              <a:rPr lang="en-US" dirty="0" smtClean="0">
                <a:latin typeface="Verdana" panose="020B0604030504040204" pitchFamily="34" charset="0"/>
                <a:ea typeface="Verdana" panose="020B0604030504040204" pitchFamily="34" charset="0"/>
              </a:rPr>
              <a:t>The calculated output energy accounts for 70% of input energy and remaining 30% of input energy is unaccounted energy loss</a:t>
            </a:r>
            <a:endParaRPr lang="en-US" dirty="0"/>
          </a:p>
        </p:txBody>
      </p:sp>
    </p:spTree>
    <p:extLst>
      <p:ext uri="{BB962C8B-B14F-4D97-AF65-F5344CB8AC3E}">
        <p14:creationId xmlns:p14="http://schemas.microsoft.com/office/powerpoint/2010/main" val="25752150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39"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41" name="Group 40">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50" name="Rectangle 49">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51" name="Rectangle 50">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47" name="Rectangle 46">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BD038CF4-70F6-3ED5-A251-6593ED308A00}"/>
                </a:ext>
              </a:extLst>
            </p:cNvPr>
            <p:cNvGrpSpPr/>
            <p:nvPr/>
          </p:nvGrpSpPr>
          <p:grpSpPr>
            <a:xfrm>
              <a:off x="4228061" y="3886762"/>
              <a:ext cx="7518358" cy="720080"/>
              <a:chOff x="6489877" y="1395922"/>
              <a:chExt cx="5254820" cy="720080"/>
            </a:xfrm>
          </p:grpSpPr>
          <p:sp>
            <p:nvSpPr>
              <p:cNvPr id="44" name="Rectangle 43">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45" name="Rectangle 44">
                <a:extLst>
                  <a:ext uri="{FF2B5EF4-FFF2-40B4-BE49-F238E27FC236}">
                    <a16:creationId xmlns:a16="http://schemas.microsoft.com/office/drawing/2014/main" id="{3F2A70AE-41B4-A095-4210-6790B1CFE194}"/>
                  </a:ext>
                </a:extLst>
              </p:cNvPr>
              <p:cNvSpPr/>
              <p:nvPr/>
            </p:nvSpPr>
            <p:spPr>
              <a:xfrm>
                <a:off x="6715837" y="1395922"/>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8435E3-F308-7729-ABF6-EDAA951CEE6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3" name="Rectangle 5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54" name="Rectangle 5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rgbClr val="1F497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57" name="Rectangle 5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60" name="Straight Connector 5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8034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a:spLocks noGrp="1"/>
          </p:cNvSpPr>
          <p:nvPr>
            <p:ph type="subTitle" idx="4"/>
          </p:nvPr>
        </p:nvSpPr>
        <p:spPr>
          <a:xfrm>
            <a:off x="2999656" y="188640"/>
            <a:ext cx="7685873" cy="369332"/>
          </a:xfrm>
        </p:spPr>
        <p:txBody>
          <a:bodyPr wrap="square" lIns="0" tIns="0" rIns="0" bIns="0" anchor="t">
            <a:spAutoFit/>
          </a:bodyPr>
          <a:lstStyle/>
          <a:p>
            <a:pPr rtl="0"/>
            <a:r>
              <a:rPr lang="en-US" sz="2400" b="1" kern="1200" dirty="0">
                <a:solidFill>
                  <a:srgbClr val="003399"/>
                </a:solidFill>
                <a:latin typeface="Verdana" panose="020B0604030504040204" pitchFamily="34" charset="0"/>
                <a:ea typeface="Verdana" panose="020B0604030504040204" pitchFamily="34" charset="0"/>
              </a:rPr>
              <a:t>Model1: Data training and Prediction Model</a:t>
            </a:r>
          </a:p>
        </p:txBody>
      </p:sp>
      <p:grpSp>
        <p:nvGrpSpPr>
          <p:cNvPr id="7" name="Group 6"/>
          <p:cNvGrpSpPr/>
          <p:nvPr/>
        </p:nvGrpSpPr>
        <p:grpSpPr>
          <a:xfrm>
            <a:off x="3532951" y="1020125"/>
            <a:ext cx="5881766" cy="4827417"/>
            <a:chOff x="3560340" y="1040833"/>
            <a:chExt cx="5881766" cy="4827417"/>
          </a:xfrm>
        </p:grpSpPr>
        <p:sp>
          <p:nvSpPr>
            <p:cNvPr id="12" name="Freeform 11"/>
            <p:cNvSpPr/>
            <p:nvPr/>
          </p:nvSpPr>
          <p:spPr>
            <a:xfrm>
              <a:off x="4113520" y="1040833"/>
              <a:ext cx="4643623" cy="670614"/>
            </a:xfrm>
            <a:custGeom>
              <a:avLst/>
              <a:gdLst>
                <a:gd name="connsiteX0" fmla="*/ 0 w 4536651"/>
                <a:gd name="connsiteY0" fmla="*/ 67061 h 670614"/>
                <a:gd name="connsiteX1" fmla="*/ 67061 w 4536651"/>
                <a:gd name="connsiteY1" fmla="*/ 0 h 670614"/>
                <a:gd name="connsiteX2" fmla="*/ 4469590 w 4536651"/>
                <a:gd name="connsiteY2" fmla="*/ 0 h 670614"/>
                <a:gd name="connsiteX3" fmla="*/ 4536651 w 4536651"/>
                <a:gd name="connsiteY3" fmla="*/ 67061 h 670614"/>
                <a:gd name="connsiteX4" fmla="*/ 4536651 w 4536651"/>
                <a:gd name="connsiteY4" fmla="*/ 603553 h 670614"/>
                <a:gd name="connsiteX5" fmla="*/ 4469590 w 4536651"/>
                <a:gd name="connsiteY5" fmla="*/ 670614 h 670614"/>
                <a:gd name="connsiteX6" fmla="*/ 67061 w 4536651"/>
                <a:gd name="connsiteY6" fmla="*/ 670614 h 670614"/>
                <a:gd name="connsiteX7" fmla="*/ 0 w 4536651"/>
                <a:gd name="connsiteY7" fmla="*/ 603553 h 670614"/>
                <a:gd name="connsiteX8" fmla="*/ 0 w 4536651"/>
                <a:gd name="connsiteY8" fmla="*/ 67061 h 670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36651" h="670614">
                  <a:moveTo>
                    <a:pt x="0" y="67061"/>
                  </a:moveTo>
                  <a:cubicBezTo>
                    <a:pt x="0" y="30024"/>
                    <a:pt x="30024" y="0"/>
                    <a:pt x="67061" y="0"/>
                  </a:cubicBezTo>
                  <a:lnTo>
                    <a:pt x="4469590" y="0"/>
                  </a:lnTo>
                  <a:cubicBezTo>
                    <a:pt x="4506627" y="0"/>
                    <a:pt x="4536651" y="30024"/>
                    <a:pt x="4536651" y="67061"/>
                  </a:cubicBezTo>
                  <a:lnTo>
                    <a:pt x="4536651" y="603553"/>
                  </a:lnTo>
                  <a:cubicBezTo>
                    <a:pt x="4536651" y="640590"/>
                    <a:pt x="4506627" y="670614"/>
                    <a:pt x="4469590" y="670614"/>
                  </a:cubicBezTo>
                  <a:lnTo>
                    <a:pt x="67061" y="670614"/>
                  </a:lnTo>
                  <a:cubicBezTo>
                    <a:pt x="30024" y="670614"/>
                    <a:pt x="0" y="640590"/>
                    <a:pt x="0" y="603553"/>
                  </a:cubicBezTo>
                  <a:lnTo>
                    <a:pt x="0" y="67061"/>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88222" tIns="88222" rIns="769615" bIns="88222"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Data </a:t>
              </a:r>
              <a:r>
                <a:rPr lang="en-IN" sz="1800" kern="1200" dirty="0">
                  <a:latin typeface="Verdana" panose="020B0604030504040204" pitchFamily="34" charset="0"/>
                  <a:ea typeface="Verdana" panose="020B0604030504040204" pitchFamily="34" charset="0"/>
                </a:rPr>
                <a:t>Collection and </a:t>
              </a:r>
              <a:r>
                <a:rPr lang="en-IN" sz="1800" kern="1200" dirty="0" smtClean="0">
                  <a:latin typeface="Verdana" panose="020B0604030504040204" pitchFamily="34" charset="0"/>
                  <a:ea typeface="Verdana" panose="020B0604030504040204" pitchFamily="34" charset="0"/>
                </a:rPr>
                <a:t>Cleaning</a:t>
              </a:r>
              <a:endParaRPr lang="en-IN" sz="1800" kern="1200" dirty="0">
                <a:latin typeface="Verdana" panose="020B0604030504040204" pitchFamily="34" charset="0"/>
                <a:ea typeface="Verdana" panose="020B0604030504040204" pitchFamily="34" charset="0"/>
              </a:endParaRPr>
            </a:p>
          </p:txBody>
        </p:sp>
        <p:sp>
          <p:nvSpPr>
            <p:cNvPr id="13" name="Freeform 12"/>
            <p:cNvSpPr/>
            <p:nvPr/>
          </p:nvSpPr>
          <p:spPr>
            <a:xfrm>
              <a:off x="4279825" y="2026896"/>
              <a:ext cx="4104456" cy="708176"/>
            </a:xfrm>
            <a:custGeom>
              <a:avLst/>
              <a:gdLst>
                <a:gd name="connsiteX0" fmla="*/ 0 w 6627897"/>
                <a:gd name="connsiteY0" fmla="*/ 70818 h 708176"/>
                <a:gd name="connsiteX1" fmla="*/ 70818 w 6627897"/>
                <a:gd name="connsiteY1" fmla="*/ 0 h 708176"/>
                <a:gd name="connsiteX2" fmla="*/ 6557079 w 6627897"/>
                <a:gd name="connsiteY2" fmla="*/ 0 h 708176"/>
                <a:gd name="connsiteX3" fmla="*/ 6627897 w 6627897"/>
                <a:gd name="connsiteY3" fmla="*/ 70818 h 708176"/>
                <a:gd name="connsiteX4" fmla="*/ 6627897 w 6627897"/>
                <a:gd name="connsiteY4" fmla="*/ 637358 h 708176"/>
                <a:gd name="connsiteX5" fmla="*/ 6557079 w 6627897"/>
                <a:gd name="connsiteY5" fmla="*/ 708176 h 708176"/>
                <a:gd name="connsiteX6" fmla="*/ 70818 w 6627897"/>
                <a:gd name="connsiteY6" fmla="*/ 708176 h 708176"/>
                <a:gd name="connsiteX7" fmla="*/ 0 w 6627897"/>
                <a:gd name="connsiteY7" fmla="*/ 637358 h 708176"/>
                <a:gd name="connsiteX8" fmla="*/ 0 w 6627897"/>
                <a:gd name="connsiteY8" fmla="*/ 70818 h 7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7897" h="708176">
                  <a:moveTo>
                    <a:pt x="0" y="70818"/>
                  </a:moveTo>
                  <a:cubicBezTo>
                    <a:pt x="0" y="31706"/>
                    <a:pt x="31706" y="0"/>
                    <a:pt x="70818" y="0"/>
                  </a:cubicBezTo>
                  <a:lnTo>
                    <a:pt x="6557079" y="0"/>
                  </a:lnTo>
                  <a:cubicBezTo>
                    <a:pt x="6596191" y="0"/>
                    <a:pt x="6627897" y="31706"/>
                    <a:pt x="6627897" y="70818"/>
                  </a:cubicBezTo>
                  <a:lnTo>
                    <a:pt x="6627897" y="637358"/>
                  </a:lnTo>
                  <a:cubicBezTo>
                    <a:pt x="6627897" y="676470"/>
                    <a:pt x="6596191" y="708176"/>
                    <a:pt x="6557079" y="708176"/>
                  </a:cubicBezTo>
                  <a:lnTo>
                    <a:pt x="70818" y="708176"/>
                  </a:lnTo>
                  <a:cubicBezTo>
                    <a:pt x="31706" y="708176"/>
                    <a:pt x="0" y="676470"/>
                    <a:pt x="0" y="637358"/>
                  </a:cubicBezTo>
                  <a:lnTo>
                    <a:pt x="0" y="70818"/>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89322" tIns="89322" rIns="1153115" bIns="89322"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Splitting Data into training and testing sets</a:t>
              </a:r>
              <a:endParaRPr lang="en-IN" sz="1800" kern="1200" dirty="0">
                <a:latin typeface="Verdana" panose="020B0604030504040204" pitchFamily="34" charset="0"/>
                <a:ea typeface="Verdana" panose="020B0604030504040204" pitchFamily="34" charset="0"/>
              </a:endParaRPr>
            </a:p>
          </p:txBody>
        </p:sp>
        <p:sp>
          <p:nvSpPr>
            <p:cNvPr id="14" name="Freeform 13"/>
            <p:cNvSpPr/>
            <p:nvPr/>
          </p:nvSpPr>
          <p:spPr>
            <a:xfrm>
              <a:off x="3560340" y="3129064"/>
              <a:ext cx="5881766" cy="670605"/>
            </a:xfrm>
            <a:custGeom>
              <a:avLst/>
              <a:gdLst>
                <a:gd name="connsiteX0" fmla="*/ 0 w 5881766"/>
                <a:gd name="connsiteY0" fmla="*/ 67061 h 670605"/>
                <a:gd name="connsiteX1" fmla="*/ 67061 w 5881766"/>
                <a:gd name="connsiteY1" fmla="*/ 0 h 670605"/>
                <a:gd name="connsiteX2" fmla="*/ 5814706 w 5881766"/>
                <a:gd name="connsiteY2" fmla="*/ 0 h 670605"/>
                <a:gd name="connsiteX3" fmla="*/ 5881767 w 5881766"/>
                <a:gd name="connsiteY3" fmla="*/ 67061 h 670605"/>
                <a:gd name="connsiteX4" fmla="*/ 5881766 w 5881766"/>
                <a:gd name="connsiteY4" fmla="*/ 603545 h 670605"/>
                <a:gd name="connsiteX5" fmla="*/ 5814705 w 5881766"/>
                <a:gd name="connsiteY5" fmla="*/ 670606 h 670605"/>
                <a:gd name="connsiteX6" fmla="*/ 67061 w 5881766"/>
                <a:gd name="connsiteY6" fmla="*/ 670605 h 670605"/>
                <a:gd name="connsiteX7" fmla="*/ 0 w 5881766"/>
                <a:gd name="connsiteY7" fmla="*/ 603544 h 670605"/>
                <a:gd name="connsiteX8" fmla="*/ 0 w 5881766"/>
                <a:gd name="connsiteY8" fmla="*/ 67061 h 67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766" h="670605">
                  <a:moveTo>
                    <a:pt x="0" y="67061"/>
                  </a:moveTo>
                  <a:cubicBezTo>
                    <a:pt x="0" y="30024"/>
                    <a:pt x="30024" y="0"/>
                    <a:pt x="67061" y="0"/>
                  </a:cubicBezTo>
                  <a:lnTo>
                    <a:pt x="5814706" y="0"/>
                  </a:lnTo>
                  <a:cubicBezTo>
                    <a:pt x="5851743" y="0"/>
                    <a:pt x="5881767" y="30024"/>
                    <a:pt x="5881767" y="67061"/>
                  </a:cubicBezTo>
                  <a:cubicBezTo>
                    <a:pt x="5881767" y="245889"/>
                    <a:pt x="5881766" y="424717"/>
                    <a:pt x="5881766" y="603545"/>
                  </a:cubicBezTo>
                  <a:cubicBezTo>
                    <a:pt x="5881766" y="640582"/>
                    <a:pt x="5851742" y="670606"/>
                    <a:pt x="5814705" y="670606"/>
                  </a:cubicBezTo>
                  <a:lnTo>
                    <a:pt x="67061" y="670605"/>
                  </a:lnTo>
                  <a:cubicBezTo>
                    <a:pt x="30024" y="670605"/>
                    <a:pt x="0" y="640581"/>
                    <a:pt x="0" y="603544"/>
                  </a:cubicBezTo>
                  <a:lnTo>
                    <a:pt x="0" y="67061"/>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88221" tIns="88221" rIns="1032259" bIns="88221"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Training of </a:t>
              </a:r>
              <a:r>
                <a:rPr lang="en-IN" sz="1800" kern="1200" dirty="0" err="1" smtClean="0">
                  <a:latin typeface="Verdana" panose="020B0604030504040204" pitchFamily="34" charset="0"/>
                  <a:ea typeface="Verdana" panose="020B0604030504040204" pitchFamily="34" charset="0"/>
                </a:rPr>
                <a:t>gradientBoostingRegressor</a:t>
              </a:r>
              <a:r>
                <a:rPr lang="en-IN" sz="1800" kern="1200" dirty="0" smtClean="0">
                  <a:latin typeface="Verdana" panose="020B0604030504040204" pitchFamily="34" charset="0"/>
                  <a:ea typeface="Verdana" panose="020B0604030504040204" pitchFamily="34" charset="0"/>
                </a:rPr>
                <a:t> -   model with data</a:t>
              </a:r>
              <a:endParaRPr lang="en-IN" sz="1800" kern="1200" dirty="0">
                <a:latin typeface="Verdana" panose="020B0604030504040204" pitchFamily="34" charset="0"/>
                <a:ea typeface="Verdana" panose="020B0604030504040204" pitchFamily="34" charset="0"/>
              </a:endParaRPr>
            </a:p>
          </p:txBody>
        </p:sp>
        <p:sp>
          <p:nvSpPr>
            <p:cNvPr id="15" name="Freeform 14"/>
            <p:cNvSpPr/>
            <p:nvPr/>
          </p:nvSpPr>
          <p:spPr>
            <a:xfrm>
              <a:off x="4473553" y="4065170"/>
              <a:ext cx="4005376" cy="708923"/>
            </a:xfrm>
            <a:custGeom>
              <a:avLst/>
              <a:gdLst>
                <a:gd name="connsiteX0" fmla="*/ 0 w 4005376"/>
                <a:gd name="connsiteY0" fmla="*/ 70892 h 708923"/>
                <a:gd name="connsiteX1" fmla="*/ 70892 w 4005376"/>
                <a:gd name="connsiteY1" fmla="*/ 0 h 708923"/>
                <a:gd name="connsiteX2" fmla="*/ 3934484 w 4005376"/>
                <a:gd name="connsiteY2" fmla="*/ 0 h 708923"/>
                <a:gd name="connsiteX3" fmla="*/ 4005376 w 4005376"/>
                <a:gd name="connsiteY3" fmla="*/ 70892 h 708923"/>
                <a:gd name="connsiteX4" fmla="*/ 4005376 w 4005376"/>
                <a:gd name="connsiteY4" fmla="*/ 638031 h 708923"/>
                <a:gd name="connsiteX5" fmla="*/ 3934484 w 4005376"/>
                <a:gd name="connsiteY5" fmla="*/ 708923 h 708923"/>
                <a:gd name="connsiteX6" fmla="*/ 70892 w 4005376"/>
                <a:gd name="connsiteY6" fmla="*/ 708923 h 708923"/>
                <a:gd name="connsiteX7" fmla="*/ 0 w 4005376"/>
                <a:gd name="connsiteY7" fmla="*/ 638031 h 708923"/>
                <a:gd name="connsiteX8" fmla="*/ 0 w 4005376"/>
                <a:gd name="connsiteY8" fmla="*/ 70892 h 70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5376" h="708923">
                  <a:moveTo>
                    <a:pt x="0" y="70892"/>
                  </a:moveTo>
                  <a:cubicBezTo>
                    <a:pt x="0" y="31739"/>
                    <a:pt x="31739" y="0"/>
                    <a:pt x="70892" y="0"/>
                  </a:cubicBezTo>
                  <a:lnTo>
                    <a:pt x="3934484" y="0"/>
                  </a:lnTo>
                  <a:cubicBezTo>
                    <a:pt x="3973637" y="0"/>
                    <a:pt x="4005376" y="31739"/>
                    <a:pt x="4005376" y="70892"/>
                  </a:cubicBezTo>
                  <a:lnTo>
                    <a:pt x="4005376" y="638031"/>
                  </a:lnTo>
                  <a:cubicBezTo>
                    <a:pt x="4005376" y="677184"/>
                    <a:pt x="3973637" y="708923"/>
                    <a:pt x="3934484" y="708923"/>
                  </a:cubicBezTo>
                  <a:lnTo>
                    <a:pt x="70892" y="708923"/>
                  </a:lnTo>
                  <a:cubicBezTo>
                    <a:pt x="31739" y="708923"/>
                    <a:pt x="0" y="677184"/>
                    <a:pt x="0" y="638031"/>
                  </a:cubicBezTo>
                  <a:lnTo>
                    <a:pt x="0" y="70892"/>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89344" tIns="89344" rIns="732216" bIns="89344"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Generation of objective function for input energy</a:t>
              </a:r>
              <a:endParaRPr lang="en-IN" sz="1800" kern="1200" dirty="0">
                <a:latin typeface="Verdana" panose="020B0604030504040204" pitchFamily="34" charset="0"/>
                <a:ea typeface="Verdana" panose="020B0604030504040204" pitchFamily="34" charset="0"/>
              </a:endParaRPr>
            </a:p>
          </p:txBody>
        </p:sp>
        <p:sp>
          <p:nvSpPr>
            <p:cNvPr id="16" name="Freeform 15"/>
            <p:cNvSpPr/>
            <p:nvPr/>
          </p:nvSpPr>
          <p:spPr>
            <a:xfrm>
              <a:off x="3912278" y="5217299"/>
              <a:ext cx="5496084" cy="650951"/>
            </a:xfrm>
            <a:custGeom>
              <a:avLst/>
              <a:gdLst>
                <a:gd name="connsiteX0" fmla="*/ 0 w 5496084"/>
                <a:gd name="connsiteY0" fmla="*/ 65095 h 650951"/>
                <a:gd name="connsiteX1" fmla="*/ 65095 w 5496084"/>
                <a:gd name="connsiteY1" fmla="*/ 0 h 650951"/>
                <a:gd name="connsiteX2" fmla="*/ 5430989 w 5496084"/>
                <a:gd name="connsiteY2" fmla="*/ 0 h 650951"/>
                <a:gd name="connsiteX3" fmla="*/ 5496084 w 5496084"/>
                <a:gd name="connsiteY3" fmla="*/ 65095 h 650951"/>
                <a:gd name="connsiteX4" fmla="*/ 5496084 w 5496084"/>
                <a:gd name="connsiteY4" fmla="*/ 585856 h 650951"/>
                <a:gd name="connsiteX5" fmla="*/ 5430989 w 5496084"/>
                <a:gd name="connsiteY5" fmla="*/ 650951 h 650951"/>
                <a:gd name="connsiteX6" fmla="*/ 65095 w 5496084"/>
                <a:gd name="connsiteY6" fmla="*/ 650951 h 650951"/>
                <a:gd name="connsiteX7" fmla="*/ 0 w 5496084"/>
                <a:gd name="connsiteY7" fmla="*/ 585856 h 650951"/>
                <a:gd name="connsiteX8" fmla="*/ 0 w 5496084"/>
                <a:gd name="connsiteY8" fmla="*/ 65095 h 65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96084" h="650951">
                  <a:moveTo>
                    <a:pt x="0" y="65095"/>
                  </a:moveTo>
                  <a:cubicBezTo>
                    <a:pt x="0" y="29144"/>
                    <a:pt x="29144" y="0"/>
                    <a:pt x="65095" y="0"/>
                  </a:cubicBezTo>
                  <a:lnTo>
                    <a:pt x="5430989" y="0"/>
                  </a:lnTo>
                  <a:cubicBezTo>
                    <a:pt x="5466940" y="0"/>
                    <a:pt x="5496084" y="29144"/>
                    <a:pt x="5496084" y="65095"/>
                  </a:cubicBezTo>
                  <a:lnTo>
                    <a:pt x="5496084" y="585856"/>
                  </a:lnTo>
                  <a:cubicBezTo>
                    <a:pt x="5496084" y="621807"/>
                    <a:pt x="5466940" y="650951"/>
                    <a:pt x="5430989" y="650951"/>
                  </a:cubicBezTo>
                  <a:lnTo>
                    <a:pt x="65095" y="650951"/>
                  </a:lnTo>
                  <a:cubicBezTo>
                    <a:pt x="29144" y="650951"/>
                    <a:pt x="0" y="621807"/>
                    <a:pt x="0" y="585856"/>
                  </a:cubicBezTo>
                  <a:lnTo>
                    <a:pt x="0" y="65095"/>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87646" tIns="87646" rIns="969780" bIns="87646" numCol="1" spcCol="1270" anchor="ctr" anchorCtr="0">
              <a:noAutofit/>
            </a:bodyPr>
            <a:lstStyle/>
            <a:p>
              <a:pPr lvl="0" algn="l" defTabSz="800100">
                <a:lnSpc>
                  <a:spcPct val="90000"/>
                </a:lnSpc>
                <a:spcBef>
                  <a:spcPct val="0"/>
                </a:spcBef>
                <a:spcAft>
                  <a:spcPct val="35000"/>
                </a:spcAft>
              </a:pPr>
              <a:r>
                <a:rPr lang="en-IN" sz="1800" kern="1200" dirty="0" smtClean="0">
                  <a:latin typeface="Verdana" panose="020B0604030504040204" pitchFamily="34" charset="0"/>
                  <a:ea typeface="Verdana" panose="020B0604030504040204" pitchFamily="34" charset="0"/>
                </a:rPr>
                <a:t>    Minimizing objective function using                          -   trained data</a:t>
              </a:r>
              <a:endParaRPr lang="en-IN" sz="1800" kern="1200" dirty="0">
                <a:latin typeface="Verdana" panose="020B0604030504040204" pitchFamily="34" charset="0"/>
                <a:ea typeface="Verdana" panose="020B0604030504040204" pitchFamily="34" charset="0"/>
              </a:endParaRPr>
            </a:p>
          </p:txBody>
        </p:sp>
        <p:sp>
          <p:nvSpPr>
            <p:cNvPr id="17" name="Freeform 16"/>
            <p:cNvSpPr/>
            <p:nvPr/>
          </p:nvSpPr>
          <p:spPr>
            <a:xfrm>
              <a:off x="6028756" y="1616901"/>
              <a:ext cx="606595" cy="606595"/>
            </a:xfrm>
            <a:custGeom>
              <a:avLst/>
              <a:gdLst>
                <a:gd name="connsiteX0" fmla="*/ 0 w 606595"/>
                <a:gd name="connsiteY0" fmla="*/ 333627 h 606595"/>
                <a:gd name="connsiteX1" fmla="*/ 136484 w 606595"/>
                <a:gd name="connsiteY1" fmla="*/ 333627 h 606595"/>
                <a:gd name="connsiteX2" fmla="*/ 136484 w 606595"/>
                <a:gd name="connsiteY2" fmla="*/ 0 h 606595"/>
                <a:gd name="connsiteX3" fmla="*/ 470111 w 606595"/>
                <a:gd name="connsiteY3" fmla="*/ 0 h 606595"/>
                <a:gd name="connsiteX4" fmla="*/ 470111 w 606595"/>
                <a:gd name="connsiteY4" fmla="*/ 333627 h 606595"/>
                <a:gd name="connsiteX5" fmla="*/ 606595 w 606595"/>
                <a:gd name="connsiteY5" fmla="*/ 333627 h 606595"/>
                <a:gd name="connsiteX6" fmla="*/ 303298 w 606595"/>
                <a:gd name="connsiteY6" fmla="*/ 606595 h 606595"/>
                <a:gd name="connsiteX7" fmla="*/ 0 w 606595"/>
                <a:gd name="connsiteY7" fmla="*/ 333627 h 6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595" h="606595">
                  <a:moveTo>
                    <a:pt x="0" y="333627"/>
                  </a:moveTo>
                  <a:lnTo>
                    <a:pt x="136484" y="333627"/>
                  </a:lnTo>
                  <a:lnTo>
                    <a:pt x="136484" y="0"/>
                  </a:lnTo>
                  <a:lnTo>
                    <a:pt x="470111" y="0"/>
                  </a:lnTo>
                  <a:lnTo>
                    <a:pt x="470111" y="333627"/>
                  </a:lnTo>
                  <a:lnTo>
                    <a:pt x="606595" y="333627"/>
                  </a:lnTo>
                  <a:lnTo>
                    <a:pt x="303298" y="606595"/>
                  </a:lnTo>
                  <a:lnTo>
                    <a:pt x="0" y="333627"/>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344" tIns="22860" rIns="159344" bIns="172992"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p:txBody>
        </p:sp>
        <p:sp>
          <p:nvSpPr>
            <p:cNvPr id="18" name="Freeform 17"/>
            <p:cNvSpPr/>
            <p:nvPr/>
          </p:nvSpPr>
          <p:spPr>
            <a:xfrm>
              <a:off x="6053716" y="2553003"/>
              <a:ext cx="606595" cy="606595"/>
            </a:xfrm>
            <a:custGeom>
              <a:avLst/>
              <a:gdLst>
                <a:gd name="connsiteX0" fmla="*/ 0 w 606595"/>
                <a:gd name="connsiteY0" fmla="*/ 333627 h 606595"/>
                <a:gd name="connsiteX1" fmla="*/ 136484 w 606595"/>
                <a:gd name="connsiteY1" fmla="*/ 333627 h 606595"/>
                <a:gd name="connsiteX2" fmla="*/ 136484 w 606595"/>
                <a:gd name="connsiteY2" fmla="*/ 0 h 606595"/>
                <a:gd name="connsiteX3" fmla="*/ 470111 w 606595"/>
                <a:gd name="connsiteY3" fmla="*/ 0 h 606595"/>
                <a:gd name="connsiteX4" fmla="*/ 470111 w 606595"/>
                <a:gd name="connsiteY4" fmla="*/ 333627 h 606595"/>
                <a:gd name="connsiteX5" fmla="*/ 606595 w 606595"/>
                <a:gd name="connsiteY5" fmla="*/ 333627 h 606595"/>
                <a:gd name="connsiteX6" fmla="*/ 303298 w 606595"/>
                <a:gd name="connsiteY6" fmla="*/ 606595 h 606595"/>
                <a:gd name="connsiteX7" fmla="*/ 0 w 606595"/>
                <a:gd name="connsiteY7" fmla="*/ 333627 h 6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595" h="606595">
                  <a:moveTo>
                    <a:pt x="0" y="333627"/>
                  </a:moveTo>
                  <a:lnTo>
                    <a:pt x="136484" y="333627"/>
                  </a:lnTo>
                  <a:lnTo>
                    <a:pt x="136484" y="0"/>
                  </a:lnTo>
                  <a:lnTo>
                    <a:pt x="470111" y="0"/>
                  </a:lnTo>
                  <a:lnTo>
                    <a:pt x="470111" y="333627"/>
                  </a:lnTo>
                  <a:lnTo>
                    <a:pt x="606595" y="333627"/>
                  </a:lnTo>
                  <a:lnTo>
                    <a:pt x="303298" y="606595"/>
                  </a:lnTo>
                  <a:lnTo>
                    <a:pt x="0" y="333627"/>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344" tIns="22860" rIns="159344" bIns="172992" numCol="1" spcCol="1270" anchor="ctr" anchorCtr="0">
              <a:noAutofit/>
            </a:bodyPr>
            <a:lstStyle/>
            <a:p>
              <a:pPr lvl="0" algn="ctr" defTabSz="800100">
                <a:lnSpc>
                  <a:spcPct val="90000"/>
                </a:lnSpc>
                <a:spcBef>
                  <a:spcPct val="0"/>
                </a:spcBef>
                <a:spcAft>
                  <a:spcPct val="35000"/>
                </a:spcAft>
              </a:pPr>
              <a:endParaRPr lang="en-IN" sz="1800" kern="1200" dirty="0">
                <a:latin typeface="Verdana" panose="020B0604030504040204" pitchFamily="34" charset="0"/>
                <a:ea typeface="Verdana" panose="020B0604030504040204" pitchFamily="34" charset="0"/>
              </a:endParaRPr>
            </a:p>
          </p:txBody>
        </p:sp>
        <p:sp>
          <p:nvSpPr>
            <p:cNvPr id="19" name="Freeform 18"/>
            <p:cNvSpPr/>
            <p:nvPr/>
          </p:nvSpPr>
          <p:spPr>
            <a:xfrm>
              <a:off x="6066835" y="3561113"/>
              <a:ext cx="606595" cy="606595"/>
            </a:xfrm>
            <a:custGeom>
              <a:avLst/>
              <a:gdLst>
                <a:gd name="connsiteX0" fmla="*/ 0 w 606595"/>
                <a:gd name="connsiteY0" fmla="*/ 333627 h 606595"/>
                <a:gd name="connsiteX1" fmla="*/ 136484 w 606595"/>
                <a:gd name="connsiteY1" fmla="*/ 333627 h 606595"/>
                <a:gd name="connsiteX2" fmla="*/ 136484 w 606595"/>
                <a:gd name="connsiteY2" fmla="*/ 0 h 606595"/>
                <a:gd name="connsiteX3" fmla="*/ 470111 w 606595"/>
                <a:gd name="connsiteY3" fmla="*/ 0 h 606595"/>
                <a:gd name="connsiteX4" fmla="*/ 470111 w 606595"/>
                <a:gd name="connsiteY4" fmla="*/ 333627 h 606595"/>
                <a:gd name="connsiteX5" fmla="*/ 606595 w 606595"/>
                <a:gd name="connsiteY5" fmla="*/ 333627 h 606595"/>
                <a:gd name="connsiteX6" fmla="*/ 303298 w 606595"/>
                <a:gd name="connsiteY6" fmla="*/ 606595 h 606595"/>
                <a:gd name="connsiteX7" fmla="*/ 0 w 606595"/>
                <a:gd name="connsiteY7" fmla="*/ 333627 h 6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595" h="606595">
                  <a:moveTo>
                    <a:pt x="0" y="333627"/>
                  </a:moveTo>
                  <a:lnTo>
                    <a:pt x="136484" y="333627"/>
                  </a:lnTo>
                  <a:lnTo>
                    <a:pt x="136484" y="0"/>
                  </a:lnTo>
                  <a:lnTo>
                    <a:pt x="470111" y="0"/>
                  </a:lnTo>
                  <a:lnTo>
                    <a:pt x="470111" y="333627"/>
                  </a:lnTo>
                  <a:lnTo>
                    <a:pt x="606595" y="333627"/>
                  </a:lnTo>
                  <a:lnTo>
                    <a:pt x="303298" y="606595"/>
                  </a:lnTo>
                  <a:lnTo>
                    <a:pt x="0" y="333627"/>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344" tIns="22860" rIns="159344" bIns="172992"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p:txBody>
        </p:sp>
        <p:sp>
          <p:nvSpPr>
            <p:cNvPr id="20" name="Freeform 19"/>
            <p:cNvSpPr/>
            <p:nvPr/>
          </p:nvSpPr>
          <p:spPr>
            <a:xfrm>
              <a:off x="6129743" y="4713239"/>
              <a:ext cx="606595" cy="606595"/>
            </a:xfrm>
            <a:custGeom>
              <a:avLst/>
              <a:gdLst>
                <a:gd name="connsiteX0" fmla="*/ 0 w 606595"/>
                <a:gd name="connsiteY0" fmla="*/ 333627 h 606595"/>
                <a:gd name="connsiteX1" fmla="*/ 136484 w 606595"/>
                <a:gd name="connsiteY1" fmla="*/ 333627 h 606595"/>
                <a:gd name="connsiteX2" fmla="*/ 136484 w 606595"/>
                <a:gd name="connsiteY2" fmla="*/ 0 h 606595"/>
                <a:gd name="connsiteX3" fmla="*/ 470111 w 606595"/>
                <a:gd name="connsiteY3" fmla="*/ 0 h 606595"/>
                <a:gd name="connsiteX4" fmla="*/ 470111 w 606595"/>
                <a:gd name="connsiteY4" fmla="*/ 333627 h 606595"/>
                <a:gd name="connsiteX5" fmla="*/ 606595 w 606595"/>
                <a:gd name="connsiteY5" fmla="*/ 333627 h 606595"/>
                <a:gd name="connsiteX6" fmla="*/ 303298 w 606595"/>
                <a:gd name="connsiteY6" fmla="*/ 606595 h 606595"/>
                <a:gd name="connsiteX7" fmla="*/ 0 w 606595"/>
                <a:gd name="connsiteY7" fmla="*/ 333627 h 6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595" h="606595">
                  <a:moveTo>
                    <a:pt x="0" y="333627"/>
                  </a:moveTo>
                  <a:lnTo>
                    <a:pt x="136484" y="333627"/>
                  </a:lnTo>
                  <a:lnTo>
                    <a:pt x="136484" y="0"/>
                  </a:lnTo>
                  <a:lnTo>
                    <a:pt x="470111" y="0"/>
                  </a:lnTo>
                  <a:lnTo>
                    <a:pt x="470111" y="333627"/>
                  </a:lnTo>
                  <a:lnTo>
                    <a:pt x="606595" y="333627"/>
                  </a:lnTo>
                  <a:lnTo>
                    <a:pt x="303298" y="606595"/>
                  </a:lnTo>
                  <a:lnTo>
                    <a:pt x="0" y="333627"/>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59344" tIns="22860" rIns="159344" bIns="172992" numCol="1" spcCol="1270" anchor="ctr" anchorCtr="0">
              <a:noAutofit/>
            </a:bodyPr>
            <a:lstStyle/>
            <a:p>
              <a:pPr lvl="0" algn="ctr" defTabSz="800100">
                <a:lnSpc>
                  <a:spcPct val="90000"/>
                </a:lnSpc>
                <a:spcBef>
                  <a:spcPct val="0"/>
                </a:spcBef>
                <a:spcAft>
                  <a:spcPct val="35000"/>
                </a:spcAft>
              </a:pPr>
              <a:endParaRPr lang="en-IN" sz="1800" kern="1200">
                <a:latin typeface="Verdana" panose="020B0604030504040204" pitchFamily="34" charset="0"/>
                <a:ea typeface="Verdana" panose="020B0604030504040204" pitchFamily="34" charset="0"/>
              </a:endParaRPr>
            </a:p>
          </p:txBody>
        </p:sp>
      </p:grpSp>
      <p:grpSp>
        <p:nvGrpSpPr>
          <p:cNvPr id="8" name="Group 7"/>
          <p:cNvGrpSpPr/>
          <p:nvPr/>
        </p:nvGrpSpPr>
        <p:grpSpPr>
          <a:xfrm>
            <a:off x="6132896" y="5515613"/>
            <a:ext cx="606595" cy="606595"/>
            <a:chOff x="4282216" y="3744413"/>
            <a:chExt cx="606595" cy="606595"/>
          </a:xfrm>
        </p:grpSpPr>
        <p:sp>
          <p:nvSpPr>
            <p:cNvPr id="9" name="Down Arrow 8"/>
            <p:cNvSpPr/>
            <p:nvPr/>
          </p:nvSpPr>
          <p:spPr>
            <a:xfrm>
              <a:off x="4282216" y="3744413"/>
              <a:ext cx="606595" cy="606595"/>
            </a:xfrm>
            <a:prstGeom prst="downArrow">
              <a:avLst>
                <a:gd name="adj1" fmla="val 55000"/>
                <a:gd name="adj2" fmla="val 45000"/>
              </a:avLst>
            </a:pr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Down Arrow 4"/>
            <p:cNvSpPr txBox="1"/>
            <p:nvPr/>
          </p:nvSpPr>
          <p:spPr>
            <a:xfrm>
              <a:off x="4418700" y="3744413"/>
              <a:ext cx="333627" cy="4564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IN" sz="2700" kern="1200"/>
            </a:p>
          </p:txBody>
        </p:sp>
      </p:grpSp>
      <p:cxnSp>
        <p:nvCxnSpPr>
          <p:cNvPr id="11" name="Straight Connector 10"/>
          <p:cNvCxnSpPr/>
          <p:nvPr/>
        </p:nvCxnSpPr>
        <p:spPr>
          <a:xfrm flipH="1" flipV="1">
            <a:off x="2639616" y="620743"/>
            <a:ext cx="8045914" cy="1150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7959628" y="2006895"/>
            <a:ext cx="722738" cy="713986"/>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0" name="Oval 29"/>
          <p:cNvSpPr/>
          <p:nvPr/>
        </p:nvSpPr>
        <p:spPr>
          <a:xfrm>
            <a:off x="3722044" y="920421"/>
            <a:ext cx="815503" cy="831297"/>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1" name="Oval 30"/>
          <p:cNvSpPr/>
          <p:nvPr/>
        </p:nvSpPr>
        <p:spPr>
          <a:xfrm>
            <a:off x="3202124" y="3092862"/>
            <a:ext cx="722738" cy="713986"/>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2" name="Oval 31"/>
          <p:cNvSpPr/>
          <p:nvPr/>
        </p:nvSpPr>
        <p:spPr>
          <a:xfrm>
            <a:off x="8081131" y="4039399"/>
            <a:ext cx="722738" cy="713986"/>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3" name="Oval 32"/>
          <p:cNvSpPr/>
          <p:nvPr/>
        </p:nvSpPr>
        <p:spPr>
          <a:xfrm>
            <a:off x="3583157" y="5158620"/>
            <a:ext cx="722738" cy="713986"/>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5" name="Rounded Rectangle 34"/>
          <p:cNvSpPr/>
          <p:nvPr/>
        </p:nvSpPr>
        <p:spPr>
          <a:xfrm>
            <a:off x="5807968" y="6153900"/>
            <a:ext cx="1219555" cy="61427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utput</a:t>
            </a:r>
            <a:endParaRPr lang="en-US" dirty="0"/>
          </a:p>
        </p:txBody>
      </p:sp>
      <p:sp>
        <p:nvSpPr>
          <p:cNvPr id="55" name="Oval 54"/>
          <p:cNvSpPr/>
          <p:nvPr/>
        </p:nvSpPr>
        <p:spPr>
          <a:xfrm>
            <a:off x="7924842" y="1944627"/>
            <a:ext cx="815503" cy="831297"/>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56" name="Oval 55"/>
          <p:cNvSpPr/>
          <p:nvPr/>
        </p:nvSpPr>
        <p:spPr>
          <a:xfrm>
            <a:off x="3141110" y="3028009"/>
            <a:ext cx="815503" cy="831297"/>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57" name="Oval 56"/>
          <p:cNvSpPr/>
          <p:nvPr/>
        </p:nvSpPr>
        <p:spPr>
          <a:xfrm>
            <a:off x="3491414" y="5099964"/>
            <a:ext cx="815503" cy="831297"/>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58" name="Oval 57"/>
          <p:cNvSpPr/>
          <p:nvPr/>
        </p:nvSpPr>
        <p:spPr>
          <a:xfrm>
            <a:off x="8074264" y="3980743"/>
            <a:ext cx="815503" cy="831297"/>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4973" y="5287879"/>
            <a:ext cx="539777" cy="539250"/>
          </a:xfrm>
          <a:prstGeom prst="rect">
            <a:avLst/>
          </a:prstGeom>
        </p:spPr>
      </p:pic>
      <p:grpSp>
        <p:nvGrpSpPr>
          <p:cNvPr id="60" name="bcgIcons_Explosive works ">
            <a:extLst>
              <a:ext uri="{FF2B5EF4-FFF2-40B4-BE49-F238E27FC236}">
                <a16:creationId xmlns:a16="http://schemas.microsoft.com/office/drawing/2014/main" id="{8E66A88F-27A1-DFA7-55B9-C5313D498EC6}"/>
              </a:ext>
            </a:extLst>
          </p:cNvPr>
          <p:cNvGrpSpPr>
            <a:grpSpLocks noChangeAspect="1"/>
          </p:cNvGrpSpPr>
          <p:nvPr/>
        </p:nvGrpSpPr>
        <p:grpSpPr>
          <a:xfrm>
            <a:off x="8128070" y="3999626"/>
            <a:ext cx="707890" cy="707891"/>
            <a:chOff x="5272088" y="2606675"/>
            <a:chExt cx="1646237" cy="1646238"/>
          </a:xfrm>
        </p:grpSpPr>
        <p:sp>
          <p:nvSpPr>
            <p:cNvPr id="61" name="AutoShape 826">
              <a:extLst>
                <a:ext uri="{FF2B5EF4-FFF2-40B4-BE49-F238E27FC236}">
                  <a16:creationId xmlns:a16="http://schemas.microsoft.com/office/drawing/2014/main" id="{22A9B016-F672-8A3D-8FB1-187E451F3B26}"/>
                </a:ext>
              </a:extLst>
            </p:cNvPr>
            <p:cNvSpPr>
              <a:spLocks noChangeAspect="1" noChangeArrowheads="1" noTextEdit="1"/>
            </p:cNvSpPr>
            <p:nvPr/>
          </p:nvSpPr>
          <p:spPr bwMode="auto">
            <a:xfrm>
              <a:off x="5272088" y="2606675"/>
              <a:ext cx="1646237" cy="16462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62" name="Group 61">
              <a:extLst>
                <a:ext uri="{FF2B5EF4-FFF2-40B4-BE49-F238E27FC236}">
                  <a16:creationId xmlns:a16="http://schemas.microsoft.com/office/drawing/2014/main" id="{D5B160C8-D4D5-BA4E-3CEC-52E775F01DD9}"/>
                </a:ext>
              </a:extLst>
            </p:cNvPr>
            <p:cNvGrpSpPr/>
            <p:nvPr/>
          </p:nvGrpSpPr>
          <p:grpSpPr>
            <a:xfrm>
              <a:off x="5425204" y="2760950"/>
              <a:ext cx="1339135" cy="1334800"/>
              <a:chOff x="5425204" y="2760950"/>
              <a:chExt cx="1339135" cy="1334800"/>
            </a:xfrm>
          </p:grpSpPr>
          <p:sp>
            <p:nvSpPr>
              <p:cNvPr id="63" name="Freeform 35">
                <a:extLst>
                  <a:ext uri="{FF2B5EF4-FFF2-40B4-BE49-F238E27FC236}">
                    <a16:creationId xmlns:a16="http://schemas.microsoft.com/office/drawing/2014/main" id="{0A440A02-D4E5-ABBE-6ADB-D78676B790F2}"/>
                  </a:ext>
                </a:extLst>
              </p:cNvPr>
              <p:cNvSpPr>
                <a:spLocks/>
              </p:cNvSpPr>
              <p:nvPr/>
            </p:nvSpPr>
            <p:spPr bwMode="auto">
              <a:xfrm>
                <a:off x="5922963" y="3352800"/>
                <a:ext cx="642937" cy="636588"/>
              </a:xfrm>
              <a:custGeom>
                <a:avLst/>
                <a:gdLst>
                  <a:gd name="connsiteX0" fmla="*/ 324326 w 642937"/>
                  <a:gd name="connsiteY0" fmla="*/ 0 h 636588"/>
                  <a:gd name="connsiteX1" fmla="*/ 436483 w 642937"/>
                  <a:gd name="connsiteY1" fmla="*/ 62089 h 636588"/>
                  <a:gd name="connsiteX2" fmla="*/ 552926 w 642937"/>
                  <a:gd name="connsiteY2" fmla="*/ 150583 h 636588"/>
                  <a:gd name="connsiteX3" fmla="*/ 532924 w 642937"/>
                  <a:gd name="connsiteY3" fmla="*/ 199112 h 636588"/>
                  <a:gd name="connsiteX4" fmla="*/ 527209 w 642937"/>
                  <a:gd name="connsiteY4" fmla="*/ 220522 h 636588"/>
                  <a:gd name="connsiteX5" fmla="*/ 583644 w 642937"/>
                  <a:gd name="connsiteY5" fmla="*/ 323290 h 636588"/>
                  <a:gd name="connsiteX6" fmla="*/ 642937 w 642937"/>
                  <a:gd name="connsiteY6" fmla="*/ 438190 h 636588"/>
                  <a:gd name="connsiteX7" fmla="*/ 522208 w 642937"/>
                  <a:gd name="connsiteY7" fmla="*/ 557371 h 636588"/>
                  <a:gd name="connsiteX8" fmla="*/ 520065 w 642937"/>
                  <a:gd name="connsiteY8" fmla="*/ 576640 h 636588"/>
                  <a:gd name="connsiteX9" fmla="*/ 554355 w 642937"/>
                  <a:gd name="connsiteY9" fmla="*/ 636588 h 636588"/>
                  <a:gd name="connsiteX10" fmla="*/ 442912 w 642937"/>
                  <a:gd name="connsiteY10" fmla="*/ 628738 h 636588"/>
                  <a:gd name="connsiteX11" fmla="*/ 441484 w 642937"/>
                  <a:gd name="connsiteY11" fmla="*/ 628738 h 636588"/>
                  <a:gd name="connsiteX12" fmla="*/ 37148 w 642937"/>
                  <a:gd name="connsiteY12" fmla="*/ 628738 h 636588"/>
                  <a:gd name="connsiteX13" fmla="*/ 0 w 642937"/>
                  <a:gd name="connsiteY13" fmla="*/ 522402 h 636588"/>
                  <a:gd name="connsiteX14" fmla="*/ 20494 w 642937"/>
                  <a:gd name="connsiteY14" fmla="*/ 499821 h 636588"/>
                  <a:gd name="connsiteX15" fmla="*/ 27064 w 642937"/>
                  <a:gd name="connsiteY15" fmla="*/ 492582 h 636588"/>
                  <a:gd name="connsiteX16" fmla="*/ 36880 w 642937"/>
                  <a:gd name="connsiteY16" fmla="*/ 503361 h 636588"/>
                  <a:gd name="connsiteX17" fmla="*/ 113573 w 642937"/>
                  <a:gd name="connsiteY17" fmla="*/ 587576 h 636588"/>
                  <a:gd name="connsiteX18" fmla="*/ 140725 w 642937"/>
                  <a:gd name="connsiteY18" fmla="*/ 601147 h 636588"/>
                  <a:gd name="connsiteX19" fmla="*/ 175737 w 642937"/>
                  <a:gd name="connsiteY19" fmla="*/ 575435 h 636588"/>
                  <a:gd name="connsiteX20" fmla="*/ 176452 w 642937"/>
                  <a:gd name="connsiteY20" fmla="*/ 573292 h 636588"/>
                  <a:gd name="connsiteX21" fmla="*/ 197174 w 642937"/>
                  <a:gd name="connsiteY21" fmla="*/ 446162 h 636588"/>
                  <a:gd name="connsiteX22" fmla="*/ 316501 w 642937"/>
                  <a:gd name="connsiteY22" fmla="*/ 477588 h 636588"/>
                  <a:gd name="connsiteX23" fmla="*/ 322217 w 642937"/>
                  <a:gd name="connsiteY23" fmla="*/ 477588 h 636588"/>
                  <a:gd name="connsiteX24" fmla="*/ 355086 w 642937"/>
                  <a:gd name="connsiteY24" fmla="*/ 454019 h 636588"/>
                  <a:gd name="connsiteX25" fmla="*/ 344368 w 642937"/>
                  <a:gd name="connsiteY25" fmla="*/ 414737 h 636588"/>
                  <a:gd name="connsiteX26" fmla="*/ 274343 w 642937"/>
                  <a:gd name="connsiteY26" fmla="*/ 356172 h 636588"/>
                  <a:gd name="connsiteX27" fmla="*/ 455836 w 642937"/>
                  <a:gd name="connsiteY27" fmla="*/ 320461 h 636588"/>
                  <a:gd name="connsiteX28" fmla="*/ 485132 w 642937"/>
                  <a:gd name="connsiteY28" fmla="*/ 280465 h 636588"/>
                  <a:gd name="connsiteX29" fmla="*/ 452978 w 642937"/>
                  <a:gd name="connsiteY29" fmla="*/ 245469 h 636588"/>
                  <a:gd name="connsiteX30" fmla="*/ 262911 w 642937"/>
                  <a:gd name="connsiteY30" fmla="*/ 212615 h 636588"/>
                  <a:gd name="connsiteX31" fmla="*/ 275058 w 642937"/>
                  <a:gd name="connsiteY31" fmla="*/ 201187 h 636588"/>
                  <a:gd name="connsiteX32" fmla="*/ 285776 w 642937"/>
                  <a:gd name="connsiteY32" fmla="*/ 156906 h 636588"/>
                  <a:gd name="connsiteX33" fmla="*/ 248620 w 642937"/>
                  <a:gd name="connsiteY33" fmla="*/ 131195 h 636588"/>
                  <a:gd name="connsiteX34" fmla="*/ 242904 w 642937"/>
                  <a:gd name="connsiteY34" fmla="*/ 131195 h 636588"/>
                  <a:gd name="connsiteX35" fmla="*/ 185026 w 642937"/>
                  <a:gd name="connsiteY35" fmla="*/ 144050 h 636588"/>
                  <a:gd name="connsiteX36" fmla="*/ 149604 w 642937"/>
                  <a:gd name="connsiteY36" fmla="*/ 26826 h 636588"/>
                  <a:gd name="connsiteX37" fmla="*/ 148830 w 642937"/>
                  <a:gd name="connsiteY37" fmla="*/ 24266 h 636588"/>
                  <a:gd name="connsiteX38" fmla="*/ 168276 w 642937"/>
                  <a:gd name="connsiteY38" fmla="*/ 21577 h 636588"/>
                  <a:gd name="connsiteX39" fmla="*/ 324326 w 642937"/>
                  <a:gd name="connsiteY39" fmla="*/ 0 h 6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2937" h="636588">
                    <a:moveTo>
                      <a:pt x="324326" y="0"/>
                    </a:moveTo>
                    <a:cubicBezTo>
                      <a:pt x="338614" y="7850"/>
                      <a:pt x="387191" y="32829"/>
                      <a:pt x="436483" y="62089"/>
                    </a:cubicBezTo>
                    <a:cubicBezTo>
                      <a:pt x="545782" y="127032"/>
                      <a:pt x="552212" y="148442"/>
                      <a:pt x="552926" y="150583"/>
                    </a:cubicBezTo>
                    <a:cubicBezTo>
                      <a:pt x="555784" y="185553"/>
                      <a:pt x="533638" y="199112"/>
                      <a:pt x="532924" y="199112"/>
                    </a:cubicBezTo>
                    <a:cubicBezTo>
                      <a:pt x="525780" y="203394"/>
                      <a:pt x="522922" y="213386"/>
                      <a:pt x="527209" y="220522"/>
                    </a:cubicBezTo>
                    <a:cubicBezTo>
                      <a:pt x="527209" y="220522"/>
                      <a:pt x="527209" y="220522"/>
                      <a:pt x="583644" y="323290"/>
                    </a:cubicBezTo>
                    <a:cubicBezTo>
                      <a:pt x="583644" y="323290"/>
                      <a:pt x="583644" y="323290"/>
                      <a:pt x="642937" y="438190"/>
                    </a:cubicBezTo>
                    <a:cubicBezTo>
                      <a:pt x="642937" y="438190"/>
                      <a:pt x="642937" y="438190"/>
                      <a:pt x="522208" y="557371"/>
                    </a:cubicBezTo>
                    <a:cubicBezTo>
                      <a:pt x="517207" y="563081"/>
                      <a:pt x="516493" y="570217"/>
                      <a:pt x="520065" y="576640"/>
                    </a:cubicBezTo>
                    <a:cubicBezTo>
                      <a:pt x="520065" y="576640"/>
                      <a:pt x="520065" y="576640"/>
                      <a:pt x="554355" y="636588"/>
                    </a:cubicBezTo>
                    <a:cubicBezTo>
                      <a:pt x="554355" y="636588"/>
                      <a:pt x="554355" y="636588"/>
                      <a:pt x="442912" y="628738"/>
                    </a:cubicBezTo>
                    <a:cubicBezTo>
                      <a:pt x="442198" y="628738"/>
                      <a:pt x="442198" y="628738"/>
                      <a:pt x="441484" y="628738"/>
                    </a:cubicBezTo>
                    <a:cubicBezTo>
                      <a:pt x="441484" y="628738"/>
                      <a:pt x="441484" y="628738"/>
                      <a:pt x="37148" y="628738"/>
                    </a:cubicBezTo>
                    <a:cubicBezTo>
                      <a:pt x="37148" y="628738"/>
                      <a:pt x="37148" y="628738"/>
                      <a:pt x="0" y="522402"/>
                    </a:cubicBezTo>
                    <a:cubicBezTo>
                      <a:pt x="0" y="522402"/>
                      <a:pt x="0" y="522402"/>
                      <a:pt x="20494" y="499821"/>
                    </a:cubicBezTo>
                    <a:lnTo>
                      <a:pt x="27064" y="492582"/>
                    </a:lnTo>
                    <a:lnTo>
                      <a:pt x="36880" y="503361"/>
                    </a:lnTo>
                    <a:cubicBezTo>
                      <a:pt x="51743" y="519681"/>
                      <a:pt x="75524" y="545795"/>
                      <a:pt x="113573" y="587576"/>
                    </a:cubicBezTo>
                    <a:cubicBezTo>
                      <a:pt x="120004" y="596147"/>
                      <a:pt x="130007" y="601147"/>
                      <a:pt x="140725" y="601147"/>
                    </a:cubicBezTo>
                    <a:cubicBezTo>
                      <a:pt x="157159" y="601147"/>
                      <a:pt x="170736" y="590433"/>
                      <a:pt x="175737" y="575435"/>
                    </a:cubicBezTo>
                    <a:cubicBezTo>
                      <a:pt x="175737" y="575435"/>
                      <a:pt x="175737" y="575435"/>
                      <a:pt x="176452" y="573292"/>
                    </a:cubicBezTo>
                    <a:cubicBezTo>
                      <a:pt x="176452" y="573292"/>
                      <a:pt x="176452" y="573292"/>
                      <a:pt x="197174" y="446162"/>
                    </a:cubicBezTo>
                    <a:cubicBezTo>
                      <a:pt x="197174" y="446162"/>
                      <a:pt x="197174" y="446162"/>
                      <a:pt x="316501" y="477588"/>
                    </a:cubicBezTo>
                    <a:cubicBezTo>
                      <a:pt x="316501" y="477588"/>
                      <a:pt x="316501" y="477588"/>
                      <a:pt x="322217" y="477588"/>
                    </a:cubicBezTo>
                    <a:cubicBezTo>
                      <a:pt x="337223" y="477588"/>
                      <a:pt x="350084" y="467589"/>
                      <a:pt x="355086" y="454019"/>
                    </a:cubicBezTo>
                    <a:cubicBezTo>
                      <a:pt x="360088" y="439734"/>
                      <a:pt x="355801" y="424022"/>
                      <a:pt x="344368" y="414737"/>
                    </a:cubicBezTo>
                    <a:cubicBezTo>
                      <a:pt x="344368" y="414737"/>
                      <a:pt x="344368" y="414737"/>
                      <a:pt x="274343" y="356172"/>
                    </a:cubicBezTo>
                    <a:cubicBezTo>
                      <a:pt x="274343" y="356172"/>
                      <a:pt x="274343" y="356172"/>
                      <a:pt x="455836" y="320461"/>
                    </a:cubicBezTo>
                    <a:cubicBezTo>
                      <a:pt x="473699" y="316176"/>
                      <a:pt x="486561" y="299749"/>
                      <a:pt x="485132" y="280465"/>
                    </a:cubicBezTo>
                    <a:cubicBezTo>
                      <a:pt x="484417" y="262610"/>
                      <a:pt x="470841" y="248325"/>
                      <a:pt x="452978" y="245469"/>
                    </a:cubicBezTo>
                    <a:cubicBezTo>
                      <a:pt x="452978" y="245469"/>
                      <a:pt x="452978" y="245469"/>
                      <a:pt x="262911" y="212615"/>
                    </a:cubicBezTo>
                    <a:cubicBezTo>
                      <a:pt x="262911" y="212615"/>
                      <a:pt x="262911" y="212615"/>
                      <a:pt x="275058" y="201187"/>
                    </a:cubicBezTo>
                    <a:cubicBezTo>
                      <a:pt x="287920" y="190474"/>
                      <a:pt x="292207" y="172619"/>
                      <a:pt x="285776" y="156906"/>
                    </a:cubicBezTo>
                    <a:cubicBezTo>
                      <a:pt x="280060" y="141194"/>
                      <a:pt x="265055" y="131195"/>
                      <a:pt x="248620" y="131195"/>
                    </a:cubicBezTo>
                    <a:cubicBezTo>
                      <a:pt x="248620" y="131195"/>
                      <a:pt x="248620" y="131195"/>
                      <a:pt x="242904" y="131195"/>
                    </a:cubicBezTo>
                    <a:cubicBezTo>
                      <a:pt x="242904" y="131195"/>
                      <a:pt x="242904" y="131195"/>
                      <a:pt x="185026" y="144050"/>
                    </a:cubicBezTo>
                    <a:cubicBezTo>
                      <a:pt x="185026" y="144050"/>
                      <a:pt x="185026" y="144050"/>
                      <a:pt x="149604" y="26826"/>
                    </a:cubicBezTo>
                    <a:lnTo>
                      <a:pt x="148830" y="24266"/>
                    </a:lnTo>
                    <a:lnTo>
                      <a:pt x="168276" y="21577"/>
                    </a:lnTo>
                    <a:cubicBezTo>
                      <a:pt x="198518" y="17396"/>
                      <a:pt x="246906" y="10705"/>
                      <a:pt x="32432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4" name="Freeform 36">
                <a:extLst>
                  <a:ext uri="{FF2B5EF4-FFF2-40B4-BE49-F238E27FC236}">
                    <a16:creationId xmlns:a16="http://schemas.microsoft.com/office/drawing/2014/main" id="{EA1A6F17-DF5A-B201-F1B3-1D3859AB1DDF}"/>
                  </a:ext>
                </a:extLst>
              </p:cNvPr>
              <p:cNvSpPr>
                <a:spLocks/>
              </p:cNvSpPr>
              <p:nvPr/>
            </p:nvSpPr>
            <p:spPr bwMode="auto">
              <a:xfrm>
                <a:off x="5425204" y="2760950"/>
                <a:ext cx="1339135" cy="1334800"/>
              </a:xfrm>
              <a:custGeom>
                <a:avLst/>
                <a:gdLst>
                  <a:gd name="connsiteX0" fmla="*/ 231853 w 1339135"/>
                  <a:gd name="connsiteY0" fmla="*/ 1028413 h 1334800"/>
                  <a:gd name="connsiteX1" fmla="*/ 258047 w 1339135"/>
                  <a:gd name="connsiteY1" fmla="*/ 1054607 h 1334800"/>
                  <a:gd name="connsiteX2" fmla="*/ 231853 w 1339135"/>
                  <a:gd name="connsiteY2" fmla="*/ 1080801 h 1334800"/>
                  <a:gd name="connsiteX3" fmla="*/ 205659 w 1339135"/>
                  <a:gd name="connsiteY3" fmla="*/ 1054607 h 1334800"/>
                  <a:gd name="connsiteX4" fmla="*/ 231853 w 1339135"/>
                  <a:gd name="connsiteY4" fmla="*/ 1028413 h 1334800"/>
                  <a:gd name="connsiteX5" fmla="*/ 171600 w 1339135"/>
                  <a:gd name="connsiteY5" fmla="*/ 867065 h 1334800"/>
                  <a:gd name="connsiteX6" fmla="*/ 201906 w 1339135"/>
                  <a:gd name="connsiteY6" fmla="*/ 887991 h 1334800"/>
                  <a:gd name="connsiteX7" fmla="*/ 180981 w 1339135"/>
                  <a:gd name="connsiteY7" fmla="*/ 917577 h 1334800"/>
                  <a:gd name="connsiteX8" fmla="*/ 150674 w 1339135"/>
                  <a:gd name="connsiteY8" fmla="*/ 896650 h 1334800"/>
                  <a:gd name="connsiteX9" fmla="*/ 171600 w 1339135"/>
                  <a:gd name="connsiteY9" fmla="*/ 867065 h 1334800"/>
                  <a:gd name="connsiteX10" fmla="*/ 224405 w 1339135"/>
                  <a:gd name="connsiteY10" fmla="*/ 768265 h 1334800"/>
                  <a:gd name="connsiteX11" fmla="*/ 277602 w 1339135"/>
                  <a:gd name="connsiteY11" fmla="*/ 805859 h 1334800"/>
                  <a:gd name="connsiteX12" fmla="*/ 240009 w 1339135"/>
                  <a:gd name="connsiteY12" fmla="*/ 859057 h 1334800"/>
                  <a:gd name="connsiteX13" fmla="*/ 186811 w 1339135"/>
                  <a:gd name="connsiteY13" fmla="*/ 821464 h 1334800"/>
                  <a:gd name="connsiteX14" fmla="*/ 224405 w 1339135"/>
                  <a:gd name="connsiteY14" fmla="*/ 768265 h 1334800"/>
                  <a:gd name="connsiteX15" fmla="*/ 98616 w 1339135"/>
                  <a:gd name="connsiteY15" fmla="*/ 743178 h 1334800"/>
                  <a:gd name="connsiteX16" fmla="*/ 127356 w 1339135"/>
                  <a:gd name="connsiteY16" fmla="*/ 763506 h 1334800"/>
                  <a:gd name="connsiteX17" fmla="*/ 107028 w 1339135"/>
                  <a:gd name="connsiteY17" fmla="*/ 792246 h 1334800"/>
                  <a:gd name="connsiteX18" fmla="*/ 78288 w 1339135"/>
                  <a:gd name="connsiteY18" fmla="*/ 771918 h 1334800"/>
                  <a:gd name="connsiteX19" fmla="*/ 98616 w 1339135"/>
                  <a:gd name="connsiteY19" fmla="*/ 743178 h 1334800"/>
                  <a:gd name="connsiteX20" fmla="*/ 596164 w 1339135"/>
                  <a:gd name="connsiteY20" fmla="*/ 669638 h 1334800"/>
                  <a:gd name="connsiteX21" fmla="*/ 557659 w 1339135"/>
                  <a:gd name="connsiteY21" fmla="*/ 802908 h 1334800"/>
                  <a:gd name="connsiteX22" fmla="*/ 550529 w 1339135"/>
                  <a:gd name="connsiteY22" fmla="*/ 827270 h 1334800"/>
                  <a:gd name="connsiteX23" fmla="*/ 548389 w 1339135"/>
                  <a:gd name="connsiteY23" fmla="*/ 828703 h 1334800"/>
                  <a:gd name="connsiteX24" fmla="*/ 522719 w 1339135"/>
                  <a:gd name="connsiteY24" fmla="*/ 825837 h 1334800"/>
                  <a:gd name="connsiteX25" fmla="*/ 464962 w 1339135"/>
                  <a:gd name="connsiteY25" fmla="*/ 817955 h 1334800"/>
                  <a:gd name="connsiteX26" fmla="*/ 462823 w 1339135"/>
                  <a:gd name="connsiteY26" fmla="*/ 821538 h 1334800"/>
                  <a:gd name="connsiteX27" fmla="*/ 477797 w 1339135"/>
                  <a:gd name="connsiteY27" fmla="*/ 835868 h 1334800"/>
                  <a:gd name="connsiteX28" fmla="*/ 513450 w 1339135"/>
                  <a:gd name="connsiteY28" fmla="*/ 870977 h 1334800"/>
                  <a:gd name="connsiteX29" fmla="*/ 512737 w 1339135"/>
                  <a:gd name="connsiteY29" fmla="*/ 874559 h 1334800"/>
                  <a:gd name="connsiteX30" fmla="*/ 464249 w 1339135"/>
                  <a:gd name="connsiteY30" fmla="*/ 888173 h 1334800"/>
                  <a:gd name="connsiteX31" fmla="*/ 436440 w 1339135"/>
                  <a:gd name="connsiteY31" fmla="*/ 896771 h 1334800"/>
                  <a:gd name="connsiteX32" fmla="*/ 437153 w 1339135"/>
                  <a:gd name="connsiteY32" fmla="*/ 900353 h 1334800"/>
                  <a:gd name="connsiteX33" fmla="*/ 478510 w 1339135"/>
                  <a:gd name="connsiteY33" fmla="*/ 908235 h 1334800"/>
                  <a:gd name="connsiteX34" fmla="*/ 544824 w 1339135"/>
                  <a:gd name="connsiteY34" fmla="*/ 921132 h 1334800"/>
                  <a:gd name="connsiteX35" fmla="*/ 546250 w 1339135"/>
                  <a:gd name="connsiteY35" fmla="*/ 924715 h 1334800"/>
                  <a:gd name="connsiteX36" fmla="*/ 491345 w 1339135"/>
                  <a:gd name="connsiteY36" fmla="*/ 964839 h 1334800"/>
                  <a:gd name="connsiteX37" fmla="*/ 415761 w 1339135"/>
                  <a:gd name="connsiteY37" fmla="*/ 1020726 h 1334800"/>
                  <a:gd name="connsiteX38" fmla="*/ 417188 w 1339135"/>
                  <a:gd name="connsiteY38" fmla="*/ 1024309 h 1334800"/>
                  <a:gd name="connsiteX39" fmla="*/ 513450 w 1339135"/>
                  <a:gd name="connsiteY39" fmla="*/ 1003530 h 1334800"/>
                  <a:gd name="connsiteX40" fmla="*/ 528424 w 1339135"/>
                  <a:gd name="connsiteY40" fmla="*/ 999948 h 1334800"/>
                  <a:gd name="connsiteX41" fmla="*/ 533415 w 1339135"/>
                  <a:gd name="connsiteY41" fmla="*/ 1002097 h 1334800"/>
                  <a:gd name="connsiteX42" fmla="*/ 543398 w 1339135"/>
                  <a:gd name="connsiteY42" fmla="*/ 1012845 h 1334800"/>
                  <a:gd name="connsiteX43" fmla="*/ 617556 w 1339135"/>
                  <a:gd name="connsiteY43" fmla="*/ 1095243 h 1334800"/>
                  <a:gd name="connsiteX44" fmla="*/ 621121 w 1339135"/>
                  <a:gd name="connsiteY44" fmla="*/ 1094527 h 1334800"/>
                  <a:gd name="connsiteX45" fmla="*/ 637521 w 1339135"/>
                  <a:gd name="connsiteY45" fmla="*/ 994216 h 1334800"/>
                  <a:gd name="connsiteX46" fmla="*/ 642512 w 1339135"/>
                  <a:gd name="connsiteY46" fmla="*/ 962689 h 1334800"/>
                  <a:gd name="connsiteX47" fmla="*/ 644652 w 1339135"/>
                  <a:gd name="connsiteY47" fmla="*/ 960540 h 1334800"/>
                  <a:gd name="connsiteX48" fmla="*/ 676739 w 1339135"/>
                  <a:gd name="connsiteY48" fmla="*/ 969138 h 1334800"/>
                  <a:gd name="connsiteX49" fmla="*/ 698844 w 1339135"/>
                  <a:gd name="connsiteY49" fmla="*/ 974870 h 1334800"/>
                  <a:gd name="connsiteX50" fmla="*/ 700270 w 1339135"/>
                  <a:gd name="connsiteY50" fmla="*/ 971287 h 1334800"/>
                  <a:gd name="connsiteX51" fmla="*/ 681017 w 1339135"/>
                  <a:gd name="connsiteY51" fmla="*/ 954808 h 1334800"/>
                  <a:gd name="connsiteX52" fmla="*/ 633243 w 1339135"/>
                  <a:gd name="connsiteY52" fmla="*/ 915400 h 1334800"/>
                  <a:gd name="connsiteX53" fmla="*/ 633956 w 1339135"/>
                  <a:gd name="connsiteY53" fmla="*/ 911817 h 1334800"/>
                  <a:gd name="connsiteX54" fmla="*/ 694565 w 1339135"/>
                  <a:gd name="connsiteY54" fmla="*/ 899637 h 1334800"/>
                  <a:gd name="connsiteX55" fmla="*/ 797245 w 1339135"/>
                  <a:gd name="connsiteY55" fmla="*/ 878858 h 1334800"/>
                  <a:gd name="connsiteX56" fmla="*/ 797245 w 1339135"/>
                  <a:gd name="connsiteY56" fmla="*/ 875276 h 1334800"/>
                  <a:gd name="connsiteX57" fmla="*/ 686009 w 1339135"/>
                  <a:gd name="connsiteY57" fmla="*/ 855213 h 1334800"/>
                  <a:gd name="connsiteX58" fmla="*/ 626112 w 1339135"/>
                  <a:gd name="connsiteY58" fmla="*/ 845182 h 1334800"/>
                  <a:gd name="connsiteX59" fmla="*/ 624686 w 1339135"/>
                  <a:gd name="connsiteY59" fmla="*/ 841600 h 1334800"/>
                  <a:gd name="connsiteX60" fmla="*/ 667469 w 1339135"/>
                  <a:gd name="connsiteY60" fmla="*/ 803625 h 1334800"/>
                  <a:gd name="connsiteX61" fmla="*/ 666756 w 1339135"/>
                  <a:gd name="connsiteY61" fmla="*/ 803625 h 1334800"/>
                  <a:gd name="connsiteX62" fmla="*/ 639660 w 1339135"/>
                  <a:gd name="connsiteY62" fmla="*/ 809357 h 1334800"/>
                  <a:gd name="connsiteX63" fmla="*/ 637521 w 1339135"/>
                  <a:gd name="connsiteY63" fmla="*/ 807924 h 1334800"/>
                  <a:gd name="connsiteX64" fmla="*/ 629677 w 1339135"/>
                  <a:gd name="connsiteY64" fmla="*/ 782130 h 1334800"/>
                  <a:gd name="connsiteX65" fmla="*/ 596164 w 1339135"/>
                  <a:gd name="connsiteY65" fmla="*/ 669638 h 1334800"/>
                  <a:gd name="connsiteX66" fmla="*/ 594585 w 1339135"/>
                  <a:gd name="connsiteY66" fmla="*/ 536 h 1334800"/>
                  <a:gd name="connsiteX67" fmla="*/ 606293 w 1339135"/>
                  <a:gd name="connsiteY67" fmla="*/ 1697 h 1334800"/>
                  <a:gd name="connsiteX68" fmla="*/ 1018830 w 1339135"/>
                  <a:gd name="connsiteY68" fmla="*/ 208878 h 1334800"/>
                  <a:gd name="connsiteX69" fmla="*/ 1026694 w 1339135"/>
                  <a:gd name="connsiteY69" fmla="*/ 216737 h 1334800"/>
                  <a:gd name="connsiteX70" fmla="*/ 1101766 w 1339135"/>
                  <a:gd name="connsiteY70" fmla="*/ 404629 h 1334800"/>
                  <a:gd name="connsiteX71" fmla="*/ 1289802 w 1339135"/>
                  <a:gd name="connsiteY71" fmla="*/ 530366 h 1334800"/>
                  <a:gd name="connsiteX72" fmla="*/ 1296237 w 1339135"/>
                  <a:gd name="connsiteY72" fmla="*/ 542511 h 1334800"/>
                  <a:gd name="connsiteX73" fmla="*/ 1339135 w 1339135"/>
                  <a:gd name="connsiteY73" fmla="*/ 1318369 h 1334800"/>
                  <a:gd name="connsiteX74" fmla="*/ 1334845 w 1339135"/>
                  <a:gd name="connsiteY74" fmla="*/ 1329799 h 1334800"/>
                  <a:gd name="connsiteX75" fmla="*/ 1323406 w 1339135"/>
                  <a:gd name="connsiteY75" fmla="*/ 1334800 h 1334800"/>
                  <a:gd name="connsiteX76" fmla="*/ 31459 w 1339135"/>
                  <a:gd name="connsiteY76" fmla="*/ 1334800 h 1334800"/>
                  <a:gd name="connsiteX77" fmla="*/ 15730 w 1339135"/>
                  <a:gd name="connsiteY77" fmla="*/ 1319083 h 1334800"/>
                  <a:gd name="connsiteX78" fmla="*/ 15730 w 1339135"/>
                  <a:gd name="connsiteY78" fmla="*/ 1191202 h 1334800"/>
                  <a:gd name="connsiteX79" fmla="*/ 27884 w 1339135"/>
                  <a:gd name="connsiteY79" fmla="*/ 1176200 h 1334800"/>
                  <a:gd name="connsiteX80" fmla="*/ 143709 w 1339135"/>
                  <a:gd name="connsiteY80" fmla="*/ 1150480 h 1334800"/>
                  <a:gd name="connsiteX81" fmla="*/ 150143 w 1339135"/>
                  <a:gd name="connsiteY81" fmla="*/ 1150480 h 1334800"/>
                  <a:gd name="connsiteX82" fmla="*/ 252384 w 1339135"/>
                  <a:gd name="connsiteY82" fmla="*/ 1174771 h 1334800"/>
                  <a:gd name="connsiteX83" fmla="*/ 307436 w 1339135"/>
                  <a:gd name="connsiteY83" fmla="*/ 1156196 h 1334800"/>
                  <a:gd name="connsiteX84" fmla="*/ 315301 w 1339135"/>
                  <a:gd name="connsiteY84" fmla="*/ 1155481 h 1334800"/>
                  <a:gd name="connsiteX85" fmla="*/ 452575 w 1339135"/>
                  <a:gd name="connsiteY85" fmla="*/ 1179057 h 1334800"/>
                  <a:gd name="connsiteX86" fmla="*/ 487608 w 1339135"/>
                  <a:gd name="connsiteY86" fmla="*/ 1185487 h 1334800"/>
                  <a:gd name="connsiteX87" fmla="*/ 499763 w 1339135"/>
                  <a:gd name="connsiteY87" fmla="*/ 1219065 h 1334800"/>
                  <a:gd name="connsiteX88" fmla="*/ 446855 w 1339135"/>
                  <a:gd name="connsiteY88" fmla="*/ 1209777 h 1334800"/>
                  <a:gd name="connsiteX89" fmla="*/ 313871 w 1339135"/>
                  <a:gd name="connsiteY89" fmla="*/ 1187630 h 1334800"/>
                  <a:gd name="connsiteX90" fmla="*/ 258104 w 1339135"/>
                  <a:gd name="connsiteY90" fmla="*/ 1206205 h 1334800"/>
                  <a:gd name="connsiteX91" fmla="*/ 249524 w 1339135"/>
                  <a:gd name="connsiteY91" fmla="*/ 1206205 h 1334800"/>
                  <a:gd name="connsiteX92" fmla="*/ 146569 w 1339135"/>
                  <a:gd name="connsiteY92" fmla="*/ 1181915 h 1334800"/>
                  <a:gd name="connsiteX93" fmla="*/ 47188 w 1339135"/>
                  <a:gd name="connsiteY93" fmla="*/ 1204062 h 1334800"/>
                  <a:gd name="connsiteX94" fmla="*/ 47188 w 1339135"/>
                  <a:gd name="connsiteY94" fmla="*/ 1303366 h 1334800"/>
                  <a:gd name="connsiteX95" fmla="*/ 1306962 w 1339135"/>
                  <a:gd name="connsiteY95" fmla="*/ 1303366 h 1334800"/>
                  <a:gd name="connsiteX96" fmla="*/ 1265493 w 1339135"/>
                  <a:gd name="connsiteY96" fmla="*/ 552513 h 1334800"/>
                  <a:gd name="connsiteX97" fmla="*/ 1080317 w 1339135"/>
                  <a:gd name="connsiteY97" fmla="*/ 428204 h 1334800"/>
                  <a:gd name="connsiteX98" fmla="*/ 1074597 w 1339135"/>
                  <a:gd name="connsiteY98" fmla="*/ 421060 h 1334800"/>
                  <a:gd name="connsiteX99" fmla="*/ 999525 w 1339135"/>
                  <a:gd name="connsiteY99" fmla="*/ 233883 h 1334800"/>
                  <a:gd name="connsiteX100" fmla="*/ 604863 w 1339135"/>
                  <a:gd name="connsiteY100" fmla="*/ 35989 h 1334800"/>
                  <a:gd name="connsiteX101" fmla="*/ 351049 w 1339135"/>
                  <a:gd name="connsiteY101" fmla="*/ 452495 h 1334800"/>
                  <a:gd name="connsiteX102" fmla="*/ 331745 w 1339135"/>
                  <a:gd name="connsiteY102" fmla="*/ 458924 h 1334800"/>
                  <a:gd name="connsiteX103" fmla="*/ 193757 w 1339135"/>
                  <a:gd name="connsiteY103" fmla="*/ 403914 h 1334800"/>
                  <a:gd name="connsiteX104" fmla="*/ 43613 w 1339135"/>
                  <a:gd name="connsiteY104" fmla="*/ 651103 h 1334800"/>
                  <a:gd name="connsiteX105" fmla="*/ 54338 w 1339135"/>
                  <a:gd name="connsiteY105" fmla="*/ 651103 h 1334800"/>
                  <a:gd name="connsiteX106" fmla="*/ 63632 w 1339135"/>
                  <a:gd name="connsiteY106" fmla="*/ 654675 h 1334800"/>
                  <a:gd name="connsiteX107" fmla="*/ 87941 w 1339135"/>
                  <a:gd name="connsiteY107" fmla="*/ 673250 h 1334800"/>
                  <a:gd name="connsiteX108" fmla="*/ 165158 w 1339135"/>
                  <a:gd name="connsiteY108" fmla="*/ 638243 h 1334800"/>
                  <a:gd name="connsiteX109" fmla="*/ 178742 w 1339135"/>
                  <a:gd name="connsiteY109" fmla="*/ 638243 h 1334800"/>
                  <a:gd name="connsiteX110" fmla="*/ 202336 w 1339135"/>
                  <a:gd name="connsiteY110" fmla="*/ 650388 h 1334800"/>
                  <a:gd name="connsiteX111" fmla="*/ 319591 w 1339135"/>
                  <a:gd name="connsiteY111" fmla="*/ 608952 h 1334800"/>
                  <a:gd name="connsiteX112" fmla="*/ 329600 w 1339135"/>
                  <a:gd name="connsiteY112" fmla="*/ 608952 h 1334800"/>
                  <a:gd name="connsiteX113" fmla="*/ 453290 w 1339135"/>
                  <a:gd name="connsiteY113" fmla="*/ 650388 h 1334800"/>
                  <a:gd name="connsiteX114" fmla="*/ 574834 w 1339135"/>
                  <a:gd name="connsiteY114" fmla="*/ 629670 h 1334800"/>
                  <a:gd name="connsiteX115" fmla="*/ 591994 w 1339135"/>
                  <a:gd name="connsiteY115" fmla="*/ 569659 h 1334800"/>
                  <a:gd name="connsiteX116" fmla="*/ 595569 w 1339135"/>
                  <a:gd name="connsiteY116" fmla="*/ 566801 h 1334800"/>
                  <a:gd name="connsiteX117" fmla="*/ 599143 w 1339135"/>
                  <a:gd name="connsiteY117" fmla="*/ 569659 h 1334800"/>
                  <a:gd name="connsiteX118" fmla="*/ 659916 w 1339135"/>
                  <a:gd name="connsiteY118" fmla="*/ 771125 h 1334800"/>
                  <a:gd name="connsiteX119" fmla="*/ 662776 w 1339135"/>
                  <a:gd name="connsiteY119" fmla="*/ 772554 h 1334800"/>
                  <a:gd name="connsiteX120" fmla="*/ 743567 w 1339135"/>
                  <a:gd name="connsiteY120" fmla="*/ 753979 h 1334800"/>
                  <a:gd name="connsiteX121" fmla="*/ 745712 w 1339135"/>
                  <a:gd name="connsiteY121" fmla="*/ 753979 h 1334800"/>
                  <a:gd name="connsiteX122" fmla="*/ 751432 w 1339135"/>
                  <a:gd name="connsiteY122" fmla="*/ 769696 h 1334800"/>
                  <a:gd name="connsiteX123" fmla="*/ 694949 w 1339135"/>
                  <a:gd name="connsiteY123" fmla="*/ 821134 h 1334800"/>
                  <a:gd name="connsiteX124" fmla="*/ 695664 w 1339135"/>
                  <a:gd name="connsiteY124" fmla="*/ 824706 h 1334800"/>
                  <a:gd name="connsiteX125" fmla="*/ 945903 w 1339135"/>
                  <a:gd name="connsiteY125" fmla="*/ 868286 h 1334800"/>
                  <a:gd name="connsiteX126" fmla="*/ 946618 w 1339135"/>
                  <a:gd name="connsiteY126" fmla="*/ 881145 h 1334800"/>
                  <a:gd name="connsiteX127" fmla="*/ 705674 w 1339135"/>
                  <a:gd name="connsiteY127" fmla="*/ 929011 h 1334800"/>
                  <a:gd name="connsiteX128" fmla="*/ 704959 w 1339135"/>
                  <a:gd name="connsiteY128" fmla="*/ 932583 h 1334800"/>
                  <a:gd name="connsiteX129" fmla="*/ 821498 w 1339135"/>
                  <a:gd name="connsiteY129" fmla="*/ 1030458 h 1334800"/>
                  <a:gd name="connsiteX130" fmla="*/ 819353 w 1339135"/>
                  <a:gd name="connsiteY130" fmla="*/ 1037603 h 1334800"/>
                  <a:gd name="connsiteX131" fmla="*/ 817924 w 1339135"/>
                  <a:gd name="connsiteY131" fmla="*/ 1037603 h 1334800"/>
                  <a:gd name="connsiteX132" fmla="*/ 671355 w 1339135"/>
                  <a:gd name="connsiteY132" fmla="*/ 999024 h 1334800"/>
                  <a:gd name="connsiteX133" fmla="*/ 668495 w 1339135"/>
                  <a:gd name="connsiteY133" fmla="*/ 1000453 h 1334800"/>
                  <a:gd name="connsiteX134" fmla="*/ 642756 w 1339135"/>
                  <a:gd name="connsiteY134" fmla="*/ 1157625 h 1334800"/>
                  <a:gd name="connsiteX135" fmla="*/ 637752 w 1339135"/>
                  <a:gd name="connsiteY135" fmla="*/ 1161197 h 1334800"/>
                  <a:gd name="connsiteX136" fmla="*/ 634892 w 1339135"/>
                  <a:gd name="connsiteY136" fmla="*/ 1159768 h 1334800"/>
                  <a:gd name="connsiteX137" fmla="*/ 520497 w 1339135"/>
                  <a:gd name="connsiteY137" fmla="*/ 1034030 h 1334800"/>
                  <a:gd name="connsiteX138" fmla="*/ 519067 w 1339135"/>
                  <a:gd name="connsiteY138" fmla="*/ 1033316 h 1334800"/>
                  <a:gd name="connsiteX139" fmla="*/ 282413 w 1339135"/>
                  <a:gd name="connsiteY139" fmla="*/ 1084754 h 1334800"/>
                  <a:gd name="connsiteX140" fmla="*/ 281698 w 1339135"/>
                  <a:gd name="connsiteY140" fmla="*/ 1084754 h 1334800"/>
                  <a:gd name="connsiteX141" fmla="*/ 280268 w 1339135"/>
                  <a:gd name="connsiteY141" fmla="*/ 1079753 h 1334800"/>
                  <a:gd name="connsiteX142" fmla="*/ 469019 w 1339135"/>
                  <a:gd name="connsiteY142" fmla="*/ 941156 h 1334800"/>
                  <a:gd name="connsiteX143" fmla="*/ 468304 w 1339135"/>
                  <a:gd name="connsiteY143" fmla="*/ 937584 h 1334800"/>
                  <a:gd name="connsiteX144" fmla="*/ 314586 w 1339135"/>
                  <a:gd name="connsiteY144" fmla="*/ 909007 h 1334800"/>
                  <a:gd name="connsiteX145" fmla="*/ 314586 w 1339135"/>
                  <a:gd name="connsiteY145" fmla="*/ 899006 h 1334800"/>
                  <a:gd name="connsiteX146" fmla="*/ 451860 w 1339135"/>
                  <a:gd name="connsiteY146" fmla="*/ 858284 h 1334800"/>
                  <a:gd name="connsiteX147" fmla="*/ 453290 w 1339135"/>
                  <a:gd name="connsiteY147" fmla="*/ 855426 h 1334800"/>
                  <a:gd name="connsiteX148" fmla="*/ 376788 w 1339135"/>
                  <a:gd name="connsiteY148" fmla="*/ 781127 h 1334800"/>
                  <a:gd name="connsiteX149" fmla="*/ 379648 w 1339135"/>
                  <a:gd name="connsiteY149" fmla="*/ 773982 h 1334800"/>
                  <a:gd name="connsiteX150" fmla="*/ 380363 w 1339135"/>
                  <a:gd name="connsiteY150" fmla="*/ 773982 h 1334800"/>
                  <a:gd name="connsiteX151" fmla="*/ 525502 w 1339135"/>
                  <a:gd name="connsiteY151" fmla="*/ 793986 h 1334800"/>
                  <a:gd name="connsiteX152" fmla="*/ 527647 w 1339135"/>
                  <a:gd name="connsiteY152" fmla="*/ 792557 h 1334800"/>
                  <a:gd name="connsiteX153" fmla="*/ 564825 w 1339135"/>
                  <a:gd name="connsiteY153" fmla="*/ 663248 h 1334800"/>
                  <a:gd name="connsiteX154" fmla="*/ 454720 w 1339135"/>
                  <a:gd name="connsiteY154" fmla="*/ 682537 h 1334800"/>
                  <a:gd name="connsiteX155" fmla="*/ 446855 w 1339135"/>
                  <a:gd name="connsiteY155" fmla="*/ 681823 h 1334800"/>
                  <a:gd name="connsiteX156" fmla="*/ 324596 w 1339135"/>
                  <a:gd name="connsiteY156" fmla="*/ 640386 h 1334800"/>
                  <a:gd name="connsiteX157" fmla="*/ 206626 w 1339135"/>
                  <a:gd name="connsiteY157" fmla="*/ 682537 h 1334800"/>
                  <a:gd name="connsiteX158" fmla="*/ 194472 w 1339135"/>
                  <a:gd name="connsiteY158" fmla="*/ 681823 h 1334800"/>
                  <a:gd name="connsiteX159" fmla="*/ 170878 w 1339135"/>
                  <a:gd name="connsiteY159" fmla="*/ 669678 h 1334800"/>
                  <a:gd name="connsiteX160" fmla="*/ 92231 w 1339135"/>
                  <a:gd name="connsiteY160" fmla="*/ 705398 h 1334800"/>
                  <a:gd name="connsiteX161" fmla="*/ 76502 w 1339135"/>
                  <a:gd name="connsiteY161" fmla="*/ 703255 h 1334800"/>
                  <a:gd name="connsiteX162" fmla="*/ 48618 w 1339135"/>
                  <a:gd name="connsiteY162" fmla="*/ 682537 h 1334800"/>
                  <a:gd name="connsiteX163" fmla="*/ 15730 w 1339135"/>
                  <a:gd name="connsiteY163" fmla="*/ 682537 h 1334800"/>
                  <a:gd name="connsiteX164" fmla="*/ 2145 w 1339135"/>
                  <a:gd name="connsiteY164" fmla="*/ 674678 h 1334800"/>
                  <a:gd name="connsiteX165" fmla="*/ 2145 w 1339135"/>
                  <a:gd name="connsiteY165" fmla="*/ 658961 h 1334800"/>
                  <a:gd name="connsiteX166" fmla="*/ 174452 w 1339135"/>
                  <a:gd name="connsiteY166" fmla="*/ 376766 h 1334800"/>
                  <a:gd name="connsiteX167" fmla="*/ 193042 w 1339135"/>
                  <a:gd name="connsiteY167" fmla="*/ 370337 h 1334800"/>
                  <a:gd name="connsiteX168" fmla="*/ 331030 w 1339135"/>
                  <a:gd name="connsiteY168" fmla="*/ 424632 h 1334800"/>
                  <a:gd name="connsiteX169" fmla="*/ 585559 w 1339135"/>
                  <a:gd name="connsiteY169" fmla="*/ 7413 h 1334800"/>
                  <a:gd name="connsiteX170" fmla="*/ 594585 w 1339135"/>
                  <a:gd name="connsiteY170" fmla="*/ 536 h 133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339135" h="1334800">
                    <a:moveTo>
                      <a:pt x="231853" y="1028413"/>
                    </a:moveTo>
                    <a:cubicBezTo>
                      <a:pt x="246320" y="1028413"/>
                      <a:pt x="258047" y="1040140"/>
                      <a:pt x="258047" y="1054607"/>
                    </a:cubicBezTo>
                    <a:cubicBezTo>
                      <a:pt x="258047" y="1069074"/>
                      <a:pt x="246320" y="1080801"/>
                      <a:pt x="231853" y="1080801"/>
                    </a:cubicBezTo>
                    <a:cubicBezTo>
                      <a:pt x="217386" y="1080801"/>
                      <a:pt x="205659" y="1069074"/>
                      <a:pt x="205659" y="1054607"/>
                    </a:cubicBezTo>
                    <a:cubicBezTo>
                      <a:pt x="205659" y="1040140"/>
                      <a:pt x="217386" y="1028413"/>
                      <a:pt x="231853" y="1028413"/>
                    </a:cubicBezTo>
                    <a:close/>
                    <a:moveTo>
                      <a:pt x="171600" y="867065"/>
                    </a:moveTo>
                    <a:cubicBezTo>
                      <a:pt x="186032" y="864900"/>
                      <a:pt x="199020" y="874281"/>
                      <a:pt x="201906" y="887991"/>
                    </a:cubicBezTo>
                    <a:cubicBezTo>
                      <a:pt x="204071" y="902423"/>
                      <a:pt x="194691" y="915412"/>
                      <a:pt x="180981" y="917577"/>
                    </a:cubicBezTo>
                    <a:cubicBezTo>
                      <a:pt x="166549" y="920463"/>
                      <a:pt x="153560" y="911082"/>
                      <a:pt x="150674" y="896650"/>
                    </a:cubicBezTo>
                    <a:cubicBezTo>
                      <a:pt x="148509" y="882940"/>
                      <a:pt x="157890" y="869230"/>
                      <a:pt x="171600" y="867065"/>
                    </a:cubicBezTo>
                    <a:close/>
                    <a:moveTo>
                      <a:pt x="224405" y="768265"/>
                    </a:moveTo>
                    <a:cubicBezTo>
                      <a:pt x="249230" y="763300"/>
                      <a:pt x="273347" y="780324"/>
                      <a:pt x="277602" y="805859"/>
                    </a:cubicBezTo>
                    <a:cubicBezTo>
                      <a:pt x="281858" y="830685"/>
                      <a:pt x="265544" y="854801"/>
                      <a:pt x="240009" y="859057"/>
                    </a:cubicBezTo>
                    <a:cubicBezTo>
                      <a:pt x="214474" y="863313"/>
                      <a:pt x="191067" y="846999"/>
                      <a:pt x="186811" y="821464"/>
                    </a:cubicBezTo>
                    <a:cubicBezTo>
                      <a:pt x="181846" y="795928"/>
                      <a:pt x="198870" y="772521"/>
                      <a:pt x="224405" y="768265"/>
                    </a:cubicBezTo>
                    <a:close/>
                    <a:moveTo>
                      <a:pt x="98616" y="743178"/>
                    </a:moveTo>
                    <a:cubicBezTo>
                      <a:pt x="111935" y="741075"/>
                      <a:pt x="125253" y="750188"/>
                      <a:pt x="127356" y="763506"/>
                    </a:cubicBezTo>
                    <a:cubicBezTo>
                      <a:pt x="129459" y="776825"/>
                      <a:pt x="120347" y="790143"/>
                      <a:pt x="107028" y="792246"/>
                    </a:cubicBezTo>
                    <a:cubicBezTo>
                      <a:pt x="93710" y="795050"/>
                      <a:pt x="80391" y="785937"/>
                      <a:pt x="78288" y="771918"/>
                    </a:cubicBezTo>
                    <a:cubicBezTo>
                      <a:pt x="75484" y="758599"/>
                      <a:pt x="84597" y="745281"/>
                      <a:pt x="98616" y="743178"/>
                    </a:cubicBezTo>
                    <a:close/>
                    <a:moveTo>
                      <a:pt x="596164" y="669638"/>
                    </a:moveTo>
                    <a:cubicBezTo>
                      <a:pt x="557659" y="802908"/>
                      <a:pt x="557659" y="802908"/>
                      <a:pt x="557659" y="802908"/>
                    </a:cubicBezTo>
                    <a:cubicBezTo>
                      <a:pt x="550529" y="827270"/>
                      <a:pt x="550529" y="827270"/>
                      <a:pt x="550529" y="827270"/>
                    </a:cubicBezTo>
                    <a:cubicBezTo>
                      <a:pt x="549815" y="828703"/>
                      <a:pt x="549102" y="829419"/>
                      <a:pt x="548389" y="828703"/>
                    </a:cubicBezTo>
                    <a:cubicBezTo>
                      <a:pt x="522719" y="825837"/>
                      <a:pt x="522719" y="825837"/>
                      <a:pt x="522719" y="825837"/>
                    </a:cubicBezTo>
                    <a:cubicBezTo>
                      <a:pt x="464962" y="817955"/>
                      <a:pt x="464962" y="817955"/>
                      <a:pt x="464962" y="817955"/>
                    </a:cubicBezTo>
                    <a:cubicBezTo>
                      <a:pt x="462823" y="817239"/>
                      <a:pt x="461397" y="820105"/>
                      <a:pt x="462823" y="821538"/>
                    </a:cubicBezTo>
                    <a:cubicBezTo>
                      <a:pt x="477797" y="835868"/>
                      <a:pt x="477797" y="835868"/>
                      <a:pt x="477797" y="835868"/>
                    </a:cubicBezTo>
                    <a:cubicBezTo>
                      <a:pt x="513450" y="870977"/>
                      <a:pt x="513450" y="870977"/>
                      <a:pt x="513450" y="870977"/>
                    </a:cubicBezTo>
                    <a:cubicBezTo>
                      <a:pt x="514876" y="871693"/>
                      <a:pt x="514163" y="873843"/>
                      <a:pt x="512737" y="874559"/>
                    </a:cubicBezTo>
                    <a:cubicBezTo>
                      <a:pt x="464249" y="888173"/>
                      <a:pt x="464249" y="888173"/>
                      <a:pt x="464249" y="888173"/>
                    </a:cubicBezTo>
                    <a:cubicBezTo>
                      <a:pt x="436440" y="896771"/>
                      <a:pt x="436440" y="896771"/>
                      <a:pt x="436440" y="896771"/>
                    </a:cubicBezTo>
                    <a:cubicBezTo>
                      <a:pt x="434301" y="897487"/>
                      <a:pt x="435014" y="900353"/>
                      <a:pt x="437153" y="900353"/>
                    </a:cubicBezTo>
                    <a:cubicBezTo>
                      <a:pt x="478510" y="908235"/>
                      <a:pt x="478510" y="908235"/>
                      <a:pt x="478510" y="908235"/>
                    </a:cubicBezTo>
                    <a:cubicBezTo>
                      <a:pt x="544824" y="921132"/>
                      <a:pt x="544824" y="921132"/>
                      <a:pt x="544824" y="921132"/>
                    </a:cubicBezTo>
                    <a:cubicBezTo>
                      <a:pt x="546963" y="921132"/>
                      <a:pt x="547676" y="923998"/>
                      <a:pt x="546250" y="924715"/>
                    </a:cubicBezTo>
                    <a:cubicBezTo>
                      <a:pt x="491345" y="964839"/>
                      <a:pt x="491345" y="964839"/>
                      <a:pt x="491345" y="964839"/>
                    </a:cubicBezTo>
                    <a:cubicBezTo>
                      <a:pt x="415761" y="1020726"/>
                      <a:pt x="415761" y="1020726"/>
                      <a:pt x="415761" y="1020726"/>
                    </a:cubicBezTo>
                    <a:cubicBezTo>
                      <a:pt x="413622" y="1022159"/>
                      <a:pt x="415048" y="1025025"/>
                      <a:pt x="417188" y="1024309"/>
                    </a:cubicBezTo>
                    <a:cubicBezTo>
                      <a:pt x="513450" y="1003530"/>
                      <a:pt x="513450" y="1003530"/>
                      <a:pt x="513450" y="1003530"/>
                    </a:cubicBezTo>
                    <a:cubicBezTo>
                      <a:pt x="528424" y="999948"/>
                      <a:pt x="528424" y="999948"/>
                      <a:pt x="528424" y="999948"/>
                    </a:cubicBezTo>
                    <a:cubicBezTo>
                      <a:pt x="529850" y="999948"/>
                      <a:pt x="531989" y="1000664"/>
                      <a:pt x="533415" y="1002097"/>
                    </a:cubicBezTo>
                    <a:cubicBezTo>
                      <a:pt x="543398" y="1012845"/>
                      <a:pt x="543398" y="1012845"/>
                      <a:pt x="543398" y="1012845"/>
                    </a:cubicBezTo>
                    <a:cubicBezTo>
                      <a:pt x="617556" y="1095243"/>
                      <a:pt x="617556" y="1095243"/>
                      <a:pt x="617556" y="1095243"/>
                    </a:cubicBezTo>
                    <a:cubicBezTo>
                      <a:pt x="618269" y="1096676"/>
                      <a:pt x="620408" y="1095960"/>
                      <a:pt x="621121" y="1094527"/>
                    </a:cubicBezTo>
                    <a:cubicBezTo>
                      <a:pt x="637521" y="994216"/>
                      <a:pt x="637521" y="994216"/>
                      <a:pt x="637521" y="994216"/>
                    </a:cubicBezTo>
                    <a:cubicBezTo>
                      <a:pt x="642512" y="962689"/>
                      <a:pt x="642512" y="962689"/>
                      <a:pt x="642512" y="962689"/>
                    </a:cubicBezTo>
                    <a:cubicBezTo>
                      <a:pt x="642512" y="961256"/>
                      <a:pt x="643939" y="960540"/>
                      <a:pt x="644652" y="960540"/>
                    </a:cubicBezTo>
                    <a:cubicBezTo>
                      <a:pt x="676739" y="969138"/>
                      <a:pt x="676739" y="969138"/>
                      <a:pt x="676739" y="969138"/>
                    </a:cubicBezTo>
                    <a:cubicBezTo>
                      <a:pt x="698844" y="974870"/>
                      <a:pt x="698844" y="974870"/>
                      <a:pt x="698844" y="974870"/>
                    </a:cubicBezTo>
                    <a:cubicBezTo>
                      <a:pt x="700983" y="975587"/>
                      <a:pt x="702409" y="972720"/>
                      <a:pt x="700270" y="971287"/>
                    </a:cubicBezTo>
                    <a:cubicBezTo>
                      <a:pt x="681017" y="954808"/>
                      <a:pt x="681017" y="954808"/>
                      <a:pt x="681017" y="954808"/>
                    </a:cubicBezTo>
                    <a:cubicBezTo>
                      <a:pt x="633243" y="915400"/>
                      <a:pt x="633243" y="915400"/>
                      <a:pt x="633243" y="915400"/>
                    </a:cubicBezTo>
                    <a:cubicBezTo>
                      <a:pt x="631817" y="913967"/>
                      <a:pt x="632530" y="911817"/>
                      <a:pt x="633956" y="911817"/>
                    </a:cubicBezTo>
                    <a:cubicBezTo>
                      <a:pt x="694565" y="899637"/>
                      <a:pt x="694565" y="899637"/>
                      <a:pt x="694565" y="899637"/>
                    </a:cubicBezTo>
                    <a:cubicBezTo>
                      <a:pt x="797245" y="878858"/>
                      <a:pt x="797245" y="878858"/>
                      <a:pt x="797245" y="878858"/>
                    </a:cubicBezTo>
                    <a:cubicBezTo>
                      <a:pt x="799384" y="878858"/>
                      <a:pt x="799384" y="875276"/>
                      <a:pt x="797245" y="875276"/>
                    </a:cubicBezTo>
                    <a:cubicBezTo>
                      <a:pt x="686009" y="855213"/>
                      <a:pt x="686009" y="855213"/>
                      <a:pt x="686009" y="855213"/>
                    </a:cubicBezTo>
                    <a:cubicBezTo>
                      <a:pt x="626112" y="845182"/>
                      <a:pt x="626112" y="845182"/>
                      <a:pt x="626112" y="845182"/>
                    </a:cubicBezTo>
                    <a:cubicBezTo>
                      <a:pt x="624686" y="845182"/>
                      <a:pt x="623973" y="843033"/>
                      <a:pt x="624686" y="841600"/>
                    </a:cubicBezTo>
                    <a:cubicBezTo>
                      <a:pt x="667469" y="803625"/>
                      <a:pt x="667469" y="803625"/>
                      <a:pt x="667469" y="803625"/>
                    </a:cubicBezTo>
                    <a:cubicBezTo>
                      <a:pt x="666756" y="803625"/>
                      <a:pt x="666756" y="803625"/>
                      <a:pt x="666756" y="803625"/>
                    </a:cubicBezTo>
                    <a:cubicBezTo>
                      <a:pt x="639660" y="809357"/>
                      <a:pt x="639660" y="809357"/>
                      <a:pt x="639660" y="809357"/>
                    </a:cubicBezTo>
                    <a:cubicBezTo>
                      <a:pt x="638947" y="810073"/>
                      <a:pt x="637521" y="809357"/>
                      <a:pt x="637521" y="807924"/>
                    </a:cubicBezTo>
                    <a:cubicBezTo>
                      <a:pt x="629677" y="782130"/>
                      <a:pt x="629677" y="782130"/>
                      <a:pt x="629677" y="782130"/>
                    </a:cubicBezTo>
                    <a:cubicBezTo>
                      <a:pt x="596164" y="669638"/>
                      <a:pt x="596164" y="669638"/>
                      <a:pt x="596164" y="669638"/>
                    </a:cubicBezTo>
                    <a:close/>
                    <a:moveTo>
                      <a:pt x="594585" y="536"/>
                    </a:moveTo>
                    <a:cubicBezTo>
                      <a:pt x="598250" y="-446"/>
                      <a:pt x="602361" y="-89"/>
                      <a:pt x="606293" y="1697"/>
                    </a:cubicBezTo>
                    <a:cubicBezTo>
                      <a:pt x="1018830" y="208878"/>
                      <a:pt x="1018830" y="208878"/>
                      <a:pt x="1018830" y="208878"/>
                    </a:cubicBezTo>
                    <a:cubicBezTo>
                      <a:pt x="1022404" y="210307"/>
                      <a:pt x="1025264" y="213165"/>
                      <a:pt x="1026694" y="216737"/>
                    </a:cubicBezTo>
                    <a:cubicBezTo>
                      <a:pt x="1101766" y="404629"/>
                      <a:pt x="1101766" y="404629"/>
                      <a:pt x="1101766" y="404629"/>
                    </a:cubicBezTo>
                    <a:cubicBezTo>
                      <a:pt x="1289802" y="530366"/>
                      <a:pt x="1289802" y="530366"/>
                      <a:pt x="1289802" y="530366"/>
                    </a:cubicBezTo>
                    <a:cubicBezTo>
                      <a:pt x="1293377" y="533224"/>
                      <a:pt x="1296237" y="537510"/>
                      <a:pt x="1296237" y="542511"/>
                    </a:cubicBezTo>
                    <a:cubicBezTo>
                      <a:pt x="1339135" y="1318369"/>
                      <a:pt x="1339135" y="1318369"/>
                      <a:pt x="1339135" y="1318369"/>
                    </a:cubicBezTo>
                    <a:cubicBezTo>
                      <a:pt x="1339135" y="1322655"/>
                      <a:pt x="1337705" y="1326942"/>
                      <a:pt x="1334845" y="1329799"/>
                    </a:cubicBezTo>
                    <a:cubicBezTo>
                      <a:pt x="1331986" y="1333371"/>
                      <a:pt x="1327696" y="1334800"/>
                      <a:pt x="1323406" y="1334800"/>
                    </a:cubicBezTo>
                    <a:cubicBezTo>
                      <a:pt x="31459" y="1334800"/>
                      <a:pt x="31459" y="1334800"/>
                      <a:pt x="31459" y="1334800"/>
                    </a:cubicBezTo>
                    <a:cubicBezTo>
                      <a:pt x="22879" y="1334800"/>
                      <a:pt x="15730" y="1327656"/>
                      <a:pt x="15730" y="1319083"/>
                    </a:cubicBezTo>
                    <a:cubicBezTo>
                      <a:pt x="15730" y="1191202"/>
                      <a:pt x="15730" y="1191202"/>
                      <a:pt x="15730" y="1191202"/>
                    </a:cubicBezTo>
                    <a:cubicBezTo>
                      <a:pt x="15730" y="1184058"/>
                      <a:pt x="20734" y="1177628"/>
                      <a:pt x="27884" y="1176200"/>
                    </a:cubicBezTo>
                    <a:cubicBezTo>
                      <a:pt x="143709" y="1150480"/>
                      <a:pt x="143709" y="1150480"/>
                      <a:pt x="143709" y="1150480"/>
                    </a:cubicBezTo>
                    <a:cubicBezTo>
                      <a:pt x="145854" y="1149766"/>
                      <a:pt x="147999" y="1150480"/>
                      <a:pt x="150143" y="1150480"/>
                    </a:cubicBezTo>
                    <a:cubicBezTo>
                      <a:pt x="252384" y="1174771"/>
                      <a:pt x="252384" y="1174771"/>
                      <a:pt x="252384" y="1174771"/>
                    </a:cubicBezTo>
                    <a:cubicBezTo>
                      <a:pt x="307436" y="1156196"/>
                      <a:pt x="307436" y="1156196"/>
                      <a:pt x="307436" y="1156196"/>
                    </a:cubicBezTo>
                    <a:cubicBezTo>
                      <a:pt x="309581" y="1155481"/>
                      <a:pt x="312441" y="1155481"/>
                      <a:pt x="315301" y="1155481"/>
                    </a:cubicBezTo>
                    <a:cubicBezTo>
                      <a:pt x="452575" y="1179057"/>
                      <a:pt x="452575" y="1179057"/>
                      <a:pt x="452575" y="1179057"/>
                    </a:cubicBezTo>
                    <a:cubicBezTo>
                      <a:pt x="487608" y="1185487"/>
                      <a:pt x="487608" y="1185487"/>
                      <a:pt x="487608" y="1185487"/>
                    </a:cubicBezTo>
                    <a:cubicBezTo>
                      <a:pt x="499763" y="1219065"/>
                      <a:pt x="499763" y="1219065"/>
                      <a:pt x="499763" y="1219065"/>
                    </a:cubicBezTo>
                    <a:cubicBezTo>
                      <a:pt x="446855" y="1209777"/>
                      <a:pt x="446855" y="1209777"/>
                      <a:pt x="446855" y="1209777"/>
                    </a:cubicBezTo>
                    <a:cubicBezTo>
                      <a:pt x="313871" y="1187630"/>
                      <a:pt x="313871" y="1187630"/>
                      <a:pt x="313871" y="1187630"/>
                    </a:cubicBezTo>
                    <a:cubicBezTo>
                      <a:pt x="258104" y="1206205"/>
                      <a:pt x="258104" y="1206205"/>
                      <a:pt x="258104" y="1206205"/>
                    </a:cubicBezTo>
                    <a:cubicBezTo>
                      <a:pt x="255244" y="1206919"/>
                      <a:pt x="252384" y="1206919"/>
                      <a:pt x="249524" y="1206205"/>
                    </a:cubicBezTo>
                    <a:cubicBezTo>
                      <a:pt x="146569" y="1181915"/>
                      <a:pt x="146569" y="1181915"/>
                      <a:pt x="146569" y="1181915"/>
                    </a:cubicBezTo>
                    <a:cubicBezTo>
                      <a:pt x="47188" y="1204062"/>
                      <a:pt x="47188" y="1204062"/>
                      <a:pt x="47188" y="1204062"/>
                    </a:cubicBezTo>
                    <a:cubicBezTo>
                      <a:pt x="47188" y="1303366"/>
                      <a:pt x="47188" y="1303366"/>
                      <a:pt x="47188" y="1303366"/>
                    </a:cubicBezTo>
                    <a:cubicBezTo>
                      <a:pt x="1306962" y="1303366"/>
                      <a:pt x="1306962" y="1303366"/>
                      <a:pt x="1306962" y="1303366"/>
                    </a:cubicBezTo>
                    <a:cubicBezTo>
                      <a:pt x="1265493" y="552513"/>
                      <a:pt x="1265493" y="552513"/>
                      <a:pt x="1265493" y="552513"/>
                    </a:cubicBezTo>
                    <a:cubicBezTo>
                      <a:pt x="1080317" y="428204"/>
                      <a:pt x="1080317" y="428204"/>
                      <a:pt x="1080317" y="428204"/>
                    </a:cubicBezTo>
                    <a:cubicBezTo>
                      <a:pt x="1077457" y="426061"/>
                      <a:pt x="1075312" y="423918"/>
                      <a:pt x="1074597" y="421060"/>
                    </a:cubicBezTo>
                    <a:cubicBezTo>
                      <a:pt x="999525" y="233883"/>
                      <a:pt x="999525" y="233883"/>
                      <a:pt x="999525" y="233883"/>
                    </a:cubicBezTo>
                    <a:cubicBezTo>
                      <a:pt x="604863" y="35989"/>
                      <a:pt x="604863" y="35989"/>
                      <a:pt x="604863" y="35989"/>
                    </a:cubicBezTo>
                    <a:cubicBezTo>
                      <a:pt x="351049" y="452495"/>
                      <a:pt x="351049" y="452495"/>
                      <a:pt x="351049" y="452495"/>
                    </a:cubicBezTo>
                    <a:cubicBezTo>
                      <a:pt x="347475" y="458924"/>
                      <a:pt x="338895" y="461782"/>
                      <a:pt x="331745" y="458924"/>
                    </a:cubicBezTo>
                    <a:cubicBezTo>
                      <a:pt x="193757" y="403914"/>
                      <a:pt x="193757" y="403914"/>
                      <a:pt x="193757" y="403914"/>
                    </a:cubicBezTo>
                    <a:cubicBezTo>
                      <a:pt x="43613" y="651103"/>
                      <a:pt x="43613" y="651103"/>
                      <a:pt x="43613" y="651103"/>
                    </a:cubicBezTo>
                    <a:cubicBezTo>
                      <a:pt x="54338" y="651103"/>
                      <a:pt x="54338" y="651103"/>
                      <a:pt x="54338" y="651103"/>
                    </a:cubicBezTo>
                    <a:cubicBezTo>
                      <a:pt x="57913" y="651103"/>
                      <a:pt x="61487" y="652532"/>
                      <a:pt x="63632" y="654675"/>
                    </a:cubicBezTo>
                    <a:cubicBezTo>
                      <a:pt x="87941" y="673250"/>
                      <a:pt x="87941" y="673250"/>
                      <a:pt x="87941" y="673250"/>
                    </a:cubicBezTo>
                    <a:cubicBezTo>
                      <a:pt x="165158" y="638243"/>
                      <a:pt x="165158" y="638243"/>
                      <a:pt x="165158" y="638243"/>
                    </a:cubicBezTo>
                    <a:cubicBezTo>
                      <a:pt x="169448" y="636100"/>
                      <a:pt x="174452" y="636100"/>
                      <a:pt x="178742" y="638243"/>
                    </a:cubicBezTo>
                    <a:cubicBezTo>
                      <a:pt x="202336" y="650388"/>
                      <a:pt x="202336" y="650388"/>
                      <a:pt x="202336" y="650388"/>
                    </a:cubicBezTo>
                    <a:cubicBezTo>
                      <a:pt x="319591" y="608952"/>
                      <a:pt x="319591" y="608952"/>
                      <a:pt x="319591" y="608952"/>
                    </a:cubicBezTo>
                    <a:cubicBezTo>
                      <a:pt x="322451" y="608238"/>
                      <a:pt x="326026" y="608238"/>
                      <a:pt x="329600" y="608952"/>
                    </a:cubicBezTo>
                    <a:cubicBezTo>
                      <a:pt x="453290" y="650388"/>
                      <a:pt x="453290" y="650388"/>
                      <a:pt x="453290" y="650388"/>
                    </a:cubicBezTo>
                    <a:cubicBezTo>
                      <a:pt x="574834" y="629670"/>
                      <a:pt x="574834" y="629670"/>
                      <a:pt x="574834" y="629670"/>
                    </a:cubicBezTo>
                    <a:cubicBezTo>
                      <a:pt x="591994" y="569659"/>
                      <a:pt x="591994" y="569659"/>
                      <a:pt x="591994" y="569659"/>
                    </a:cubicBezTo>
                    <a:cubicBezTo>
                      <a:pt x="592709" y="568230"/>
                      <a:pt x="594139" y="566801"/>
                      <a:pt x="595569" y="566801"/>
                    </a:cubicBezTo>
                    <a:cubicBezTo>
                      <a:pt x="596998" y="566801"/>
                      <a:pt x="598428" y="567516"/>
                      <a:pt x="599143" y="569659"/>
                    </a:cubicBezTo>
                    <a:cubicBezTo>
                      <a:pt x="659916" y="771125"/>
                      <a:pt x="659916" y="771125"/>
                      <a:pt x="659916" y="771125"/>
                    </a:cubicBezTo>
                    <a:cubicBezTo>
                      <a:pt x="660631" y="771839"/>
                      <a:pt x="660631" y="772554"/>
                      <a:pt x="662776" y="772554"/>
                    </a:cubicBezTo>
                    <a:cubicBezTo>
                      <a:pt x="743567" y="753979"/>
                      <a:pt x="743567" y="753979"/>
                      <a:pt x="743567" y="753979"/>
                    </a:cubicBezTo>
                    <a:cubicBezTo>
                      <a:pt x="744282" y="753979"/>
                      <a:pt x="744997" y="753979"/>
                      <a:pt x="745712" y="753979"/>
                    </a:cubicBezTo>
                    <a:cubicBezTo>
                      <a:pt x="753576" y="753979"/>
                      <a:pt x="757866" y="763981"/>
                      <a:pt x="751432" y="769696"/>
                    </a:cubicBezTo>
                    <a:cubicBezTo>
                      <a:pt x="694949" y="821134"/>
                      <a:pt x="694949" y="821134"/>
                      <a:pt x="694949" y="821134"/>
                    </a:cubicBezTo>
                    <a:cubicBezTo>
                      <a:pt x="693519" y="822563"/>
                      <a:pt x="694234" y="824706"/>
                      <a:pt x="695664" y="824706"/>
                    </a:cubicBezTo>
                    <a:cubicBezTo>
                      <a:pt x="945903" y="868286"/>
                      <a:pt x="945903" y="868286"/>
                      <a:pt x="945903" y="868286"/>
                    </a:cubicBezTo>
                    <a:cubicBezTo>
                      <a:pt x="953053" y="869000"/>
                      <a:pt x="953053" y="879716"/>
                      <a:pt x="946618" y="881145"/>
                    </a:cubicBezTo>
                    <a:cubicBezTo>
                      <a:pt x="705674" y="929011"/>
                      <a:pt x="705674" y="929011"/>
                      <a:pt x="705674" y="929011"/>
                    </a:cubicBezTo>
                    <a:cubicBezTo>
                      <a:pt x="703529" y="929011"/>
                      <a:pt x="703529" y="931154"/>
                      <a:pt x="704959" y="932583"/>
                    </a:cubicBezTo>
                    <a:cubicBezTo>
                      <a:pt x="821498" y="1030458"/>
                      <a:pt x="821498" y="1030458"/>
                      <a:pt x="821498" y="1030458"/>
                    </a:cubicBezTo>
                    <a:cubicBezTo>
                      <a:pt x="825073" y="1033316"/>
                      <a:pt x="822928" y="1037603"/>
                      <a:pt x="819353" y="1037603"/>
                    </a:cubicBezTo>
                    <a:cubicBezTo>
                      <a:pt x="818639" y="1037603"/>
                      <a:pt x="818639" y="1037603"/>
                      <a:pt x="817924" y="1037603"/>
                    </a:cubicBezTo>
                    <a:cubicBezTo>
                      <a:pt x="671355" y="999024"/>
                      <a:pt x="671355" y="999024"/>
                      <a:pt x="671355" y="999024"/>
                    </a:cubicBezTo>
                    <a:cubicBezTo>
                      <a:pt x="669925" y="999024"/>
                      <a:pt x="669210" y="999738"/>
                      <a:pt x="668495" y="1000453"/>
                    </a:cubicBezTo>
                    <a:cubicBezTo>
                      <a:pt x="642756" y="1157625"/>
                      <a:pt x="642756" y="1157625"/>
                      <a:pt x="642756" y="1157625"/>
                    </a:cubicBezTo>
                    <a:cubicBezTo>
                      <a:pt x="642041" y="1159768"/>
                      <a:pt x="639897" y="1161197"/>
                      <a:pt x="637752" y="1161197"/>
                    </a:cubicBezTo>
                    <a:cubicBezTo>
                      <a:pt x="637037" y="1161197"/>
                      <a:pt x="635607" y="1161197"/>
                      <a:pt x="634892" y="1159768"/>
                    </a:cubicBezTo>
                    <a:cubicBezTo>
                      <a:pt x="520497" y="1034030"/>
                      <a:pt x="520497" y="1034030"/>
                      <a:pt x="520497" y="1034030"/>
                    </a:cubicBezTo>
                    <a:cubicBezTo>
                      <a:pt x="520497" y="1033316"/>
                      <a:pt x="519782" y="1033316"/>
                      <a:pt x="519067" y="1033316"/>
                    </a:cubicBezTo>
                    <a:cubicBezTo>
                      <a:pt x="282413" y="1084754"/>
                      <a:pt x="282413" y="1084754"/>
                      <a:pt x="282413" y="1084754"/>
                    </a:cubicBezTo>
                    <a:cubicBezTo>
                      <a:pt x="281698" y="1084754"/>
                      <a:pt x="281698" y="1084754"/>
                      <a:pt x="281698" y="1084754"/>
                    </a:cubicBezTo>
                    <a:cubicBezTo>
                      <a:pt x="279553" y="1084754"/>
                      <a:pt x="278123" y="1081896"/>
                      <a:pt x="280268" y="1079753"/>
                    </a:cubicBezTo>
                    <a:cubicBezTo>
                      <a:pt x="469019" y="941156"/>
                      <a:pt x="469019" y="941156"/>
                      <a:pt x="469019" y="941156"/>
                    </a:cubicBezTo>
                    <a:cubicBezTo>
                      <a:pt x="470449" y="940442"/>
                      <a:pt x="469734" y="938298"/>
                      <a:pt x="468304" y="937584"/>
                    </a:cubicBezTo>
                    <a:cubicBezTo>
                      <a:pt x="314586" y="909007"/>
                      <a:pt x="314586" y="909007"/>
                      <a:pt x="314586" y="909007"/>
                    </a:cubicBezTo>
                    <a:cubicBezTo>
                      <a:pt x="309581" y="908293"/>
                      <a:pt x="308866" y="900434"/>
                      <a:pt x="314586" y="899006"/>
                    </a:cubicBezTo>
                    <a:cubicBezTo>
                      <a:pt x="451860" y="858284"/>
                      <a:pt x="451860" y="858284"/>
                      <a:pt x="451860" y="858284"/>
                    </a:cubicBezTo>
                    <a:cubicBezTo>
                      <a:pt x="454005" y="858284"/>
                      <a:pt x="454005" y="856140"/>
                      <a:pt x="453290" y="855426"/>
                    </a:cubicBezTo>
                    <a:cubicBezTo>
                      <a:pt x="376788" y="781127"/>
                      <a:pt x="376788" y="781127"/>
                      <a:pt x="376788" y="781127"/>
                    </a:cubicBezTo>
                    <a:cubicBezTo>
                      <a:pt x="373928" y="778269"/>
                      <a:pt x="376073" y="773982"/>
                      <a:pt x="379648" y="773982"/>
                    </a:cubicBezTo>
                    <a:cubicBezTo>
                      <a:pt x="379648" y="773982"/>
                      <a:pt x="379648" y="773982"/>
                      <a:pt x="380363" y="773982"/>
                    </a:cubicBezTo>
                    <a:cubicBezTo>
                      <a:pt x="525502" y="793986"/>
                      <a:pt x="525502" y="793986"/>
                      <a:pt x="525502" y="793986"/>
                    </a:cubicBezTo>
                    <a:cubicBezTo>
                      <a:pt x="526217" y="793986"/>
                      <a:pt x="527647" y="793272"/>
                      <a:pt x="527647" y="792557"/>
                    </a:cubicBezTo>
                    <a:cubicBezTo>
                      <a:pt x="564825" y="663248"/>
                      <a:pt x="564825" y="663248"/>
                      <a:pt x="564825" y="663248"/>
                    </a:cubicBezTo>
                    <a:cubicBezTo>
                      <a:pt x="454720" y="682537"/>
                      <a:pt x="454720" y="682537"/>
                      <a:pt x="454720" y="682537"/>
                    </a:cubicBezTo>
                    <a:cubicBezTo>
                      <a:pt x="452575" y="682537"/>
                      <a:pt x="449715" y="682537"/>
                      <a:pt x="446855" y="681823"/>
                    </a:cubicBezTo>
                    <a:cubicBezTo>
                      <a:pt x="324596" y="640386"/>
                      <a:pt x="324596" y="640386"/>
                      <a:pt x="324596" y="640386"/>
                    </a:cubicBezTo>
                    <a:cubicBezTo>
                      <a:pt x="206626" y="682537"/>
                      <a:pt x="206626" y="682537"/>
                      <a:pt x="206626" y="682537"/>
                    </a:cubicBezTo>
                    <a:cubicBezTo>
                      <a:pt x="203051" y="683966"/>
                      <a:pt x="198046" y="683966"/>
                      <a:pt x="194472" y="681823"/>
                    </a:cubicBezTo>
                    <a:cubicBezTo>
                      <a:pt x="170878" y="669678"/>
                      <a:pt x="170878" y="669678"/>
                      <a:pt x="170878" y="669678"/>
                    </a:cubicBezTo>
                    <a:cubicBezTo>
                      <a:pt x="92231" y="705398"/>
                      <a:pt x="92231" y="705398"/>
                      <a:pt x="92231" y="705398"/>
                    </a:cubicBezTo>
                    <a:cubicBezTo>
                      <a:pt x="87226" y="707542"/>
                      <a:pt x="80792" y="706827"/>
                      <a:pt x="76502" y="703255"/>
                    </a:cubicBezTo>
                    <a:cubicBezTo>
                      <a:pt x="48618" y="682537"/>
                      <a:pt x="48618" y="682537"/>
                      <a:pt x="48618" y="682537"/>
                    </a:cubicBezTo>
                    <a:cubicBezTo>
                      <a:pt x="15730" y="682537"/>
                      <a:pt x="15730" y="682537"/>
                      <a:pt x="15730" y="682537"/>
                    </a:cubicBezTo>
                    <a:cubicBezTo>
                      <a:pt x="10010" y="682537"/>
                      <a:pt x="5005" y="679679"/>
                      <a:pt x="2145" y="674678"/>
                    </a:cubicBezTo>
                    <a:cubicBezTo>
                      <a:pt x="-715" y="669678"/>
                      <a:pt x="-715" y="663248"/>
                      <a:pt x="2145" y="658961"/>
                    </a:cubicBezTo>
                    <a:cubicBezTo>
                      <a:pt x="174452" y="376766"/>
                      <a:pt x="174452" y="376766"/>
                      <a:pt x="174452" y="376766"/>
                    </a:cubicBezTo>
                    <a:cubicBezTo>
                      <a:pt x="178027" y="369622"/>
                      <a:pt x="185892" y="367479"/>
                      <a:pt x="193042" y="370337"/>
                    </a:cubicBezTo>
                    <a:cubicBezTo>
                      <a:pt x="331030" y="424632"/>
                      <a:pt x="331030" y="424632"/>
                      <a:pt x="331030" y="424632"/>
                    </a:cubicBezTo>
                    <a:cubicBezTo>
                      <a:pt x="585559" y="7413"/>
                      <a:pt x="585559" y="7413"/>
                      <a:pt x="585559" y="7413"/>
                    </a:cubicBezTo>
                    <a:cubicBezTo>
                      <a:pt x="587704" y="3841"/>
                      <a:pt x="590921" y="1519"/>
                      <a:pt x="594585" y="536"/>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2000" y="3111469"/>
            <a:ext cx="682986" cy="682986"/>
          </a:xfrm>
          <a:prstGeom prst="rect">
            <a:avLst/>
          </a:prstGeom>
        </p:spPr>
      </p:pic>
      <p:pic>
        <p:nvPicPr>
          <p:cNvPr id="66" name="Picture 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flipV="1">
            <a:off x="8056472" y="2065330"/>
            <a:ext cx="639240" cy="599820"/>
          </a:xfrm>
          <a:prstGeom prst="rect">
            <a:avLst/>
          </a:prstGeom>
        </p:spPr>
      </p:pic>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30190" y="1039657"/>
            <a:ext cx="617572" cy="617572"/>
          </a:xfrm>
          <a:prstGeom prst="rect">
            <a:avLst/>
          </a:prstGeom>
        </p:spPr>
      </p:pic>
    </p:spTree>
    <p:extLst>
      <p:ext uri="{BB962C8B-B14F-4D97-AF65-F5344CB8AC3E}">
        <p14:creationId xmlns:p14="http://schemas.microsoft.com/office/powerpoint/2010/main" val="38046118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a:spLocks noGrp="1"/>
          </p:cNvSpPr>
          <p:nvPr>
            <p:ph type="subTitle" idx="4"/>
          </p:nvPr>
        </p:nvSpPr>
        <p:spPr>
          <a:xfrm>
            <a:off x="3719736" y="188640"/>
            <a:ext cx="6336704" cy="369332"/>
          </a:xfrm>
        </p:spPr>
        <p:txBody>
          <a:bodyPr wrap="square" lIns="0" tIns="0" rIns="0" bIns="0" anchor="t">
            <a:spAutoFit/>
          </a:bodyPr>
          <a:lstStyle/>
          <a:p>
            <a:pPr rtl="0"/>
            <a:r>
              <a:rPr lang="en-US" sz="2400" b="1" kern="1200" dirty="0">
                <a:solidFill>
                  <a:srgbClr val="003399"/>
                </a:solidFill>
                <a:latin typeface="Verdana" panose="020B0604030504040204" pitchFamily="34" charset="0"/>
                <a:ea typeface="Verdana" panose="020B0604030504040204" pitchFamily="34" charset="0"/>
              </a:rPr>
              <a:t>Code for Prediction </a:t>
            </a:r>
            <a:r>
              <a:rPr lang="en-US" sz="2400" b="1" kern="1200" dirty="0" smtClean="0">
                <a:solidFill>
                  <a:srgbClr val="003399"/>
                </a:solidFill>
                <a:latin typeface="Verdana" panose="020B0604030504040204" pitchFamily="34" charset="0"/>
                <a:ea typeface="Verdana" panose="020B0604030504040204" pitchFamily="34" charset="0"/>
              </a:rPr>
              <a:t>Model(Model 1</a:t>
            </a:r>
            <a:r>
              <a:rPr lang="en-US" sz="2400" b="1" kern="1200" dirty="0">
                <a:solidFill>
                  <a:srgbClr val="003399"/>
                </a:solidFill>
                <a:latin typeface="Verdana" panose="020B0604030504040204" pitchFamily="34" charset="0"/>
                <a:ea typeface="Verdana" panose="020B0604030504040204" pitchFamily="34" charset="0"/>
              </a:rPr>
              <a:t>)</a:t>
            </a:r>
          </a:p>
        </p:txBody>
      </p:sp>
      <p:cxnSp>
        <p:nvCxnSpPr>
          <p:cNvPr id="7" name="Straight Connector 6"/>
          <p:cNvCxnSpPr/>
          <p:nvPr/>
        </p:nvCxnSpPr>
        <p:spPr>
          <a:xfrm rot="10800000">
            <a:off x="3478771" y="669331"/>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13" name="Subtitle 5">
            <a:extLst>
              <a:ext uri="{FF2B5EF4-FFF2-40B4-BE49-F238E27FC236}">
                <a16:creationId xmlns:a16="http://schemas.microsoft.com/office/drawing/2014/main" id="{77314BF9-F5D4-DD43-D446-1E29C4B3F3DF}"/>
              </a:ext>
            </a:extLst>
          </p:cNvPr>
          <p:cNvSpPr txBox="1">
            <a:spLocks/>
          </p:cNvSpPr>
          <p:nvPr/>
        </p:nvSpPr>
        <p:spPr>
          <a:xfrm>
            <a:off x="8844950" y="1928291"/>
            <a:ext cx="3214777" cy="3693319"/>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kern="0" dirty="0" smtClean="0">
                <a:latin typeface="Verdana" panose="020B0604030504040204" pitchFamily="34" charset="0"/>
                <a:ea typeface="Verdana" panose="020B0604030504040204" pitchFamily="34" charset="0"/>
                <a:cs typeface="+mn-lt"/>
              </a:rPr>
              <a:t>Minimized Input Energy: 3034787.99 Kcal/</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endParaRPr>
          </a:p>
          <a:p>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Optimal Input Parameters (Original Scale):</a:t>
            </a:r>
            <a:endParaRPr lang="en-US" sz="1600" kern="0" dirty="0" smtClean="0">
              <a:latin typeface="Verdana" panose="020B0604030504040204" pitchFamily="34" charset="0"/>
              <a:ea typeface="Verdana" panose="020B0604030504040204" pitchFamily="34" charset="0"/>
            </a:endParaRPr>
          </a:p>
          <a:p>
            <a:endParaRPr lang="en-US" sz="1600" kern="0" dirty="0" smtClean="0">
              <a:latin typeface="Verdana" panose="020B0604030504040204" pitchFamily="34" charset="0"/>
              <a:ea typeface="Verdana" panose="020B0604030504040204" pitchFamily="34" charset="0"/>
              <a:cs typeface="+mn-lt"/>
            </a:endParaRPr>
          </a:p>
          <a:p>
            <a:r>
              <a:rPr lang="en-US" sz="1600" kern="0" dirty="0" smtClean="0">
                <a:latin typeface="Verdana" panose="020B0604030504040204" pitchFamily="34" charset="0"/>
                <a:ea typeface="Verdana" panose="020B0604030504040204" pitchFamily="34" charset="0"/>
                <a:cs typeface="+mn-lt"/>
              </a:rPr>
              <a:t>Hot Metal (Batches)Tons: 9862.38</a:t>
            </a:r>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Total Coke: 325.90 kg/</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CDI : 199.68 kg/</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Steam addition : 14.72 kg/</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Hot Blast Temp: 1146.65 °C</a:t>
            </a:r>
            <a:endParaRPr lang="en-US" sz="1600" kern="0" dirty="0" smtClean="0">
              <a:latin typeface="Verdana" panose="020B0604030504040204" pitchFamily="34" charset="0"/>
              <a:ea typeface="Verdana" panose="020B0604030504040204" pitchFamily="34" charset="0"/>
            </a:endParaRPr>
          </a:p>
          <a:p>
            <a:r>
              <a:rPr lang="en-US" sz="1600" kern="0" dirty="0" smtClean="0">
                <a:latin typeface="Verdana" panose="020B0604030504040204" pitchFamily="34" charset="0"/>
                <a:ea typeface="Verdana" panose="020B0604030504040204" pitchFamily="34" charset="0"/>
                <a:cs typeface="+mn-lt"/>
              </a:rPr>
              <a:t>O</a:t>
            </a:r>
            <a:r>
              <a:rPr lang="en-US" sz="1600" kern="0" baseline="-25000" dirty="0" smtClean="0">
                <a:latin typeface="Verdana" panose="020B0604030504040204" pitchFamily="34" charset="0"/>
                <a:ea typeface="Verdana" panose="020B0604030504040204" pitchFamily="34" charset="0"/>
                <a:cs typeface="+mn-lt"/>
              </a:rPr>
              <a:t>2</a:t>
            </a:r>
            <a:r>
              <a:rPr lang="en-US" sz="1600" kern="0" dirty="0" smtClean="0">
                <a:latin typeface="Verdana" panose="020B0604030504040204" pitchFamily="34" charset="0"/>
                <a:ea typeface="Verdana" panose="020B0604030504040204" pitchFamily="34" charset="0"/>
                <a:cs typeface="+mn-lt"/>
              </a:rPr>
              <a:t> </a:t>
            </a:r>
            <a:r>
              <a:rPr lang="en-US" sz="1600" kern="0" dirty="0" err="1" smtClean="0">
                <a:latin typeface="Verdana" panose="020B0604030504040204" pitchFamily="34" charset="0"/>
                <a:ea typeface="Verdana" panose="020B0604030504040204" pitchFamily="34" charset="0"/>
                <a:cs typeface="+mn-lt"/>
              </a:rPr>
              <a:t>vol</a:t>
            </a:r>
            <a:r>
              <a:rPr lang="en-US" sz="1600" kern="0" dirty="0" smtClean="0">
                <a:latin typeface="Verdana" panose="020B0604030504040204" pitchFamily="34" charset="0"/>
                <a:ea typeface="Verdana" panose="020B0604030504040204" pitchFamily="34" charset="0"/>
                <a:cs typeface="+mn-lt"/>
              </a:rPr>
              <a:t>  : 275.37 Nm3/</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cs typeface="+mn-lt"/>
            </a:endParaRPr>
          </a:p>
          <a:p>
            <a:r>
              <a:rPr lang="en-US" sz="1600" kern="0" dirty="0" smtClean="0">
                <a:latin typeface="Verdana" panose="020B0604030504040204" pitchFamily="34" charset="0"/>
                <a:ea typeface="Verdana" panose="020B0604030504040204" pitchFamily="34" charset="0"/>
                <a:cs typeface="+mn-lt"/>
              </a:rPr>
              <a:t>N</a:t>
            </a:r>
            <a:r>
              <a:rPr lang="en-US" sz="1600" kern="0" baseline="-25000" dirty="0" smtClean="0">
                <a:latin typeface="Verdana" panose="020B0604030504040204" pitchFamily="34" charset="0"/>
                <a:ea typeface="Verdana" panose="020B0604030504040204" pitchFamily="34" charset="0"/>
                <a:cs typeface="+mn-lt"/>
              </a:rPr>
              <a:t>2</a:t>
            </a:r>
            <a:r>
              <a:rPr lang="en-US" sz="1600" kern="0" dirty="0" smtClean="0">
                <a:latin typeface="Verdana" panose="020B0604030504040204" pitchFamily="34" charset="0"/>
                <a:ea typeface="Verdana" panose="020B0604030504040204" pitchFamily="34" charset="0"/>
                <a:cs typeface="+mn-lt"/>
              </a:rPr>
              <a:t> </a:t>
            </a:r>
            <a:r>
              <a:rPr lang="en-US" sz="1600" kern="0" dirty="0" err="1" smtClean="0">
                <a:latin typeface="Verdana" panose="020B0604030504040204" pitchFamily="34" charset="0"/>
                <a:ea typeface="Verdana" panose="020B0604030504040204" pitchFamily="34" charset="0"/>
                <a:cs typeface="+mn-lt"/>
              </a:rPr>
              <a:t>vol</a:t>
            </a:r>
            <a:r>
              <a:rPr lang="en-US" sz="1600" kern="0" dirty="0" smtClean="0">
                <a:latin typeface="Verdana" panose="020B0604030504040204" pitchFamily="34" charset="0"/>
                <a:ea typeface="Verdana" panose="020B0604030504040204" pitchFamily="34" charset="0"/>
                <a:cs typeface="+mn-lt"/>
              </a:rPr>
              <a:t>  : 639.32 Nm3/</a:t>
            </a:r>
            <a:r>
              <a:rPr lang="en-US" sz="1600" kern="0" dirty="0" err="1" smtClean="0">
                <a:latin typeface="Verdana" panose="020B0604030504040204" pitchFamily="34" charset="0"/>
                <a:ea typeface="Verdana" panose="020B0604030504040204" pitchFamily="34" charset="0"/>
                <a:cs typeface="+mn-lt"/>
              </a:rPr>
              <a:t>thm</a:t>
            </a:r>
            <a:endParaRPr lang="en-US" sz="1600" kern="0" dirty="0" smtClean="0">
              <a:latin typeface="Verdana" panose="020B0604030504040204" pitchFamily="34" charset="0"/>
              <a:ea typeface="Verdana" panose="020B0604030504040204" pitchFamily="34" charset="0"/>
              <a:cs typeface="Calibri"/>
            </a:endParaRPr>
          </a:p>
          <a:p>
            <a:endParaRPr lang="en-US" sz="1600" kern="0" dirty="0">
              <a:latin typeface="Verdana" panose="020B0604030504040204" pitchFamily="34" charset="0"/>
              <a:ea typeface="Verdana" panose="020B0604030504040204" pitchFamily="34" charset="0"/>
              <a:cs typeface="Calibri"/>
            </a:endParaRPr>
          </a:p>
        </p:txBody>
      </p:sp>
      <p:sp>
        <p:nvSpPr>
          <p:cNvPr id="14" name="Rounded Rectangle 13"/>
          <p:cNvSpPr/>
          <p:nvPr/>
        </p:nvSpPr>
        <p:spPr>
          <a:xfrm>
            <a:off x="9264352" y="1124744"/>
            <a:ext cx="2376264"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latin typeface="Verdana" panose="020B0604030504040204" pitchFamily="34" charset="0"/>
                <a:ea typeface="Verdana" panose="020B0604030504040204" pitchFamily="34" charset="0"/>
              </a:rPr>
              <a:t>Results Of this Model 1</a:t>
            </a:r>
            <a:endParaRPr lang="en-US" sz="1600" dirty="0">
              <a:latin typeface="Verdana" panose="020B0604030504040204" pitchFamily="34" charset="0"/>
              <a:ea typeface="Verdana" panose="020B0604030504040204" pitchFamily="34" charset="0"/>
            </a:endParaRPr>
          </a:p>
        </p:txBody>
      </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336" y="1212624"/>
            <a:ext cx="4916260" cy="2951205"/>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1591" y="1700808"/>
            <a:ext cx="5056289" cy="3030028"/>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51584" y="2389446"/>
            <a:ext cx="5470410" cy="3208733"/>
          </a:xfrm>
          <a:prstGeom prst="rect">
            <a:avLst/>
          </a:prstGeom>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2140" y="2931150"/>
            <a:ext cx="5407666" cy="3296931"/>
          </a:xfrm>
          <a:prstGeom prst="rect">
            <a:avLst/>
          </a:prstGeom>
        </p:spPr>
      </p:pic>
    </p:spTree>
    <p:extLst>
      <p:ext uri="{BB962C8B-B14F-4D97-AF65-F5344CB8AC3E}">
        <p14:creationId xmlns:p14="http://schemas.microsoft.com/office/powerpoint/2010/main" val="24485588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a:spLocks noGrp="1"/>
          </p:cNvSpPr>
          <p:nvPr>
            <p:ph type="subTitle" idx="4"/>
          </p:nvPr>
        </p:nvSpPr>
        <p:spPr>
          <a:xfrm>
            <a:off x="3503712" y="116632"/>
            <a:ext cx="6414409" cy="369332"/>
          </a:xfrm>
        </p:spPr>
        <p:txBody>
          <a:bodyPr wrap="square" lIns="0" tIns="0" rIns="0" bIns="0" anchor="t">
            <a:spAutoFit/>
          </a:bodyPr>
          <a:lstStyle/>
          <a:p>
            <a:pPr rtl="0"/>
            <a:r>
              <a:rPr lang="en-US" sz="2400" b="1" kern="1200" dirty="0">
                <a:solidFill>
                  <a:srgbClr val="003399"/>
                </a:solidFill>
                <a:latin typeface="Verdana" panose="020B0604030504040204" pitchFamily="34" charset="0"/>
                <a:ea typeface="Verdana" panose="020B0604030504040204" pitchFamily="34" charset="0"/>
              </a:rPr>
              <a:t>Method2: Linear Optimization model</a:t>
            </a:r>
          </a:p>
        </p:txBody>
      </p:sp>
      <p:graphicFrame>
        <p:nvGraphicFramePr>
          <p:cNvPr id="3" name="Diagram 2">
            <a:extLst>
              <a:ext uri="{FF2B5EF4-FFF2-40B4-BE49-F238E27FC236}">
                <a16:creationId xmlns:a16="http://schemas.microsoft.com/office/drawing/2014/main" id="{1D7A2471-60C9-7009-2A28-64CFB3D7A187}"/>
              </a:ext>
            </a:extLst>
          </p:cNvPr>
          <p:cNvGraphicFramePr/>
          <p:nvPr>
            <p:extLst>
              <p:ext uri="{D42A27DB-BD31-4B8C-83A1-F6EECF244321}">
                <p14:modId xmlns:p14="http://schemas.microsoft.com/office/powerpoint/2010/main" val="2850557760"/>
              </p:ext>
            </p:extLst>
          </p:nvPr>
        </p:nvGraphicFramePr>
        <p:xfrm>
          <a:off x="1919536" y="843197"/>
          <a:ext cx="9178762" cy="5184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8" name="Straight Connector 7"/>
          <p:cNvCxnSpPr/>
          <p:nvPr/>
        </p:nvCxnSpPr>
        <p:spPr>
          <a:xfrm flipH="1">
            <a:off x="3071664" y="638919"/>
            <a:ext cx="7416824" cy="12433"/>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216449" y="2924944"/>
            <a:ext cx="866754" cy="858002"/>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7" name="Oval 16"/>
          <p:cNvSpPr/>
          <p:nvPr/>
        </p:nvSpPr>
        <p:spPr>
          <a:xfrm>
            <a:off x="3150335" y="851025"/>
            <a:ext cx="837529" cy="818223"/>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8" name="Oval 17"/>
          <p:cNvSpPr/>
          <p:nvPr/>
        </p:nvSpPr>
        <p:spPr>
          <a:xfrm>
            <a:off x="7983056" y="1800870"/>
            <a:ext cx="864096" cy="858002"/>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9" name="Rounded Rectangle 18"/>
          <p:cNvSpPr/>
          <p:nvPr/>
        </p:nvSpPr>
        <p:spPr>
          <a:xfrm>
            <a:off x="5899139" y="6093078"/>
            <a:ext cx="1219555" cy="61427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utput</a:t>
            </a:r>
            <a:endParaRPr lang="en-US" dirty="0"/>
          </a:p>
        </p:txBody>
      </p:sp>
      <p:grpSp>
        <p:nvGrpSpPr>
          <p:cNvPr id="20" name="Group 19"/>
          <p:cNvGrpSpPr/>
          <p:nvPr/>
        </p:nvGrpSpPr>
        <p:grpSpPr>
          <a:xfrm>
            <a:off x="6229100" y="5636615"/>
            <a:ext cx="606595" cy="606595"/>
            <a:chOff x="4282216" y="3744413"/>
            <a:chExt cx="606595" cy="606595"/>
          </a:xfrm>
        </p:grpSpPr>
        <p:sp>
          <p:nvSpPr>
            <p:cNvPr id="21" name="Down Arrow 20"/>
            <p:cNvSpPr/>
            <p:nvPr/>
          </p:nvSpPr>
          <p:spPr>
            <a:xfrm>
              <a:off x="4282216" y="3744413"/>
              <a:ext cx="606595" cy="606595"/>
            </a:xfrm>
            <a:prstGeom prst="downArrow">
              <a:avLst>
                <a:gd name="adj1" fmla="val 55000"/>
                <a:gd name="adj2" fmla="val 45000"/>
              </a:avLst>
            </a:pr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2" name="Down Arrow 4"/>
            <p:cNvSpPr txBox="1"/>
            <p:nvPr/>
          </p:nvSpPr>
          <p:spPr>
            <a:xfrm>
              <a:off x="4418700" y="3744413"/>
              <a:ext cx="333627" cy="4564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IN" sz="2700" kern="1200"/>
            </a:p>
          </p:txBody>
        </p:sp>
      </p:grpSp>
      <p:sp>
        <p:nvSpPr>
          <p:cNvPr id="23" name="Oval 22"/>
          <p:cNvSpPr/>
          <p:nvPr/>
        </p:nvSpPr>
        <p:spPr>
          <a:xfrm>
            <a:off x="8832304" y="3837194"/>
            <a:ext cx="927952" cy="881856"/>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4" name="Oval 23"/>
          <p:cNvSpPr/>
          <p:nvPr/>
        </p:nvSpPr>
        <p:spPr>
          <a:xfrm>
            <a:off x="3936904" y="4972544"/>
            <a:ext cx="888458" cy="883468"/>
          </a:xfrm>
          <a:prstGeom prst="ellipse">
            <a:avLst/>
          </a:prstGeom>
          <a:solidFill>
            <a:schemeClr val="accent1">
              <a:lumMod val="40000"/>
              <a:lumOff val="60000"/>
            </a:schemeClr>
          </a:solidFill>
          <a:ln>
            <a:solidFill>
              <a:schemeClr val="tx2">
                <a:lumMod val="60000"/>
                <a:lumOff val="40000"/>
              </a:schemeClr>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91621" y="930336"/>
            <a:ext cx="617572" cy="617572"/>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83203" y="5108258"/>
            <a:ext cx="612638" cy="612040"/>
          </a:xfrm>
          <a:prstGeom prst="rect">
            <a:avLst/>
          </a:prstGeom>
        </p:spPr>
      </p:pic>
      <p:grpSp>
        <p:nvGrpSpPr>
          <p:cNvPr id="28" name="bcgIcons_Explosive works ">
            <a:extLst>
              <a:ext uri="{FF2B5EF4-FFF2-40B4-BE49-F238E27FC236}">
                <a16:creationId xmlns:a16="http://schemas.microsoft.com/office/drawing/2014/main" id="{8E66A88F-27A1-DFA7-55B9-C5313D498EC6}"/>
              </a:ext>
            </a:extLst>
          </p:cNvPr>
          <p:cNvGrpSpPr>
            <a:grpSpLocks noChangeAspect="1"/>
          </p:cNvGrpSpPr>
          <p:nvPr/>
        </p:nvGrpSpPr>
        <p:grpSpPr>
          <a:xfrm>
            <a:off x="8894743" y="3837194"/>
            <a:ext cx="803073" cy="803074"/>
            <a:chOff x="5272088" y="2606675"/>
            <a:chExt cx="1646237" cy="1646238"/>
          </a:xfrm>
        </p:grpSpPr>
        <p:sp>
          <p:nvSpPr>
            <p:cNvPr id="29" name="AutoShape 826">
              <a:extLst>
                <a:ext uri="{FF2B5EF4-FFF2-40B4-BE49-F238E27FC236}">
                  <a16:creationId xmlns:a16="http://schemas.microsoft.com/office/drawing/2014/main" id="{22A9B016-F672-8A3D-8FB1-187E451F3B26}"/>
                </a:ext>
              </a:extLst>
            </p:cNvPr>
            <p:cNvSpPr>
              <a:spLocks noChangeAspect="1" noChangeArrowheads="1" noTextEdit="1"/>
            </p:cNvSpPr>
            <p:nvPr/>
          </p:nvSpPr>
          <p:spPr bwMode="auto">
            <a:xfrm>
              <a:off x="5272088" y="2606675"/>
              <a:ext cx="1646237" cy="16462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a:extLst>
                <a:ext uri="{FF2B5EF4-FFF2-40B4-BE49-F238E27FC236}">
                  <a16:creationId xmlns:a16="http://schemas.microsoft.com/office/drawing/2014/main" id="{D5B160C8-D4D5-BA4E-3CEC-52E775F01DD9}"/>
                </a:ext>
              </a:extLst>
            </p:cNvPr>
            <p:cNvGrpSpPr/>
            <p:nvPr/>
          </p:nvGrpSpPr>
          <p:grpSpPr>
            <a:xfrm>
              <a:off x="5425204" y="2760950"/>
              <a:ext cx="1339135" cy="1334800"/>
              <a:chOff x="5425204" y="2760950"/>
              <a:chExt cx="1339135" cy="1334800"/>
            </a:xfrm>
          </p:grpSpPr>
          <p:sp>
            <p:nvSpPr>
              <p:cNvPr id="31" name="Freeform 35">
                <a:extLst>
                  <a:ext uri="{FF2B5EF4-FFF2-40B4-BE49-F238E27FC236}">
                    <a16:creationId xmlns:a16="http://schemas.microsoft.com/office/drawing/2014/main" id="{0A440A02-D4E5-ABBE-6ADB-D78676B790F2}"/>
                  </a:ext>
                </a:extLst>
              </p:cNvPr>
              <p:cNvSpPr>
                <a:spLocks/>
              </p:cNvSpPr>
              <p:nvPr/>
            </p:nvSpPr>
            <p:spPr bwMode="auto">
              <a:xfrm>
                <a:off x="5922963" y="3352800"/>
                <a:ext cx="642937" cy="636588"/>
              </a:xfrm>
              <a:custGeom>
                <a:avLst/>
                <a:gdLst>
                  <a:gd name="connsiteX0" fmla="*/ 324326 w 642937"/>
                  <a:gd name="connsiteY0" fmla="*/ 0 h 636588"/>
                  <a:gd name="connsiteX1" fmla="*/ 436483 w 642937"/>
                  <a:gd name="connsiteY1" fmla="*/ 62089 h 636588"/>
                  <a:gd name="connsiteX2" fmla="*/ 552926 w 642937"/>
                  <a:gd name="connsiteY2" fmla="*/ 150583 h 636588"/>
                  <a:gd name="connsiteX3" fmla="*/ 532924 w 642937"/>
                  <a:gd name="connsiteY3" fmla="*/ 199112 h 636588"/>
                  <a:gd name="connsiteX4" fmla="*/ 527209 w 642937"/>
                  <a:gd name="connsiteY4" fmla="*/ 220522 h 636588"/>
                  <a:gd name="connsiteX5" fmla="*/ 583644 w 642937"/>
                  <a:gd name="connsiteY5" fmla="*/ 323290 h 636588"/>
                  <a:gd name="connsiteX6" fmla="*/ 642937 w 642937"/>
                  <a:gd name="connsiteY6" fmla="*/ 438190 h 636588"/>
                  <a:gd name="connsiteX7" fmla="*/ 522208 w 642937"/>
                  <a:gd name="connsiteY7" fmla="*/ 557371 h 636588"/>
                  <a:gd name="connsiteX8" fmla="*/ 520065 w 642937"/>
                  <a:gd name="connsiteY8" fmla="*/ 576640 h 636588"/>
                  <a:gd name="connsiteX9" fmla="*/ 554355 w 642937"/>
                  <a:gd name="connsiteY9" fmla="*/ 636588 h 636588"/>
                  <a:gd name="connsiteX10" fmla="*/ 442912 w 642937"/>
                  <a:gd name="connsiteY10" fmla="*/ 628738 h 636588"/>
                  <a:gd name="connsiteX11" fmla="*/ 441484 w 642937"/>
                  <a:gd name="connsiteY11" fmla="*/ 628738 h 636588"/>
                  <a:gd name="connsiteX12" fmla="*/ 37148 w 642937"/>
                  <a:gd name="connsiteY12" fmla="*/ 628738 h 636588"/>
                  <a:gd name="connsiteX13" fmla="*/ 0 w 642937"/>
                  <a:gd name="connsiteY13" fmla="*/ 522402 h 636588"/>
                  <a:gd name="connsiteX14" fmla="*/ 20494 w 642937"/>
                  <a:gd name="connsiteY14" fmla="*/ 499821 h 636588"/>
                  <a:gd name="connsiteX15" fmla="*/ 27064 w 642937"/>
                  <a:gd name="connsiteY15" fmla="*/ 492582 h 636588"/>
                  <a:gd name="connsiteX16" fmla="*/ 36880 w 642937"/>
                  <a:gd name="connsiteY16" fmla="*/ 503361 h 636588"/>
                  <a:gd name="connsiteX17" fmla="*/ 113573 w 642937"/>
                  <a:gd name="connsiteY17" fmla="*/ 587576 h 636588"/>
                  <a:gd name="connsiteX18" fmla="*/ 140725 w 642937"/>
                  <a:gd name="connsiteY18" fmla="*/ 601147 h 636588"/>
                  <a:gd name="connsiteX19" fmla="*/ 175737 w 642937"/>
                  <a:gd name="connsiteY19" fmla="*/ 575435 h 636588"/>
                  <a:gd name="connsiteX20" fmla="*/ 176452 w 642937"/>
                  <a:gd name="connsiteY20" fmla="*/ 573292 h 636588"/>
                  <a:gd name="connsiteX21" fmla="*/ 197174 w 642937"/>
                  <a:gd name="connsiteY21" fmla="*/ 446162 h 636588"/>
                  <a:gd name="connsiteX22" fmla="*/ 316501 w 642937"/>
                  <a:gd name="connsiteY22" fmla="*/ 477588 h 636588"/>
                  <a:gd name="connsiteX23" fmla="*/ 322217 w 642937"/>
                  <a:gd name="connsiteY23" fmla="*/ 477588 h 636588"/>
                  <a:gd name="connsiteX24" fmla="*/ 355086 w 642937"/>
                  <a:gd name="connsiteY24" fmla="*/ 454019 h 636588"/>
                  <a:gd name="connsiteX25" fmla="*/ 344368 w 642937"/>
                  <a:gd name="connsiteY25" fmla="*/ 414737 h 636588"/>
                  <a:gd name="connsiteX26" fmla="*/ 274343 w 642937"/>
                  <a:gd name="connsiteY26" fmla="*/ 356172 h 636588"/>
                  <a:gd name="connsiteX27" fmla="*/ 455836 w 642937"/>
                  <a:gd name="connsiteY27" fmla="*/ 320461 h 636588"/>
                  <a:gd name="connsiteX28" fmla="*/ 485132 w 642937"/>
                  <a:gd name="connsiteY28" fmla="*/ 280465 h 636588"/>
                  <a:gd name="connsiteX29" fmla="*/ 452978 w 642937"/>
                  <a:gd name="connsiteY29" fmla="*/ 245469 h 636588"/>
                  <a:gd name="connsiteX30" fmla="*/ 262911 w 642937"/>
                  <a:gd name="connsiteY30" fmla="*/ 212615 h 636588"/>
                  <a:gd name="connsiteX31" fmla="*/ 275058 w 642937"/>
                  <a:gd name="connsiteY31" fmla="*/ 201187 h 636588"/>
                  <a:gd name="connsiteX32" fmla="*/ 285776 w 642937"/>
                  <a:gd name="connsiteY32" fmla="*/ 156906 h 636588"/>
                  <a:gd name="connsiteX33" fmla="*/ 248620 w 642937"/>
                  <a:gd name="connsiteY33" fmla="*/ 131195 h 636588"/>
                  <a:gd name="connsiteX34" fmla="*/ 242904 w 642937"/>
                  <a:gd name="connsiteY34" fmla="*/ 131195 h 636588"/>
                  <a:gd name="connsiteX35" fmla="*/ 185026 w 642937"/>
                  <a:gd name="connsiteY35" fmla="*/ 144050 h 636588"/>
                  <a:gd name="connsiteX36" fmla="*/ 149604 w 642937"/>
                  <a:gd name="connsiteY36" fmla="*/ 26826 h 636588"/>
                  <a:gd name="connsiteX37" fmla="*/ 148830 w 642937"/>
                  <a:gd name="connsiteY37" fmla="*/ 24266 h 636588"/>
                  <a:gd name="connsiteX38" fmla="*/ 168276 w 642937"/>
                  <a:gd name="connsiteY38" fmla="*/ 21577 h 636588"/>
                  <a:gd name="connsiteX39" fmla="*/ 324326 w 642937"/>
                  <a:gd name="connsiteY39" fmla="*/ 0 h 6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2937" h="636588">
                    <a:moveTo>
                      <a:pt x="324326" y="0"/>
                    </a:moveTo>
                    <a:cubicBezTo>
                      <a:pt x="338614" y="7850"/>
                      <a:pt x="387191" y="32829"/>
                      <a:pt x="436483" y="62089"/>
                    </a:cubicBezTo>
                    <a:cubicBezTo>
                      <a:pt x="545782" y="127032"/>
                      <a:pt x="552212" y="148442"/>
                      <a:pt x="552926" y="150583"/>
                    </a:cubicBezTo>
                    <a:cubicBezTo>
                      <a:pt x="555784" y="185553"/>
                      <a:pt x="533638" y="199112"/>
                      <a:pt x="532924" y="199112"/>
                    </a:cubicBezTo>
                    <a:cubicBezTo>
                      <a:pt x="525780" y="203394"/>
                      <a:pt x="522922" y="213386"/>
                      <a:pt x="527209" y="220522"/>
                    </a:cubicBezTo>
                    <a:cubicBezTo>
                      <a:pt x="527209" y="220522"/>
                      <a:pt x="527209" y="220522"/>
                      <a:pt x="583644" y="323290"/>
                    </a:cubicBezTo>
                    <a:cubicBezTo>
                      <a:pt x="583644" y="323290"/>
                      <a:pt x="583644" y="323290"/>
                      <a:pt x="642937" y="438190"/>
                    </a:cubicBezTo>
                    <a:cubicBezTo>
                      <a:pt x="642937" y="438190"/>
                      <a:pt x="642937" y="438190"/>
                      <a:pt x="522208" y="557371"/>
                    </a:cubicBezTo>
                    <a:cubicBezTo>
                      <a:pt x="517207" y="563081"/>
                      <a:pt x="516493" y="570217"/>
                      <a:pt x="520065" y="576640"/>
                    </a:cubicBezTo>
                    <a:cubicBezTo>
                      <a:pt x="520065" y="576640"/>
                      <a:pt x="520065" y="576640"/>
                      <a:pt x="554355" y="636588"/>
                    </a:cubicBezTo>
                    <a:cubicBezTo>
                      <a:pt x="554355" y="636588"/>
                      <a:pt x="554355" y="636588"/>
                      <a:pt x="442912" y="628738"/>
                    </a:cubicBezTo>
                    <a:cubicBezTo>
                      <a:pt x="442198" y="628738"/>
                      <a:pt x="442198" y="628738"/>
                      <a:pt x="441484" y="628738"/>
                    </a:cubicBezTo>
                    <a:cubicBezTo>
                      <a:pt x="441484" y="628738"/>
                      <a:pt x="441484" y="628738"/>
                      <a:pt x="37148" y="628738"/>
                    </a:cubicBezTo>
                    <a:cubicBezTo>
                      <a:pt x="37148" y="628738"/>
                      <a:pt x="37148" y="628738"/>
                      <a:pt x="0" y="522402"/>
                    </a:cubicBezTo>
                    <a:cubicBezTo>
                      <a:pt x="0" y="522402"/>
                      <a:pt x="0" y="522402"/>
                      <a:pt x="20494" y="499821"/>
                    </a:cubicBezTo>
                    <a:lnTo>
                      <a:pt x="27064" y="492582"/>
                    </a:lnTo>
                    <a:lnTo>
                      <a:pt x="36880" y="503361"/>
                    </a:lnTo>
                    <a:cubicBezTo>
                      <a:pt x="51743" y="519681"/>
                      <a:pt x="75524" y="545795"/>
                      <a:pt x="113573" y="587576"/>
                    </a:cubicBezTo>
                    <a:cubicBezTo>
                      <a:pt x="120004" y="596147"/>
                      <a:pt x="130007" y="601147"/>
                      <a:pt x="140725" y="601147"/>
                    </a:cubicBezTo>
                    <a:cubicBezTo>
                      <a:pt x="157159" y="601147"/>
                      <a:pt x="170736" y="590433"/>
                      <a:pt x="175737" y="575435"/>
                    </a:cubicBezTo>
                    <a:cubicBezTo>
                      <a:pt x="175737" y="575435"/>
                      <a:pt x="175737" y="575435"/>
                      <a:pt x="176452" y="573292"/>
                    </a:cubicBezTo>
                    <a:cubicBezTo>
                      <a:pt x="176452" y="573292"/>
                      <a:pt x="176452" y="573292"/>
                      <a:pt x="197174" y="446162"/>
                    </a:cubicBezTo>
                    <a:cubicBezTo>
                      <a:pt x="197174" y="446162"/>
                      <a:pt x="197174" y="446162"/>
                      <a:pt x="316501" y="477588"/>
                    </a:cubicBezTo>
                    <a:cubicBezTo>
                      <a:pt x="316501" y="477588"/>
                      <a:pt x="316501" y="477588"/>
                      <a:pt x="322217" y="477588"/>
                    </a:cubicBezTo>
                    <a:cubicBezTo>
                      <a:pt x="337223" y="477588"/>
                      <a:pt x="350084" y="467589"/>
                      <a:pt x="355086" y="454019"/>
                    </a:cubicBezTo>
                    <a:cubicBezTo>
                      <a:pt x="360088" y="439734"/>
                      <a:pt x="355801" y="424022"/>
                      <a:pt x="344368" y="414737"/>
                    </a:cubicBezTo>
                    <a:cubicBezTo>
                      <a:pt x="344368" y="414737"/>
                      <a:pt x="344368" y="414737"/>
                      <a:pt x="274343" y="356172"/>
                    </a:cubicBezTo>
                    <a:cubicBezTo>
                      <a:pt x="274343" y="356172"/>
                      <a:pt x="274343" y="356172"/>
                      <a:pt x="455836" y="320461"/>
                    </a:cubicBezTo>
                    <a:cubicBezTo>
                      <a:pt x="473699" y="316176"/>
                      <a:pt x="486561" y="299749"/>
                      <a:pt x="485132" y="280465"/>
                    </a:cubicBezTo>
                    <a:cubicBezTo>
                      <a:pt x="484417" y="262610"/>
                      <a:pt x="470841" y="248325"/>
                      <a:pt x="452978" y="245469"/>
                    </a:cubicBezTo>
                    <a:cubicBezTo>
                      <a:pt x="452978" y="245469"/>
                      <a:pt x="452978" y="245469"/>
                      <a:pt x="262911" y="212615"/>
                    </a:cubicBezTo>
                    <a:cubicBezTo>
                      <a:pt x="262911" y="212615"/>
                      <a:pt x="262911" y="212615"/>
                      <a:pt x="275058" y="201187"/>
                    </a:cubicBezTo>
                    <a:cubicBezTo>
                      <a:pt x="287920" y="190474"/>
                      <a:pt x="292207" y="172619"/>
                      <a:pt x="285776" y="156906"/>
                    </a:cubicBezTo>
                    <a:cubicBezTo>
                      <a:pt x="280060" y="141194"/>
                      <a:pt x="265055" y="131195"/>
                      <a:pt x="248620" y="131195"/>
                    </a:cubicBezTo>
                    <a:cubicBezTo>
                      <a:pt x="248620" y="131195"/>
                      <a:pt x="248620" y="131195"/>
                      <a:pt x="242904" y="131195"/>
                    </a:cubicBezTo>
                    <a:cubicBezTo>
                      <a:pt x="242904" y="131195"/>
                      <a:pt x="242904" y="131195"/>
                      <a:pt x="185026" y="144050"/>
                    </a:cubicBezTo>
                    <a:cubicBezTo>
                      <a:pt x="185026" y="144050"/>
                      <a:pt x="185026" y="144050"/>
                      <a:pt x="149604" y="26826"/>
                    </a:cubicBezTo>
                    <a:lnTo>
                      <a:pt x="148830" y="24266"/>
                    </a:lnTo>
                    <a:lnTo>
                      <a:pt x="168276" y="21577"/>
                    </a:lnTo>
                    <a:cubicBezTo>
                      <a:pt x="198518" y="17396"/>
                      <a:pt x="246906" y="10705"/>
                      <a:pt x="32432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36">
                <a:extLst>
                  <a:ext uri="{FF2B5EF4-FFF2-40B4-BE49-F238E27FC236}">
                    <a16:creationId xmlns:a16="http://schemas.microsoft.com/office/drawing/2014/main" id="{EA1A6F17-DF5A-B201-F1B3-1D3859AB1DDF}"/>
                  </a:ext>
                </a:extLst>
              </p:cNvPr>
              <p:cNvSpPr>
                <a:spLocks/>
              </p:cNvSpPr>
              <p:nvPr/>
            </p:nvSpPr>
            <p:spPr bwMode="auto">
              <a:xfrm>
                <a:off x="5425204" y="2760950"/>
                <a:ext cx="1339135" cy="1334800"/>
              </a:xfrm>
              <a:custGeom>
                <a:avLst/>
                <a:gdLst>
                  <a:gd name="connsiteX0" fmla="*/ 231853 w 1339135"/>
                  <a:gd name="connsiteY0" fmla="*/ 1028413 h 1334800"/>
                  <a:gd name="connsiteX1" fmla="*/ 258047 w 1339135"/>
                  <a:gd name="connsiteY1" fmla="*/ 1054607 h 1334800"/>
                  <a:gd name="connsiteX2" fmla="*/ 231853 w 1339135"/>
                  <a:gd name="connsiteY2" fmla="*/ 1080801 h 1334800"/>
                  <a:gd name="connsiteX3" fmla="*/ 205659 w 1339135"/>
                  <a:gd name="connsiteY3" fmla="*/ 1054607 h 1334800"/>
                  <a:gd name="connsiteX4" fmla="*/ 231853 w 1339135"/>
                  <a:gd name="connsiteY4" fmla="*/ 1028413 h 1334800"/>
                  <a:gd name="connsiteX5" fmla="*/ 171600 w 1339135"/>
                  <a:gd name="connsiteY5" fmla="*/ 867065 h 1334800"/>
                  <a:gd name="connsiteX6" fmla="*/ 201906 w 1339135"/>
                  <a:gd name="connsiteY6" fmla="*/ 887991 h 1334800"/>
                  <a:gd name="connsiteX7" fmla="*/ 180981 w 1339135"/>
                  <a:gd name="connsiteY7" fmla="*/ 917577 h 1334800"/>
                  <a:gd name="connsiteX8" fmla="*/ 150674 w 1339135"/>
                  <a:gd name="connsiteY8" fmla="*/ 896650 h 1334800"/>
                  <a:gd name="connsiteX9" fmla="*/ 171600 w 1339135"/>
                  <a:gd name="connsiteY9" fmla="*/ 867065 h 1334800"/>
                  <a:gd name="connsiteX10" fmla="*/ 224405 w 1339135"/>
                  <a:gd name="connsiteY10" fmla="*/ 768265 h 1334800"/>
                  <a:gd name="connsiteX11" fmla="*/ 277602 w 1339135"/>
                  <a:gd name="connsiteY11" fmla="*/ 805859 h 1334800"/>
                  <a:gd name="connsiteX12" fmla="*/ 240009 w 1339135"/>
                  <a:gd name="connsiteY12" fmla="*/ 859057 h 1334800"/>
                  <a:gd name="connsiteX13" fmla="*/ 186811 w 1339135"/>
                  <a:gd name="connsiteY13" fmla="*/ 821464 h 1334800"/>
                  <a:gd name="connsiteX14" fmla="*/ 224405 w 1339135"/>
                  <a:gd name="connsiteY14" fmla="*/ 768265 h 1334800"/>
                  <a:gd name="connsiteX15" fmla="*/ 98616 w 1339135"/>
                  <a:gd name="connsiteY15" fmla="*/ 743178 h 1334800"/>
                  <a:gd name="connsiteX16" fmla="*/ 127356 w 1339135"/>
                  <a:gd name="connsiteY16" fmla="*/ 763506 h 1334800"/>
                  <a:gd name="connsiteX17" fmla="*/ 107028 w 1339135"/>
                  <a:gd name="connsiteY17" fmla="*/ 792246 h 1334800"/>
                  <a:gd name="connsiteX18" fmla="*/ 78288 w 1339135"/>
                  <a:gd name="connsiteY18" fmla="*/ 771918 h 1334800"/>
                  <a:gd name="connsiteX19" fmla="*/ 98616 w 1339135"/>
                  <a:gd name="connsiteY19" fmla="*/ 743178 h 1334800"/>
                  <a:gd name="connsiteX20" fmla="*/ 596164 w 1339135"/>
                  <a:gd name="connsiteY20" fmla="*/ 669638 h 1334800"/>
                  <a:gd name="connsiteX21" fmla="*/ 557659 w 1339135"/>
                  <a:gd name="connsiteY21" fmla="*/ 802908 h 1334800"/>
                  <a:gd name="connsiteX22" fmla="*/ 550529 w 1339135"/>
                  <a:gd name="connsiteY22" fmla="*/ 827270 h 1334800"/>
                  <a:gd name="connsiteX23" fmla="*/ 548389 w 1339135"/>
                  <a:gd name="connsiteY23" fmla="*/ 828703 h 1334800"/>
                  <a:gd name="connsiteX24" fmla="*/ 522719 w 1339135"/>
                  <a:gd name="connsiteY24" fmla="*/ 825837 h 1334800"/>
                  <a:gd name="connsiteX25" fmla="*/ 464962 w 1339135"/>
                  <a:gd name="connsiteY25" fmla="*/ 817955 h 1334800"/>
                  <a:gd name="connsiteX26" fmla="*/ 462823 w 1339135"/>
                  <a:gd name="connsiteY26" fmla="*/ 821538 h 1334800"/>
                  <a:gd name="connsiteX27" fmla="*/ 477797 w 1339135"/>
                  <a:gd name="connsiteY27" fmla="*/ 835868 h 1334800"/>
                  <a:gd name="connsiteX28" fmla="*/ 513450 w 1339135"/>
                  <a:gd name="connsiteY28" fmla="*/ 870977 h 1334800"/>
                  <a:gd name="connsiteX29" fmla="*/ 512737 w 1339135"/>
                  <a:gd name="connsiteY29" fmla="*/ 874559 h 1334800"/>
                  <a:gd name="connsiteX30" fmla="*/ 464249 w 1339135"/>
                  <a:gd name="connsiteY30" fmla="*/ 888173 h 1334800"/>
                  <a:gd name="connsiteX31" fmla="*/ 436440 w 1339135"/>
                  <a:gd name="connsiteY31" fmla="*/ 896771 h 1334800"/>
                  <a:gd name="connsiteX32" fmla="*/ 437153 w 1339135"/>
                  <a:gd name="connsiteY32" fmla="*/ 900353 h 1334800"/>
                  <a:gd name="connsiteX33" fmla="*/ 478510 w 1339135"/>
                  <a:gd name="connsiteY33" fmla="*/ 908235 h 1334800"/>
                  <a:gd name="connsiteX34" fmla="*/ 544824 w 1339135"/>
                  <a:gd name="connsiteY34" fmla="*/ 921132 h 1334800"/>
                  <a:gd name="connsiteX35" fmla="*/ 546250 w 1339135"/>
                  <a:gd name="connsiteY35" fmla="*/ 924715 h 1334800"/>
                  <a:gd name="connsiteX36" fmla="*/ 491345 w 1339135"/>
                  <a:gd name="connsiteY36" fmla="*/ 964839 h 1334800"/>
                  <a:gd name="connsiteX37" fmla="*/ 415761 w 1339135"/>
                  <a:gd name="connsiteY37" fmla="*/ 1020726 h 1334800"/>
                  <a:gd name="connsiteX38" fmla="*/ 417188 w 1339135"/>
                  <a:gd name="connsiteY38" fmla="*/ 1024309 h 1334800"/>
                  <a:gd name="connsiteX39" fmla="*/ 513450 w 1339135"/>
                  <a:gd name="connsiteY39" fmla="*/ 1003530 h 1334800"/>
                  <a:gd name="connsiteX40" fmla="*/ 528424 w 1339135"/>
                  <a:gd name="connsiteY40" fmla="*/ 999948 h 1334800"/>
                  <a:gd name="connsiteX41" fmla="*/ 533415 w 1339135"/>
                  <a:gd name="connsiteY41" fmla="*/ 1002097 h 1334800"/>
                  <a:gd name="connsiteX42" fmla="*/ 543398 w 1339135"/>
                  <a:gd name="connsiteY42" fmla="*/ 1012845 h 1334800"/>
                  <a:gd name="connsiteX43" fmla="*/ 617556 w 1339135"/>
                  <a:gd name="connsiteY43" fmla="*/ 1095243 h 1334800"/>
                  <a:gd name="connsiteX44" fmla="*/ 621121 w 1339135"/>
                  <a:gd name="connsiteY44" fmla="*/ 1094527 h 1334800"/>
                  <a:gd name="connsiteX45" fmla="*/ 637521 w 1339135"/>
                  <a:gd name="connsiteY45" fmla="*/ 994216 h 1334800"/>
                  <a:gd name="connsiteX46" fmla="*/ 642512 w 1339135"/>
                  <a:gd name="connsiteY46" fmla="*/ 962689 h 1334800"/>
                  <a:gd name="connsiteX47" fmla="*/ 644652 w 1339135"/>
                  <a:gd name="connsiteY47" fmla="*/ 960540 h 1334800"/>
                  <a:gd name="connsiteX48" fmla="*/ 676739 w 1339135"/>
                  <a:gd name="connsiteY48" fmla="*/ 969138 h 1334800"/>
                  <a:gd name="connsiteX49" fmla="*/ 698844 w 1339135"/>
                  <a:gd name="connsiteY49" fmla="*/ 974870 h 1334800"/>
                  <a:gd name="connsiteX50" fmla="*/ 700270 w 1339135"/>
                  <a:gd name="connsiteY50" fmla="*/ 971287 h 1334800"/>
                  <a:gd name="connsiteX51" fmla="*/ 681017 w 1339135"/>
                  <a:gd name="connsiteY51" fmla="*/ 954808 h 1334800"/>
                  <a:gd name="connsiteX52" fmla="*/ 633243 w 1339135"/>
                  <a:gd name="connsiteY52" fmla="*/ 915400 h 1334800"/>
                  <a:gd name="connsiteX53" fmla="*/ 633956 w 1339135"/>
                  <a:gd name="connsiteY53" fmla="*/ 911817 h 1334800"/>
                  <a:gd name="connsiteX54" fmla="*/ 694565 w 1339135"/>
                  <a:gd name="connsiteY54" fmla="*/ 899637 h 1334800"/>
                  <a:gd name="connsiteX55" fmla="*/ 797245 w 1339135"/>
                  <a:gd name="connsiteY55" fmla="*/ 878858 h 1334800"/>
                  <a:gd name="connsiteX56" fmla="*/ 797245 w 1339135"/>
                  <a:gd name="connsiteY56" fmla="*/ 875276 h 1334800"/>
                  <a:gd name="connsiteX57" fmla="*/ 686009 w 1339135"/>
                  <a:gd name="connsiteY57" fmla="*/ 855213 h 1334800"/>
                  <a:gd name="connsiteX58" fmla="*/ 626112 w 1339135"/>
                  <a:gd name="connsiteY58" fmla="*/ 845182 h 1334800"/>
                  <a:gd name="connsiteX59" fmla="*/ 624686 w 1339135"/>
                  <a:gd name="connsiteY59" fmla="*/ 841600 h 1334800"/>
                  <a:gd name="connsiteX60" fmla="*/ 667469 w 1339135"/>
                  <a:gd name="connsiteY60" fmla="*/ 803625 h 1334800"/>
                  <a:gd name="connsiteX61" fmla="*/ 666756 w 1339135"/>
                  <a:gd name="connsiteY61" fmla="*/ 803625 h 1334800"/>
                  <a:gd name="connsiteX62" fmla="*/ 639660 w 1339135"/>
                  <a:gd name="connsiteY62" fmla="*/ 809357 h 1334800"/>
                  <a:gd name="connsiteX63" fmla="*/ 637521 w 1339135"/>
                  <a:gd name="connsiteY63" fmla="*/ 807924 h 1334800"/>
                  <a:gd name="connsiteX64" fmla="*/ 629677 w 1339135"/>
                  <a:gd name="connsiteY64" fmla="*/ 782130 h 1334800"/>
                  <a:gd name="connsiteX65" fmla="*/ 596164 w 1339135"/>
                  <a:gd name="connsiteY65" fmla="*/ 669638 h 1334800"/>
                  <a:gd name="connsiteX66" fmla="*/ 594585 w 1339135"/>
                  <a:gd name="connsiteY66" fmla="*/ 536 h 1334800"/>
                  <a:gd name="connsiteX67" fmla="*/ 606293 w 1339135"/>
                  <a:gd name="connsiteY67" fmla="*/ 1697 h 1334800"/>
                  <a:gd name="connsiteX68" fmla="*/ 1018830 w 1339135"/>
                  <a:gd name="connsiteY68" fmla="*/ 208878 h 1334800"/>
                  <a:gd name="connsiteX69" fmla="*/ 1026694 w 1339135"/>
                  <a:gd name="connsiteY69" fmla="*/ 216737 h 1334800"/>
                  <a:gd name="connsiteX70" fmla="*/ 1101766 w 1339135"/>
                  <a:gd name="connsiteY70" fmla="*/ 404629 h 1334800"/>
                  <a:gd name="connsiteX71" fmla="*/ 1289802 w 1339135"/>
                  <a:gd name="connsiteY71" fmla="*/ 530366 h 1334800"/>
                  <a:gd name="connsiteX72" fmla="*/ 1296237 w 1339135"/>
                  <a:gd name="connsiteY72" fmla="*/ 542511 h 1334800"/>
                  <a:gd name="connsiteX73" fmla="*/ 1339135 w 1339135"/>
                  <a:gd name="connsiteY73" fmla="*/ 1318369 h 1334800"/>
                  <a:gd name="connsiteX74" fmla="*/ 1334845 w 1339135"/>
                  <a:gd name="connsiteY74" fmla="*/ 1329799 h 1334800"/>
                  <a:gd name="connsiteX75" fmla="*/ 1323406 w 1339135"/>
                  <a:gd name="connsiteY75" fmla="*/ 1334800 h 1334800"/>
                  <a:gd name="connsiteX76" fmla="*/ 31459 w 1339135"/>
                  <a:gd name="connsiteY76" fmla="*/ 1334800 h 1334800"/>
                  <a:gd name="connsiteX77" fmla="*/ 15730 w 1339135"/>
                  <a:gd name="connsiteY77" fmla="*/ 1319083 h 1334800"/>
                  <a:gd name="connsiteX78" fmla="*/ 15730 w 1339135"/>
                  <a:gd name="connsiteY78" fmla="*/ 1191202 h 1334800"/>
                  <a:gd name="connsiteX79" fmla="*/ 27884 w 1339135"/>
                  <a:gd name="connsiteY79" fmla="*/ 1176200 h 1334800"/>
                  <a:gd name="connsiteX80" fmla="*/ 143709 w 1339135"/>
                  <a:gd name="connsiteY80" fmla="*/ 1150480 h 1334800"/>
                  <a:gd name="connsiteX81" fmla="*/ 150143 w 1339135"/>
                  <a:gd name="connsiteY81" fmla="*/ 1150480 h 1334800"/>
                  <a:gd name="connsiteX82" fmla="*/ 252384 w 1339135"/>
                  <a:gd name="connsiteY82" fmla="*/ 1174771 h 1334800"/>
                  <a:gd name="connsiteX83" fmla="*/ 307436 w 1339135"/>
                  <a:gd name="connsiteY83" fmla="*/ 1156196 h 1334800"/>
                  <a:gd name="connsiteX84" fmla="*/ 315301 w 1339135"/>
                  <a:gd name="connsiteY84" fmla="*/ 1155481 h 1334800"/>
                  <a:gd name="connsiteX85" fmla="*/ 452575 w 1339135"/>
                  <a:gd name="connsiteY85" fmla="*/ 1179057 h 1334800"/>
                  <a:gd name="connsiteX86" fmla="*/ 487608 w 1339135"/>
                  <a:gd name="connsiteY86" fmla="*/ 1185487 h 1334800"/>
                  <a:gd name="connsiteX87" fmla="*/ 499763 w 1339135"/>
                  <a:gd name="connsiteY87" fmla="*/ 1219065 h 1334800"/>
                  <a:gd name="connsiteX88" fmla="*/ 446855 w 1339135"/>
                  <a:gd name="connsiteY88" fmla="*/ 1209777 h 1334800"/>
                  <a:gd name="connsiteX89" fmla="*/ 313871 w 1339135"/>
                  <a:gd name="connsiteY89" fmla="*/ 1187630 h 1334800"/>
                  <a:gd name="connsiteX90" fmla="*/ 258104 w 1339135"/>
                  <a:gd name="connsiteY90" fmla="*/ 1206205 h 1334800"/>
                  <a:gd name="connsiteX91" fmla="*/ 249524 w 1339135"/>
                  <a:gd name="connsiteY91" fmla="*/ 1206205 h 1334800"/>
                  <a:gd name="connsiteX92" fmla="*/ 146569 w 1339135"/>
                  <a:gd name="connsiteY92" fmla="*/ 1181915 h 1334800"/>
                  <a:gd name="connsiteX93" fmla="*/ 47188 w 1339135"/>
                  <a:gd name="connsiteY93" fmla="*/ 1204062 h 1334800"/>
                  <a:gd name="connsiteX94" fmla="*/ 47188 w 1339135"/>
                  <a:gd name="connsiteY94" fmla="*/ 1303366 h 1334800"/>
                  <a:gd name="connsiteX95" fmla="*/ 1306962 w 1339135"/>
                  <a:gd name="connsiteY95" fmla="*/ 1303366 h 1334800"/>
                  <a:gd name="connsiteX96" fmla="*/ 1265493 w 1339135"/>
                  <a:gd name="connsiteY96" fmla="*/ 552513 h 1334800"/>
                  <a:gd name="connsiteX97" fmla="*/ 1080317 w 1339135"/>
                  <a:gd name="connsiteY97" fmla="*/ 428204 h 1334800"/>
                  <a:gd name="connsiteX98" fmla="*/ 1074597 w 1339135"/>
                  <a:gd name="connsiteY98" fmla="*/ 421060 h 1334800"/>
                  <a:gd name="connsiteX99" fmla="*/ 999525 w 1339135"/>
                  <a:gd name="connsiteY99" fmla="*/ 233883 h 1334800"/>
                  <a:gd name="connsiteX100" fmla="*/ 604863 w 1339135"/>
                  <a:gd name="connsiteY100" fmla="*/ 35989 h 1334800"/>
                  <a:gd name="connsiteX101" fmla="*/ 351049 w 1339135"/>
                  <a:gd name="connsiteY101" fmla="*/ 452495 h 1334800"/>
                  <a:gd name="connsiteX102" fmla="*/ 331745 w 1339135"/>
                  <a:gd name="connsiteY102" fmla="*/ 458924 h 1334800"/>
                  <a:gd name="connsiteX103" fmla="*/ 193757 w 1339135"/>
                  <a:gd name="connsiteY103" fmla="*/ 403914 h 1334800"/>
                  <a:gd name="connsiteX104" fmla="*/ 43613 w 1339135"/>
                  <a:gd name="connsiteY104" fmla="*/ 651103 h 1334800"/>
                  <a:gd name="connsiteX105" fmla="*/ 54338 w 1339135"/>
                  <a:gd name="connsiteY105" fmla="*/ 651103 h 1334800"/>
                  <a:gd name="connsiteX106" fmla="*/ 63632 w 1339135"/>
                  <a:gd name="connsiteY106" fmla="*/ 654675 h 1334800"/>
                  <a:gd name="connsiteX107" fmla="*/ 87941 w 1339135"/>
                  <a:gd name="connsiteY107" fmla="*/ 673250 h 1334800"/>
                  <a:gd name="connsiteX108" fmla="*/ 165158 w 1339135"/>
                  <a:gd name="connsiteY108" fmla="*/ 638243 h 1334800"/>
                  <a:gd name="connsiteX109" fmla="*/ 178742 w 1339135"/>
                  <a:gd name="connsiteY109" fmla="*/ 638243 h 1334800"/>
                  <a:gd name="connsiteX110" fmla="*/ 202336 w 1339135"/>
                  <a:gd name="connsiteY110" fmla="*/ 650388 h 1334800"/>
                  <a:gd name="connsiteX111" fmla="*/ 319591 w 1339135"/>
                  <a:gd name="connsiteY111" fmla="*/ 608952 h 1334800"/>
                  <a:gd name="connsiteX112" fmla="*/ 329600 w 1339135"/>
                  <a:gd name="connsiteY112" fmla="*/ 608952 h 1334800"/>
                  <a:gd name="connsiteX113" fmla="*/ 453290 w 1339135"/>
                  <a:gd name="connsiteY113" fmla="*/ 650388 h 1334800"/>
                  <a:gd name="connsiteX114" fmla="*/ 574834 w 1339135"/>
                  <a:gd name="connsiteY114" fmla="*/ 629670 h 1334800"/>
                  <a:gd name="connsiteX115" fmla="*/ 591994 w 1339135"/>
                  <a:gd name="connsiteY115" fmla="*/ 569659 h 1334800"/>
                  <a:gd name="connsiteX116" fmla="*/ 595569 w 1339135"/>
                  <a:gd name="connsiteY116" fmla="*/ 566801 h 1334800"/>
                  <a:gd name="connsiteX117" fmla="*/ 599143 w 1339135"/>
                  <a:gd name="connsiteY117" fmla="*/ 569659 h 1334800"/>
                  <a:gd name="connsiteX118" fmla="*/ 659916 w 1339135"/>
                  <a:gd name="connsiteY118" fmla="*/ 771125 h 1334800"/>
                  <a:gd name="connsiteX119" fmla="*/ 662776 w 1339135"/>
                  <a:gd name="connsiteY119" fmla="*/ 772554 h 1334800"/>
                  <a:gd name="connsiteX120" fmla="*/ 743567 w 1339135"/>
                  <a:gd name="connsiteY120" fmla="*/ 753979 h 1334800"/>
                  <a:gd name="connsiteX121" fmla="*/ 745712 w 1339135"/>
                  <a:gd name="connsiteY121" fmla="*/ 753979 h 1334800"/>
                  <a:gd name="connsiteX122" fmla="*/ 751432 w 1339135"/>
                  <a:gd name="connsiteY122" fmla="*/ 769696 h 1334800"/>
                  <a:gd name="connsiteX123" fmla="*/ 694949 w 1339135"/>
                  <a:gd name="connsiteY123" fmla="*/ 821134 h 1334800"/>
                  <a:gd name="connsiteX124" fmla="*/ 695664 w 1339135"/>
                  <a:gd name="connsiteY124" fmla="*/ 824706 h 1334800"/>
                  <a:gd name="connsiteX125" fmla="*/ 945903 w 1339135"/>
                  <a:gd name="connsiteY125" fmla="*/ 868286 h 1334800"/>
                  <a:gd name="connsiteX126" fmla="*/ 946618 w 1339135"/>
                  <a:gd name="connsiteY126" fmla="*/ 881145 h 1334800"/>
                  <a:gd name="connsiteX127" fmla="*/ 705674 w 1339135"/>
                  <a:gd name="connsiteY127" fmla="*/ 929011 h 1334800"/>
                  <a:gd name="connsiteX128" fmla="*/ 704959 w 1339135"/>
                  <a:gd name="connsiteY128" fmla="*/ 932583 h 1334800"/>
                  <a:gd name="connsiteX129" fmla="*/ 821498 w 1339135"/>
                  <a:gd name="connsiteY129" fmla="*/ 1030458 h 1334800"/>
                  <a:gd name="connsiteX130" fmla="*/ 819353 w 1339135"/>
                  <a:gd name="connsiteY130" fmla="*/ 1037603 h 1334800"/>
                  <a:gd name="connsiteX131" fmla="*/ 817924 w 1339135"/>
                  <a:gd name="connsiteY131" fmla="*/ 1037603 h 1334800"/>
                  <a:gd name="connsiteX132" fmla="*/ 671355 w 1339135"/>
                  <a:gd name="connsiteY132" fmla="*/ 999024 h 1334800"/>
                  <a:gd name="connsiteX133" fmla="*/ 668495 w 1339135"/>
                  <a:gd name="connsiteY133" fmla="*/ 1000453 h 1334800"/>
                  <a:gd name="connsiteX134" fmla="*/ 642756 w 1339135"/>
                  <a:gd name="connsiteY134" fmla="*/ 1157625 h 1334800"/>
                  <a:gd name="connsiteX135" fmla="*/ 637752 w 1339135"/>
                  <a:gd name="connsiteY135" fmla="*/ 1161197 h 1334800"/>
                  <a:gd name="connsiteX136" fmla="*/ 634892 w 1339135"/>
                  <a:gd name="connsiteY136" fmla="*/ 1159768 h 1334800"/>
                  <a:gd name="connsiteX137" fmla="*/ 520497 w 1339135"/>
                  <a:gd name="connsiteY137" fmla="*/ 1034030 h 1334800"/>
                  <a:gd name="connsiteX138" fmla="*/ 519067 w 1339135"/>
                  <a:gd name="connsiteY138" fmla="*/ 1033316 h 1334800"/>
                  <a:gd name="connsiteX139" fmla="*/ 282413 w 1339135"/>
                  <a:gd name="connsiteY139" fmla="*/ 1084754 h 1334800"/>
                  <a:gd name="connsiteX140" fmla="*/ 281698 w 1339135"/>
                  <a:gd name="connsiteY140" fmla="*/ 1084754 h 1334800"/>
                  <a:gd name="connsiteX141" fmla="*/ 280268 w 1339135"/>
                  <a:gd name="connsiteY141" fmla="*/ 1079753 h 1334800"/>
                  <a:gd name="connsiteX142" fmla="*/ 469019 w 1339135"/>
                  <a:gd name="connsiteY142" fmla="*/ 941156 h 1334800"/>
                  <a:gd name="connsiteX143" fmla="*/ 468304 w 1339135"/>
                  <a:gd name="connsiteY143" fmla="*/ 937584 h 1334800"/>
                  <a:gd name="connsiteX144" fmla="*/ 314586 w 1339135"/>
                  <a:gd name="connsiteY144" fmla="*/ 909007 h 1334800"/>
                  <a:gd name="connsiteX145" fmla="*/ 314586 w 1339135"/>
                  <a:gd name="connsiteY145" fmla="*/ 899006 h 1334800"/>
                  <a:gd name="connsiteX146" fmla="*/ 451860 w 1339135"/>
                  <a:gd name="connsiteY146" fmla="*/ 858284 h 1334800"/>
                  <a:gd name="connsiteX147" fmla="*/ 453290 w 1339135"/>
                  <a:gd name="connsiteY147" fmla="*/ 855426 h 1334800"/>
                  <a:gd name="connsiteX148" fmla="*/ 376788 w 1339135"/>
                  <a:gd name="connsiteY148" fmla="*/ 781127 h 1334800"/>
                  <a:gd name="connsiteX149" fmla="*/ 379648 w 1339135"/>
                  <a:gd name="connsiteY149" fmla="*/ 773982 h 1334800"/>
                  <a:gd name="connsiteX150" fmla="*/ 380363 w 1339135"/>
                  <a:gd name="connsiteY150" fmla="*/ 773982 h 1334800"/>
                  <a:gd name="connsiteX151" fmla="*/ 525502 w 1339135"/>
                  <a:gd name="connsiteY151" fmla="*/ 793986 h 1334800"/>
                  <a:gd name="connsiteX152" fmla="*/ 527647 w 1339135"/>
                  <a:gd name="connsiteY152" fmla="*/ 792557 h 1334800"/>
                  <a:gd name="connsiteX153" fmla="*/ 564825 w 1339135"/>
                  <a:gd name="connsiteY153" fmla="*/ 663248 h 1334800"/>
                  <a:gd name="connsiteX154" fmla="*/ 454720 w 1339135"/>
                  <a:gd name="connsiteY154" fmla="*/ 682537 h 1334800"/>
                  <a:gd name="connsiteX155" fmla="*/ 446855 w 1339135"/>
                  <a:gd name="connsiteY155" fmla="*/ 681823 h 1334800"/>
                  <a:gd name="connsiteX156" fmla="*/ 324596 w 1339135"/>
                  <a:gd name="connsiteY156" fmla="*/ 640386 h 1334800"/>
                  <a:gd name="connsiteX157" fmla="*/ 206626 w 1339135"/>
                  <a:gd name="connsiteY157" fmla="*/ 682537 h 1334800"/>
                  <a:gd name="connsiteX158" fmla="*/ 194472 w 1339135"/>
                  <a:gd name="connsiteY158" fmla="*/ 681823 h 1334800"/>
                  <a:gd name="connsiteX159" fmla="*/ 170878 w 1339135"/>
                  <a:gd name="connsiteY159" fmla="*/ 669678 h 1334800"/>
                  <a:gd name="connsiteX160" fmla="*/ 92231 w 1339135"/>
                  <a:gd name="connsiteY160" fmla="*/ 705398 h 1334800"/>
                  <a:gd name="connsiteX161" fmla="*/ 76502 w 1339135"/>
                  <a:gd name="connsiteY161" fmla="*/ 703255 h 1334800"/>
                  <a:gd name="connsiteX162" fmla="*/ 48618 w 1339135"/>
                  <a:gd name="connsiteY162" fmla="*/ 682537 h 1334800"/>
                  <a:gd name="connsiteX163" fmla="*/ 15730 w 1339135"/>
                  <a:gd name="connsiteY163" fmla="*/ 682537 h 1334800"/>
                  <a:gd name="connsiteX164" fmla="*/ 2145 w 1339135"/>
                  <a:gd name="connsiteY164" fmla="*/ 674678 h 1334800"/>
                  <a:gd name="connsiteX165" fmla="*/ 2145 w 1339135"/>
                  <a:gd name="connsiteY165" fmla="*/ 658961 h 1334800"/>
                  <a:gd name="connsiteX166" fmla="*/ 174452 w 1339135"/>
                  <a:gd name="connsiteY166" fmla="*/ 376766 h 1334800"/>
                  <a:gd name="connsiteX167" fmla="*/ 193042 w 1339135"/>
                  <a:gd name="connsiteY167" fmla="*/ 370337 h 1334800"/>
                  <a:gd name="connsiteX168" fmla="*/ 331030 w 1339135"/>
                  <a:gd name="connsiteY168" fmla="*/ 424632 h 1334800"/>
                  <a:gd name="connsiteX169" fmla="*/ 585559 w 1339135"/>
                  <a:gd name="connsiteY169" fmla="*/ 7413 h 1334800"/>
                  <a:gd name="connsiteX170" fmla="*/ 594585 w 1339135"/>
                  <a:gd name="connsiteY170" fmla="*/ 536 h 133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1339135" h="1334800">
                    <a:moveTo>
                      <a:pt x="231853" y="1028413"/>
                    </a:moveTo>
                    <a:cubicBezTo>
                      <a:pt x="246320" y="1028413"/>
                      <a:pt x="258047" y="1040140"/>
                      <a:pt x="258047" y="1054607"/>
                    </a:cubicBezTo>
                    <a:cubicBezTo>
                      <a:pt x="258047" y="1069074"/>
                      <a:pt x="246320" y="1080801"/>
                      <a:pt x="231853" y="1080801"/>
                    </a:cubicBezTo>
                    <a:cubicBezTo>
                      <a:pt x="217386" y="1080801"/>
                      <a:pt x="205659" y="1069074"/>
                      <a:pt x="205659" y="1054607"/>
                    </a:cubicBezTo>
                    <a:cubicBezTo>
                      <a:pt x="205659" y="1040140"/>
                      <a:pt x="217386" y="1028413"/>
                      <a:pt x="231853" y="1028413"/>
                    </a:cubicBezTo>
                    <a:close/>
                    <a:moveTo>
                      <a:pt x="171600" y="867065"/>
                    </a:moveTo>
                    <a:cubicBezTo>
                      <a:pt x="186032" y="864900"/>
                      <a:pt x="199020" y="874281"/>
                      <a:pt x="201906" y="887991"/>
                    </a:cubicBezTo>
                    <a:cubicBezTo>
                      <a:pt x="204071" y="902423"/>
                      <a:pt x="194691" y="915412"/>
                      <a:pt x="180981" y="917577"/>
                    </a:cubicBezTo>
                    <a:cubicBezTo>
                      <a:pt x="166549" y="920463"/>
                      <a:pt x="153560" y="911082"/>
                      <a:pt x="150674" y="896650"/>
                    </a:cubicBezTo>
                    <a:cubicBezTo>
                      <a:pt x="148509" y="882940"/>
                      <a:pt x="157890" y="869230"/>
                      <a:pt x="171600" y="867065"/>
                    </a:cubicBezTo>
                    <a:close/>
                    <a:moveTo>
                      <a:pt x="224405" y="768265"/>
                    </a:moveTo>
                    <a:cubicBezTo>
                      <a:pt x="249230" y="763300"/>
                      <a:pt x="273347" y="780324"/>
                      <a:pt x="277602" y="805859"/>
                    </a:cubicBezTo>
                    <a:cubicBezTo>
                      <a:pt x="281858" y="830685"/>
                      <a:pt x="265544" y="854801"/>
                      <a:pt x="240009" y="859057"/>
                    </a:cubicBezTo>
                    <a:cubicBezTo>
                      <a:pt x="214474" y="863313"/>
                      <a:pt x="191067" y="846999"/>
                      <a:pt x="186811" y="821464"/>
                    </a:cubicBezTo>
                    <a:cubicBezTo>
                      <a:pt x="181846" y="795928"/>
                      <a:pt x="198870" y="772521"/>
                      <a:pt x="224405" y="768265"/>
                    </a:cubicBezTo>
                    <a:close/>
                    <a:moveTo>
                      <a:pt x="98616" y="743178"/>
                    </a:moveTo>
                    <a:cubicBezTo>
                      <a:pt x="111935" y="741075"/>
                      <a:pt x="125253" y="750188"/>
                      <a:pt x="127356" y="763506"/>
                    </a:cubicBezTo>
                    <a:cubicBezTo>
                      <a:pt x="129459" y="776825"/>
                      <a:pt x="120347" y="790143"/>
                      <a:pt x="107028" y="792246"/>
                    </a:cubicBezTo>
                    <a:cubicBezTo>
                      <a:pt x="93710" y="795050"/>
                      <a:pt x="80391" y="785937"/>
                      <a:pt x="78288" y="771918"/>
                    </a:cubicBezTo>
                    <a:cubicBezTo>
                      <a:pt x="75484" y="758599"/>
                      <a:pt x="84597" y="745281"/>
                      <a:pt x="98616" y="743178"/>
                    </a:cubicBezTo>
                    <a:close/>
                    <a:moveTo>
                      <a:pt x="596164" y="669638"/>
                    </a:moveTo>
                    <a:cubicBezTo>
                      <a:pt x="557659" y="802908"/>
                      <a:pt x="557659" y="802908"/>
                      <a:pt x="557659" y="802908"/>
                    </a:cubicBezTo>
                    <a:cubicBezTo>
                      <a:pt x="550529" y="827270"/>
                      <a:pt x="550529" y="827270"/>
                      <a:pt x="550529" y="827270"/>
                    </a:cubicBezTo>
                    <a:cubicBezTo>
                      <a:pt x="549815" y="828703"/>
                      <a:pt x="549102" y="829419"/>
                      <a:pt x="548389" y="828703"/>
                    </a:cubicBezTo>
                    <a:cubicBezTo>
                      <a:pt x="522719" y="825837"/>
                      <a:pt x="522719" y="825837"/>
                      <a:pt x="522719" y="825837"/>
                    </a:cubicBezTo>
                    <a:cubicBezTo>
                      <a:pt x="464962" y="817955"/>
                      <a:pt x="464962" y="817955"/>
                      <a:pt x="464962" y="817955"/>
                    </a:cubicBezTo>
                    <a:cubicBezTo>
                      <a:pt x="462823" y="817239"/>
                      <a:pt x="461397" y="820105"/>
                      <a:pt x="462823" y="821538"/>
                    </a:cubicBezTo>
                    <a:cubicBezTo>
                      <a:pt x="477797" y="835868"/>
                      <a:pt x="477797" y="835868"/>
                      <a:pt x="477797" y="835868"/>
                    </a:cubicBezTo>
                    <a:cubicBezTo>
                      <a:pt x="513450" y="870977"/>
                      <a:pt x="513450" y="870977"/>
                      <a:pt x="513450" y="870977"/>
                    </a:cubicBezTo>
                    <a:cubicBezTo>
                      <a:pt x="514876" y="871693"/>
                      <a:pt x="514163" y="873843"/>
                      <a:pt x="512737" y="874559"/>
                    </a:cubicBezTo>
                    <a:cubicBezTo>
                      <a:pt x="464249" y="888173"/>
                      <a:pt x="464249" y="888173"/>
                      <a:pt x="464249" y="888173"/>
                    </a:cubicBezTo>
                    <a:cubicBezTo>
                      <a:pt x="436440" y="896771"/>
                      <a:pt x="436440" y="896771"/>
                      <a:pt x="436440" y="896771"/>
                    </a:cubicBezTo>
                    <a:cubicBezTo>
                      <a:pt x="434301" y="897487"/>
                      <a:pt x="435014" y="900353"/>
                      <a:pt x="437153" y="900353"/>
                    </a:cubicBezTo>
                    <a:cubicBezTo>
                      <a:pt x="478510" y="908235"/>
                      <a:pt x="478510" y="908235"/>
                      <a:pt x="478510" y="908235"/>
                    </a:cubicBezTo>
                    <a:cubicBezTo>
                      <a:pt x="544824" y="921132"/>
                      <a:pt x="544824" y="921132"/>
                      <a:pt x="544824" y="921132"/>
                    </a:cubicBezTo>
                    <a:cubicBezTo>
                      <a:pt x="546963" y="921132"/>
                      <a:pt x="547676" y="923998"/>
                      <a:pt x="546250" y="924715"/>
                    </a:cubicBezTo>
                    <a:cubicBezTo>
                      <a:pt x="491345" y="964839"/>
                      <a:pt x="491345" y="964839"/>
                      <a:pt x="491345" y="964839"/>
                    </a:cubicBezTo>
                    <a:cubicBezTo>
                      <a:pt x="415761" y="1020726"/>
                      <a:pt x="415761" y="1020726"/>
                      <a:pt x="415761" y="1020726"/>
                    </a:cubicBezTo>
                    <a:cubicBezTo>
                      <a:pt x="413622" y="1022159"/>
                      <a:pt x="415048" y="1025025"/>
                      <a:pt x="417188" y="1024309"/>
                    </a:cubicBezTo>
                    <a:cubicBezTo>
                      <a:pt x="513450" y="1003530"/>
                      <a:pt x="513450" y="1003530"/>
                      <a:pt x="513450" y="1003530"/>
                    </a:cubicBezTo>
                    <a:cubicBezTo>
                      <a:pt x="528424" y="999948"/>
                      <a:pt x="528424" y="999948"/>
                      <a:pt x="528424" y="999948"/>
                    </a:cubicBezTo>
                    <a:cubicBezTo>
                      <a:pt x="529850" y="999948"/>
                      <a:pt x="531989" y="1000664"/>
                      <a:pt x="533415" y="1002097"/>
                    </a:cubicBezTo>
                    <a:cubicBezTo>
                      <a:pt x="543398" y="1012845"/>
                      <a:pt x="543398" y="1012845"/>
                      <a:pt x="543398" y="1012845"/>
                    </a:cubicBezTo>
                    <a:cubicBezTo>
                      <a:pt x="617556" y="1095243"/>
                      <a:pt x="617556" y="1095243"/>
                      <a:pt x="617556" y="1095243"/>
                    </a:cubicBezTo>
                    <a:cubicBezTo>
                      <a:pt x="618269" y="1096676"/>
                      <a:pt x="620408" y="1095960"/>
                      <a:pt x="621121" y="1094527"/>
                    </a:cubicBezTo>
                    <a:cubicBezTo>
                      <a:pt x="637521" y="994216"/>
                      <a:pt x="637521" y="994216"/>
                      <a:pt x="637521" y="994216"/>
                    </a:cubicBezTo>
                    <a:cubicBezTo>
                      <a:pt x="642512" y="962689"/>
                      <a:pt x="642512" y="962689"/>
                      <a:pt x="642512" y="962689"/>
                    </a:cubicBezTo>
                    <a:cubicBezTo>
                      <a:pt x="642512" y="961256"/>
                      <a:pt x="643939" y="960540"/>
                      <a:pt x="644652" y="960540"/>
                    </a:cubicBezTo>
                    <a:cubicBezTo>
                      <a:pt x="676739" y="969138"/>
                      <a:pt x="676739" y="969138"/>
                      <a:pt x="676739" y="969138"/>
                    </a:cubicBezTo>
                    <a:cubicBezTo>
                      <a:pt x="698844" y="974870"/>
                      <a:pt x="698844" y="974870"/>
                      <a:pt x="698844" y="974870"/>
                    </a:cubicBezTo>
                    <a:cubicBezTo>
                      <a:pt x="700983" y="975587"/>
                      <a:pt x="702409" y="972720"/>
                      <a:pt x="700270" y="971287"/>
                    </a:cubicBezTo>
                    <a:cubicBezTo>
                      <a:pt x="681017" y="954808"/>
                      <a:pt x="681017" y="954808"/>
                      <a:pt x="681017" y="954808"/>
                    </a:cubicBezTo>
                    <a:cubicBezTo>
                      <a:pt x="633243" y="915400"/>
                      <a:pt x="633243" y="915400"/>
                      <a:pt x="633243" y="915400"/>
                    </a:cubicBezTo>
                    <a:cubicBezTo>
                      <a:pt x="631817" y="913967"/>
                      <a:pt x="632530" y="911817"/>
                      <a:pt x="633956" y="911817"/>
                    </a:cubicBezTo>
                    <a:cubicBezTo>
                      <a:pt x="694565" y="899637"/>
                      <a:pt x="694565" y="899637"/>
                      <a:pt x="694565" y="899637"/>
                    </a:cubicBezTo>
                    <a:cubicBezTo>
                      <a:pt x="797245" y="878858"/>
                      <a:pt x="797245" y="878858"/>
                      <a:pt x="797245" y="878858"/>
                    </a:cubicBezTo>
                    <a:cubicBezTo>
                      <a:pt x="799384" y="878858"/>
                      <a:pt x="799384" y="875276"/>
                      <a:pt x="797245" y="875276"/>
                    </a:cubicBezTo>
                    <a:cubicBezTo>
                      <a:pt x="686009" y="855213"/>
                      <a:pt x="686009" y="855213"/>
                      <a:pt x="686009" y="855213"/>
                    </a:cubicBezTo>
                    <a:cubicBezTo>
                      <a:pt x="626112" y="845182"/>
                      <a:pt x="626112" y="845182"/>
                      <a:pt x="626112" y="845182"/>
                    </a:cubicBezTo>
                    <a:cubicBezTo>
                      <a:pt x="624686" y="845182"/>
                      <a:pt x="623973" y="843033"/>
                      <a:pt x="624686" y="841600"/>
                    </a:cubicBezTo>
                    <a:cubicBezTo>
                      <a:pt x="667469" y="803625"/>
                      <a:pt x="667469" y="803625"/>
                      <a:pt x="667469" y="803625"/>
                    </a:cubicBezTo>
                    <a:cubicBezTo>
                      <a:pt x="666756" y="803625"/>
                      <a:pt x="666756" y="803625"/>
                      <a:pt x="666756" y="803625"/>
                    </a:cubicBezTo>
                    <a:cubicBezTo>
                      <a:pt x="639660" y="809357"/>
                      <a:pt x="639660" y="809357"/>
                      <a:pt x="639660" y="809357"/>
                    </a:cubicBezTo>
                    <a:cubicBezTo>
                      <a:pt x="638947" y="810073"/>
                      <a:pt x="637521" y="809357"/>
                      <a:pt x="637521" y="807924"/>
                    </a:cubicBezTo>
                    <a:cubicBezTo>
                      <a:pt x="629677" y="782130"/>
                      <a:pt x="629677" y="782130"/>
                      <a:pt x="629677" y="782130"/>
                    </a:cubicBezTo>
                    <a:cubicBezTo>
                      <a:pt x="596164" y="669638"/>
                      <a:pt x="596164" y="669638"/>
                      <a:pt x="596164" y="669638"/>
                    </a:cubicBezTo>
                    <a:close/>
                    <a:moveTo>
                      <a:pt x="594585" y="536"/>
                    </a:moveTo>
                    <a:cubicBezTo>
                      <a:pt x="598250" y="-446"/>
                      <a:pt x="602361" y="-89"/>
                      <a:pt x="606293" y="1697"/>
                    </a:cubicBezTo>
                    <a:cubicBezTo>
                      <a:pt x="1018830" y="208878"/>
                      <a:pt x="1018830" y="208878"/>
                      <a:pt x="1018830" y="208878"/>
                    </a:cubicBezTo>
                    <a:cubicBezTo>
                      <a:pt x="1022404" y="210307"/>
                      <a:pt x="1025264" y="213165"/>
                      <a:pt x="1026694" y="216737"/>
                    </a:cubicBezTo>
                    <a:cubicBezTo>
                      <a:pt x="1101766" y="404629"/>
                      <a:pt x="1101766" y="404629"/>
                      <a:pt x="1101766" y="404629"/>
                    </a:cubicBezTo>
                    <a:cubicBezTo>
                      <a:pt x="1289802" y="530366"/>
                      <a:pt x="1289802" y="530366"/>
                      <a:pt x="1289802" y="530366"/>
                    </a:cubicBezTo>
                    <a:cubicBezTo>
                      <a:pt x="1293377" y="533224"/>
                      <a:pt x="1296237" y="537510"/>
                      <a:pt x="1296237" y="542511"/>
                    </a:cubicBezTo>
                    <a:cubicBezTo>
                      <a:pt x="1339135" y="1318369"/>
                      <a:pt x="1339135" y="1318369"/>
                      <a:pt x="1339135" y="1318369"/>
                    </a:cubicBezTo>
                    <a:cubicBezTo>
                      <a:pt x="1339135" y="1322655"/>
                      <a:pt x="1337705" y="1326942"/>
                      <a:pt x="1334845" y="1329799"/>
                    </a:cubicBezTo>
                    <a:cubicBezTo>
                      <a:pt x="1331986" y="1333371"/>
                      <a:pt x="1327696" y="1334800"/>
                      <a:pt x="1323406" y="1334800"/>
                    </a:cubicBezTo>
                    <a:cubicBezTo>
                      <a:pt x="31459" y="1334800"/>
                      <a:pt x="31459" y="1334800"/>
                      <a:pt x="31459" y="1334800"/>
                    </a:cubicBezTo>
                    <a:cubicBezTo>
                      <a:pt x="22879" y="1334800"/>
                      <a:pt x="15730" y="1327656"/>
                      <a:pt x="15730" y="1319083"/>
                    </a:cubicBezTo>
                    <a:cubicBezTo>
                      <a:pt x="15730" y="1191202"/>
                      <a:pt x="15730" y="1191202"/>
                      <a:pt x="15730" y="1191202"/>
                    </a:cubicBezTo>
                    <a:cubicBezTo>
                      <a:pt x="15730" y="1184058"/>
                      <a:pt x="20734" y="1177628"/>
                      <a:pt x="27884" y="1176200"/>
                    </a:cubicBezTo>
                    <a:cubicBezTo>
                      <a:pt x="143709" y="1150480"/>
                      <a:pt x="143709" y="1150480"/>
                      <a:pt x="143709" y="1150480"/>
                    </a:cubicBezTo>
                    <a:cubicBezTo>
                      <a:pt x="145854" y="1149766"/>
                      <a:pt x="147999" y="1150480"/>
                      <a:pt x="150143" y="1150480"/>
                    </a:cubicBezTo>
                    <a:cubicBezTo>
                      <a:pt x="252384" y="1174771"/>
                      <a:pt x="252384" y="1174771"/>
                      <a:pt x="252384" y="1174771"/>
                    </a:cubicBezTo>
                    <a:cubicBezTo>
                      <a:pt x="307436" y="1156196"/>
                      <a:pt x="307436" y="1156196"/>
                      <a:pt x="307436" y="1156196"/>
                    </a:cubicBezTo>
                    <a:cubicBezTo>
                      <a:pt x="309581" y="1155481"/>
                      <a:pt x="312441" y="1155481"/>
                      <a:pt x="315301" y="1155481"/>
                    </a:cubicBezTo>
                    <a:cubicBezTo>
                      <a:pt x="452575" y="1179057"/>
                      <a:pt x="452575" y="1179057"/>
                      <a:pt x="452575" y="1179057"/>
                    </a:cubicBezTo>
                    <a:cubicBezTo>
                      <a:pt x="487608" y="1185487"/>
                      <a:pt x="487608" y="1185487"/>
                      <a:pt x="487608" y="1185487"/>
                    </a:cubicBezTo>
                    <a:cubicBezTo>
                      <a:pt x="499763" y="1219065"/>
                      <a:pt x="499763" y="1219065"/>
                      <a:pt x="499763" y="1219065"/>
                    </a:cubicBezTo>
                    <a:cubicBezTo>
                      <a:pt x="446855" y="1209777"/>
                      <a:pt x="446855" y="1209777"/>
                      <a:pt x="446855" y="1209777"/>
                    </a:cubicBezTo>
                    <a:cubicBezTo>
                      <a:pt x="313871" y="1187630"/>
                      <a:pt x="313871" y="1187630"/>
                      <a:pt x="313871" y="1187630"/>
                    </a:cubicBezTo>
                    <a:cubicBezTo>
                      <a:pt x="258104" y="1206205"/>
                      <a:pt x="258104" y="1206205"/>
                      <a:pt x="258104" y="1206205"/>
                    </a:cubicBezTo>
                    <a:cubicBezTo>
                      <a:pt x="255244" y="1206919"/>
                      <a:pt x="252384" y="1206919"/>
                      <a:pt x="249524" y="1206205"/>
                    </a:cubicBezTo>
                    <a:cubicBezTo>
                      <a:pt x="146569" y="1181915"/>
                      <a:pt x="146569" y="1181915"/>
                      <a:pt x="146569" y="1181915"/>
                    </a:cubicBezTo>
                    <a:cubicBezTo>
                      <a:pt x="47188" y="1204062"/>
                      <a:pt x="47188" y="1204062"/>
                      <a:pt x="47188" y="1204062"/>
                    </a:cubicBezTo>
                    <a:cubicBezTo>
                      <a:pt x="47188" y="1303366"/>
                      <a:pt x="47188" y="1303366"/>
                      <a:pt x="47188" y="1303366"/>
                    </a:cubicBezTo>
                    <a:cubicBezTo>
                      <a:pt x="1306962" y="1303366"/>
                      <a:pt x="1306962" y="1303366"/>
                      <a:pt x="1306962" y="1303366"/>
                    </a:cubicBezTo>
                    <a:cubicBezTo>
                      <a:pt x="1265493" y="552513"/>
                      <a:pt x="1265493" y="552513"/>
                      <a:pt x="1265493" y="552513"/>
                    </a:cubicBezTo>
                    <a:cubicBezTo>
                      <a:pt x="1080317" y="428204"/>
                      <a:pt x="1080317" y="428204"/>
                      <a:pt x="1080317" y="428204"/>
                    </a:cubicBezTo>
                    <a:cubicBezTo>
                      <a:pt x="1077457" y="426061"/>
                      <a:pt x="1075312" y="423918"/>
                      <a:pt x="1074597" y="421060"/>
                    </a:cubicBezTo>
                    <a:cubicBezTo>
                      <a:pt x="999525" y="233883"/>
                      <a:pt x="999525" y="233883"/>
                      <a:pt x="999525" y="233883"/>
                    </a:cubicBezTo>
                    <a:cubicBezTo>
                      <a:pt x="604863" y="35989"/>
                      <a:pt x="604863" y="35989"/>
                      <a:pt x="604863" y="35989"/>
                    </a:cubicBezTo>
                    <a:cubicBezTo>
                      <a:pt x="351049" y="452495"/>
                      <a:pt x="351049" y="452495"/>
                      <a:pt x="351049" y="452495"/>
                    </a:cubicBezTo>
                    <a:cubicBezTo>
                      <a:pt x="347475" y="458924"/>
                      <a:pt x="338895" y="461782"/>
                      <a:pt x="331745" y="458924"/>
                    </a:cubicBezTo>
                    <a:cubicBezTo>
                      <a:pt x="193757" y="403914"/>
                      <a:pt x="193757" y="403914"/>
                      <a:pt x="193757" y="403914"/>
                    </a:cubicBezTo>
                    <a:cubicBezTo>
                      <a:pt x="43613" y="651103"/>
                      <a:pt x="43613" y="651103"/>
                      <a:pt x="43613" y="651103"/>
                    </a:cubicBezTo>
                    <a:cubicBezTo>
                      <a:pt x="54338" y="651103"/>
                      <a:pt x="54338" y="651103"/>
                      <a:pt x="54338" y="651103"/>
                    </a:cubicBezTo>
                    <a:cubicBezTo>
                      <a:pt x="57913" y="651103"/>
                      <a:pt x="61487" y="652532"/>
                      <a:pt x="63632" y="654675"/>
                    </a:cubicBezTo>
                    <a:cubicBezTo>
                      <a:pt x="87941" y="673250"/>
                      <a:pt x="87941" y="673250"/>
                      <a:pt x="87941" y="673250"/>
                    </a:cubicBezTo>
                    <a:cubicBezTo>
                      <a:pt x="165158" y="638243"/>
                      <a:pt x="165158" y="638243"/>
                      <a:pt x="165158" y="638243"/>
                    </a:cubicBezTo>
                    <a:cubicBezTo>
                      <a:pt x="169448" y="636100"/>
                      <a:pt x="174452" y="636100"/>
                      <a:pt x="178742" y="638243"/>
                    </a:cubicBezTo>
                    <a:cubicBezTo>
                      <a:pt x="202336" y="650388"/>
                      <a:pt x="202336" y="650388"/>
                      <a:pt x="202336" y="650388"/>
                    </a:cubicBezTo>
                    <a:cubicBezTo>
                      <a:pt x="319591" y="608952"/>
                      <a:pt x="319591" y="608952"/>
                      <a:pt x="319591" y="608952"/>
                    </a:cubicBezTo>
                    <a:cubicBezTo>
                      <a:pt x="322451" y="608238"/>
                      <a:pt x="326026" y="608238"/>
                      <a:pt x="329600" y="608952"/>
                    </a:cubicBezTo>
                    <a:cubicBezTo>
                      <a:pt x="453290" y="650388"/>
                      <a:pt x="453290" y="650388"/>
                      <a:pt x="453290" y="650388"/>
                    </a:cubicBezTo>
                    <a:cubicBezTo>
                      <a:pt x="574834" y="629670"/>
                      <a:pt x="574834" y="629670"/>
                      <a:pt x="574834" y="629670"/>
                    </a:cubicBezTo>
                    <a:cubicBezTo>
                      <a:pt x="591994" y="569659"/>
                      <a:pt x="591994" y="569659"/>
                      <a:pt x="591994" y="569659"/>
                    </a:cubicBezTo>
                    <a:cubicBezTo>
                      <a:pt x="592709" y="568230"/>
                      <a:pt x="594139" y="566801"/>
                      <a:pt x="595569" y="566801"/>
                    </a:cubicBezTo>
                    <a:cubicBezTo>
                      <a:pt x="596998" y="566801"/>
                      <a:pt x="598428" y="567516"/>
                      <a:pt x="599143" y="569659"/>
                    </a:cubicBezTo>
                    <a:cubicBezTo>
                      <a:pt x="659916" y="771125"/>
                      <a:pt x="659916" y="771125"/>
                      <a:pt x="659916" y="771125"/>
                    </a:cubicBezTo>
                    <a:cubicBezTo>
                      <a:pt x="660631" y="771839"/>
                      <a:pt x="660631" y="772554"/>
                      <a:pt x="662776" y="772554"/>
                    </a:cubicBezTo>
                    <a:cubicBezTo>
                      <a:pt x="743567" y="753979"/>
                      <a:pt x="743567" y="753979"/>
                      <a:pt x="743567" y="753979"/>
                    </a:cubicBezTo>
                    <a:cubicBezTo>
                      <a:pt x="744282" y="753979"/>
                      <a:pt x="744997" y="753979"/>
                      <a:pt x="745712" y="753979"/>
                    </a:cubicBezTo>
                    <a:cubicBezTo>
                      <a:pt x="753576" y="753979"/>
                      <a:pt x="757866" y="763981"/>
                      <a:pt x="751432" y="769696"/>
                    </a:cubicBezTo>
                    <a:cubicBezTo>
                      <a:pt x="694949" y="821134"/>
                      <a:pt x="694949" y="821134"/>
                      <a:pt x="694949" y="821134"/>
                    </a:cubicBezTo>
                    <a:cubicBezTo>
                      <a:pt x="693519" y="822563"/>
                      <a:pt x="694234" y="824706"/>
                      <a:pt x="695664" y="824706"/>
                    </a:cubicBezTo>
                    <a:cubicBezTo>
                      <a:pt x="945903" y="868286"/>
                      <a:pt x="945903" y="868286"/>
                      <a:pt x="945903" y="868286"/>
                    </a:cubicBezTo>
                    <a:cubicBezTo>
                      <a:pt x="953053" y="869000"/>
                      <a:pt x="953053" y="879716"/>
                      <a:pt x="946618" y="881145"/>
                    </a:cubicBezTo>
                    <a:cubicBezTo>
                      <a:pt x="705674" y="929011"/>
                      <a:pt x="705674" y="929011"/>
                      <a:pt x="705674" y="929011"/>
                    </a:cubicBezTo>
                    <a:cubicBezTo>
                      <a:pt x="703529" y="929011"/>
                      <a:pt x="703529" y="931154"/>
                      <a:pt x="704959" y="932583"/>
                    </a:cubicBezTo>
                    <a:cubicBezTo>
                      <a:pt x="821498" y="1030458"/>
                      <a:pt x="821498" y="1030458"/>
                      <a:pt x="821498" y="1030458"/>
                    </a:cubicBezTo>
                    <a:cubicBezTo>
                      <a:pt x="825073" y="1033316"/>
                      <a:pt x="822928" y="1037603"/>
                      <a:pt x="819353" y="1037603"/>
                    </a:cubicBezTo>
                    <a:cubicBezTo>
                      <a:pt x="818639" y="1037603"/>
                      <a:pt x="818639" y="1037603"/>
                      <a:pt x="817924" y="1037603"/>
                    </a:cubicBezTo>
                    <a:cubicBezTo>
                      <a:pt x="671355" y="999024"/>
                      <a:pt x="671355" y="999024"/>
                      <a:pt x="671355" y="999024"/>
                    </a:cubicBezTo>
                    <a:cubicBezTo>
                      <a:pt x="669925" y="999024"/>
                      <a:pt x="669210" y="999738"/>
                      <a:pt x="668495" y="1000453"/>
                    </a:cubicBezTo>
                    <a:cubicBezTo>
                      <a:pt x="642756" y="1157625"/>
                      <a:pt x="642756" y="1157625"/>
                      <a:pt x="642756" y="1157625"/>
                    </a:cubicBezTo>
                    <a:cubicBezTo>
                      <a:pt x="642041" y="1159768"/>
                      <a:pt x="639897" y="1161197"/>
                      <a:pt x="637752" y="1161197"/>
                    </a:cubicBezTo>
                    <a:cubicBezTo>
                      <a:pt x="637037" y="1161197"/>
                      <a:pt x="635607" y="1161197"/>
                      <a:pt x="634892" y="1159768"/>
                    </a:cubicBezTo>
                    <a:cubicBezTo>
                      <a:pt x="520497" y="1034030"/>
                      <a:pt x="520497" y="1034030"/>
                      <a:pt x="520497" y="1034030"/>
                    </a:cubicBezTo>
                    <a:cubicBezTo>
                      <a:pt x="520497" y="1033316"/>
                      <a:pt x="519782" y="1033316"/>
                      <a:pt x="519067" y="1033316"/>
                    </a:cubicBezTo>
                    <a:cubicBezTo>
                      <a:pt x="282413" y="1084754"/>
                      <a:pt x="282413" y="1084754"/>
                      <a:pt x="282413" y="1084754"/>
                    </a:cubicBezTo>
                    <a:cubicBezTo>
                      <a:pt x="281698" y="1084754"/>
                      <a:pt x="281698" y="1084754"/>
                      <a:pt x="281698" y="1084754"/>
                    </a:cubicBezTo>
                    <a:cubicBezTo>
                      <a:pt x="279553" y="1084754"/>
                      <a:pt x="278123" y="1081896"/>
                      <a:pt x="280268" y="1079753"/>
                    </a:cubicBezTo>
                    <a:cubicBezTo>
                      <a:pt x="469019" y="941156"/>
                      <a:pt x="469019" y="941156"/>
                      <a:pt x="469019" y="941156"/>
                    </a:cubicBezTo>
                    <a:cubicBezTo>
                      <a:pt x="470449" y="940442"/>
                      <a:pt x="469734" y="938298"/>
                      <a:pt x="468304" y="937584"/>
                    </a:cubicBezTo>
                    <a:cubicBezTo>
                      <a:pt x="314586" y="909007"/>
                      <a:pt x="314586" y="909007"/>
                      <a:pt x="314586" y="909007"/>
                    </a:cubicBezTo>
                    <a:cubicBezTo>
                      <a:pt x="309581" y="908293"/>
                      <a:pt x="308866" y="900434"/>
                      <a:pt x="314586" y="899006"/>
                    </a:cubicBezTo>
                    <a:cubicBezTo>
                      <a:pt x="451860" y="858284"/>
                      <a:pt x="451860" y="858284"/>
                      <a:pt x="451860" y="858284"/>
                    </a:cubicBezTo>
                    <a:cubicBezTo>
                      <a:pt x="454005" y="858284"/>
                      <a:pt x="454005" y="856140"/>
                      <a:pt x="453290" y="855426"/>
                    </a:cubicBezTo>
                    <a:cubicBezTo>
                      <a:pt x="376788" y="781127"/>
                      <a:pt x="376788" y="781127"/>
                      <a:pt x="376788" y="781127"/>
                    </a:cubicBezTo>
                    <a:cubicBezTo>
                      <a:pt x="373928" y="778269"/>
                      <a:pt x="376073" y="773982"/>
                      <a:pt x="379648" y="773982"/>
                    </a:cubicBezTo>
                    <a:cubicBezTo>
                      <a:pt x="379648" y="773982"/>
                      <a:pt x="379648" y="773982"/>
                      <a:pt x="380363" y="773982"/>
                    </a:cubicBezTo>
                    <a:cubicBezTo>
                      <a:pt x="525502" y="793986"/>
                      <a:pt x="525502" y="793986"/>
                      <a:pt x="525502" y="793986"/>
                    </a:cubicBezTo>
                    <a:cubicBezTo>
                      <a:pt x="526217" y="793986"/>
                      <a:pt x="527647" y="793272"/>
                      <a:pt x="527647" y="792557"/>
                    </a:cubicBezTo>
                    <a:cubicBezTo>
                      <a:pt x="564825" y="663248"/>
                      <a:pt x="564825" y="663248"/>
                      <a:pt x="564825" y="663248"/>
                    </a:cubicBezTo>
                    <a:cubicBezTo>
                      <a:pt x="454720" y="682537"/>
                      <a:pt x="454720" y="682537"/>
                      <a:pt x="454720" y="682537"/>
                    </a:cubicBezTo>
                    <a:cubicBezTo>
                      <a:pt x="452575" y="682537"/>
                      <a:pt x="449715" y="682537"/>
                      <a:pt x="446855" y="681823"/>
                    </a:cubicBezTo>
                    <a:cubicBezTo>
                      <a:pt x="324596" y="640386"/>
                      <a:pt x="324596" y="640386"/>
                      <a:pt x="324596" y="640386"/>
                    </a:cubicBezTo>
                    <a:cubicBezTo>
                      <a:pt x="206626" y="682537"/>
                      <a:pt x="206626" y="682537"/>
                      <a:pt x="206626" y="682537"/>
                    </a:cubicBezTo>
                    <a:cubicBezTo>
                      <a:pt x="203051" y="683966"/>
                      <a:pt x="198046" y="683966"/>
                      <a:pt x="194472" y="681823"/>
                    </a:cubicBezTo>
                    <a:cubicBezTo>
                      <a:pt x="170878" y="669678"/>
                      <a:pt x="170878" y="669678"/>
                      <a:pt x="170878" y="669678"/>
                    </a:cubicBezTo>
                    <a:cubicBezTo>
                      <a:pt x="92231" y="705398"/>
                      <a:pt x="92231" y="705398"/>
                      <a:pt x="92231" y="705398"/>
                    </a:cubicBezTo>
                    <a:cubicBezTo>
                      <a:pt x="87226" y="707542"/>
                      <a:pt x="80792" y="706827"/>
                      <a:pt x="76502" y="703255"/>
                    </a:cubicBezTo>
                    <a:cubicBezTo>
                      <a:pt x="48618" y="682537"/>
                      <a:pt x="48618" y="682537"/>
                      <a:pt x="48618" y="682537"/>
                    </a:cubicBezTo>
                    <a:cubicBezTo>
                      <a:pt x="15730" y="682537"/>
                      <a:pt x="15730" y="682537"/>
                      <a:pt x="15730" y="682537"/>
                    </a:cubicBezTo>
                    <a:cubicBezTo>
                      <a:pt x="10010" y="682537"/>
                      <a:pt x="5005" y="679679"/>
                      <a:pt x="2145" y="674678"/>
                    </a:cubicBezTo>
                    <a:cubicBezTo>
                      <a:pt x="-715" y="669678"/>
                      <a:pt x="-715" y="663248"/>
                      <a:pt x="2145" y="658961"/>
                    </a:cubicBezTo>
                    <a:cubicBezTo>
                      <a:pt x="174452" y="376766"/>
                      <a:pt x="174452" y="376766"/>
                      <a:pt x="174452" y="376766"/>
                    </a:cubicBezTo>
                    <a:cubicBezTo>
                      <a:pt x="178027" y="369622"/>
                      <a:pt x="185892" y="367479"/>
                      <a:pt x="193042" y="370337"/>
                    </a:cubicBezTo>
                    <a:cubicBezTo>
                      <a:pt x="331030" y="424632"/>
                      <a:pt x="331030" y="424632"/>
                      <a:pt x="331030" y="424632"/>
                    </a:cubicBezTo>
                    <a:cubicBezTo>
                      <a:pt x="585559" y="7413"/>
                      <a:pt x="585559" y="7413"/>
                      <a:pt x="585559" y="7413"/>
                    </a:cubicBezTo>
                    <a:cubicBezTo>
                      <a:pt x="587704" y="3841"/>
                      <a:pt x="590921" y="1519"/>
                      <a:pt x="594585" y="536"/>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91621" y="2976923"/>
            <a:ext cx="754043" cy="754043"/>
          </a:xfrm>
          <a:prstGeom prst="rect">
            <a:avLst/>
          </a:prstGeom>
        </p:spPr>
      </p:pic>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84307" y="1812670"/>
            <a:ext cx="747997" cy="747997"/>
          </a:xfrm>
          <a:prstGeom prst="rect">
            <a:avLst/>
          </a:prstGeom>
        </p:spPr>
      </p:pic>
    </p:spTree>
    <p:extLst>
      <p:ext uri="{BB962C8B-B14F-4D97-AF65-F5344CB8AC3E}">
        <p14:creationId xmlns:p14="http://schemas.microsoft.com/office/powerpoint/2010/main" val="3235915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
          </p:nvPr>
        </p:nvSpPr>
        <p:spPr>
          <a:xfrm>
            <a:off x="1242045" y="1781731"/>
            <a:ext cx="9505056" cy="1107996"/>
          </a:xfrm>
        </p:spPr>
        <p:txBody>
          <a:bodyPr/>
          <a:lstStyle/>
          <a:p>
            <a:pPr lvl="0"/>
            <a:endParaRPr lang="en-US" dirty="0"/>
          </a:p>
          <a:p>
            <a:pPr lvl="0"/>
            <a:endParaRPr lang="en-US" dirty="0"/>
          </a:p>
          <a:p>
            <a:pPr lvl="0"/>
            <a:endParaRPr lang="en-US" dirty="0"/>
          </a:p>
          <a:p>
            <a:pPr lvl="0"/>
            <a:endParaRPr lang="en-US" dirty="0"/>
          </a:p>
        </p:txBody>
      </p:sp>
      <p:sp>
        <p:nvSpPr>
          <p:cNvPr id="5" name="Text Box 5"/>
          <p:cNvSpPr txBox="1">
            <a:spLocks noChangeArrowheads="1"/>
          </p:cNvSpPr>
          <p:nvPr/>
        </p:nvSpPr>
        <p:spPr bwMode="auto">
          <a:xfrm>
            <a:off x="4871864" y="189857"/>
            <a:ext cx="3574081" cy="830993"/>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350" b="1" dirty="0">
                <a:solidFill>
                  <a:srgbClr val="003399"/>
                </a:solidFill>
                <a:latin typeface="Verdana" panose="020B0604030504040204" pitchFamily="34" charset="0"/>
                <a:ea typeface="Verdana" panose="020B0604030504040204" pitchFamily="34" charset="0"/>
              </a:rPr>
              <a:t>Project Goals </a:t>
            </a:r>
          </a:p>
          <a:p>
            <a:endParaRPr lang="en-US" sz="2400" b="1" cap="all" dirty="0">
              <a:solidFill>
                <a:srgbClr val="17479E"/>
              </a:solidFill>
              <a:latin typeface="Verdana"/>
              <a:cs typeface="Verdana"/>
            </a:endParaRPr>
          </a:p>
        </p:txBody>
      </p:sp>
      <p:cxnSp>
        <p:nvCxnSpPr>
          <p:cNvPr id="6" name="Straight Connector 5"/>
          <p:cNvCxnSpPr/>
          <p:nvPr/>
        </p:nvCxnSpPr>
        <p:spPr>
          <a:xfrm rot="10800000">
            <a:off x="3137249" y="771351"/>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4" name="Diagram 3"/>
          <p:cNvGraphicFramePr/>
          <p:nvPr>
            <p:extLst>
              <p:ext uri="{D42A27DB-BD31-4B8C-83A1-F6EECF244321}">
                <p14:modId xmlns:p14="http://schemas.microsoft.com/office/powerpoint/2010/main" val="2047785929"/>
              </p:ext>
            </p:extLst>
          </p:nvPr>
        </p:nvGraphicFramePr>
        <p:xfrm>
          <a:off x="2063552" y="1268760"/>
          <a:ext cx="849694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79576" y="1700808"/>
            <a:ext cx="845004" cy="845004"/>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11624" y="2879256"/>
            <a:ext cx="851251" cy="854170"/>
          </a:xfrm>
          <a:prstGeom prst="rect">
            <a:avLst/>
          </a:prstGeom>
        </p:spPr>
      </p:pic>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97423" y="4235893"/>
            <a:ext cx="765452" cy="764704"/>
          </a:xfrm>
          <a:prstGeom prst="rect">
            <a:avLst/>
          </a:prstGeom>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44928" y="5445225"/>
            <a:ext cx="866774" cy="866774"/>
          </a:xfrm>
          <a:prstGeom prst="rect">
            <a:avLst/>
          </a:prstGeom>
        </p:spPr>
      </p:pic>
    </p:spTree>
    <p:extLst>
      <p:ext uri="{BB962C8B-B14F-4D97-AF65-F5344CB8AC3E}">
        <p14:creationId xmlns:p14="http://schemas.microsoft.com/office/powerpoint/2010/main" val="5362500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a:spLocks noGrp="1"/>
          </p:cNvSpPr>
          <p:nvPr>
            <p:ph type="subTitle" idx="4"/>
          </p:nvPr>
        </p:nvSpPr>
        <p:spPr>
          <a:xfrm>
            <a:off x="551384" y="1844824"/>
            <a:ext cx="5040559" cy="3600986"/>
          </a:xfrm>
          <a:solidFill>
            <a:srgbClr val="E9EDF4"/>
          </a:solidFill>
          <a:ln w="19050">
            <a:solidFill>
              <a:schemeClr val="tx2"/>
            </a:solidFill>
          </a:ln>
        </p:spPr>
        <p:txBody>
          <a:bodyPr wrap="square" lIns="0" tIns="0" rIns="0" bIns="0" anchor="t">
            <a:spAutoFit/>
          </a:bodyPr>
          <a:lstStyle/>
          <a:p>
            <a:pPr rtl="0"/>
            <a:r>
              <a:rPr lang="en-US" b="1" dirty="0" smtClean="0">
                <a:latin typeface="Verdana" panose="020B0604030504040204" pitchFamily="34" charset="0"/>
                <a:ea typeface="Verdana" panose="020B0604030504040204" pitchFamily="34" charset="0"/>
              </a:rPr>
              <a:t>Important </a:t>
            </a:r>
            <a:r>
              <a:rPr lang="en-US" b="1" dirty="0">
                <a:latin typeface="Verdana" panose="020B0604030504040204" pitchFamily="34" charset="0"/>
                <a:ea typeface="Verdana" panose="020B0604030504040204" pitchFamily="34" charset="0"/>
              </a:rPr>
              <a:t>KPIs for the Blast </a:t>
            </a:r>
            <a:r>
              <a:rPr lang="en-US" b="1" dirty="0" smtClean="0">
                <a:latin typeface="Verdana" panose="020B0604030504040204" pitchFamily="34" charset="0"/>
                <a:ea typeface="Verdana" panose="020B0604030504040204" pitchFamily="34" charset="0"/>
              </a:rPr>
              <a:t>Furnace</a:t>
            </a:r>
          </a:p>
          <a:p>
            <a:pPr rtl="0"/>
            <a:endParaRPr lang="en-US" dirty="0">
              <a:latin typeface="Verdana" panose="020B0604030504040204" pitchFamily="34" charset="0"/>
              <a:ea typeface="Verdana" panose="020B0604030504040204" pitchFamily="34" charset="0"/>
            </a:endParaRPr>
          </a:p>
          <a:p>
            <a:pPr marL="342900" indent="-342900" rtl="0">
              <a:buAutoNum type="arabicParenR"/>
            </a:pPr>
            <a:r>
              <a:rPr lang="en-US" dirty="0">
                <a:latin typeface="Verdana" panose="020B0604030504040204" pitchFamily="34" charset="0"/>
                <a:ea typeface="Verdana" panose="020B0604030504040204" pitchFamily="34" charset="0"/>
              </a:rPr>
              <a:t>Hot Metal </a:t>
            </a:r>
            <a:r>
              <a:rPr lang="en-US" dirty="0" smtClean="0">
                <a:latin typeface="Verdana" panose="020B0604030504040204" pitchFamily="34" charset="0"/>
                <a:ea typeface="Verdana" panose="020B0604030504040204" pitchFamily="34" charset="0"/>
              </a:rPr>
              <a:t>Temperature</a:t>
            </a:r>
          </a:p>
          <a:p>
            <a:pPr marL="342900" indent="-342900" rtl="0">
              <a:buAutoNum type="arabicParenR"/>
            </a:pPr>
            <a:endParaRPr lang="en-US" dirty="0">
              <a:latin typeface="Verdana" panose="020B0604030504040204" pitchFamily="34" charset="0"/>
              <a:ea typeface="Verdana" panose="020B0604030504040204" pitchFamily="34" charset="0"/>
              <a:cs typeface="Calibri"/>
            </a:endParaRPr>
          </a:p>
          <a:p>
            <a:pPr marL="342900" indent="-342900" rtl="0">
              <a:buAutoNum type="arabicParenR"/>
            </a:pPr>
            <a:r>
              <a:rPr lang="en-US" dirty="0">
                <a:latin typeface="Verdana" panose="020B0604030504040204" pitchFamily="34" charset="0"/>
                <a:ea typeface="Verdana" panose="020B0604030504040204" pitchFamily="34" charset="0"/>
              </a:rPr>
              <a:t>Hot Metal </a:t>
            </a:r>
            <a:r>
              <a:rPr lang="en-US" dirty="0" smtClean="0">
                <a:latin typeface="Verdana" panose="020B0604030504040204" pitchFamily="34" charset="0"/>
                <a:ea typeface="Verdana" panose="020B0604030504040204" pitchFamily="34" charset="0"/>
              </a:rPr>
              <a:t>Carbon</a:t>
            </a:r>
          </a:p>
          <a:p>
            <a:pPr marL="342900" indent="-342900" rtl="0">
              <a:buAutoNum type="arabicParenR"/>
            </a:pPr>
            <a:endParaRPr lang="en-US" dirty="0">
              <a:latin typeface="Verdana" panose="020B0604030504040204" pitchFamily="34" charset="0"/>
              <a:ea typeface="Verdana" panose="020B0604030504040204" pitchFamily="34" charset="0"/>
              <a:cs typeface="Calibri"/>
            </a:endParaRPr>
          </a:p>
          <a:p>
            <a:pPr marL="342900" indent="-342900" rtl="0">
              <a:buAutoNum type="arabicParenR"/>
            </a:pPr>
            <a:r>
              <a:rPr lang="en-US" dirty="0">
                <a:latin typeface="Verdana" panose="020B0604030504040204" pitchFamily="34" charset="0"/>
                <a:ea typeface="Verdana" panose="020B0604030504040204" pitchFamily="34" charset="0"/>
              </a:rPr>
              <a:t>Hot Metal </a:t>
            </a:r>
            <a:r>
              <a:rPr lang="en-US" dirty="0" smtClean="0">
                <a:latin typeface="Verdana" panose="020B0604030504040204" pitchFamily="34" charset="0"/>
                <a:ea typeface="Verdana" panose="020B0604030504040204" pitchFamily="34" charset="0"/>
              </a:rPr>
              <a:t>Production</a:t>
            </a:r>
          </a:p>
          <a:p>
            <a:pPr marL="342900" indent="-342900" rtl="0">
              <a:buAutoNum type="arabicParenR"/>
            </a:pPr>
            <a:endParaRPr lang="en-US" dirty="0">
              <a:latin typeface="Verdana" panose="020B0604030504040204" pitchFamily="34" charset="0"/>
              <a:ea typeface="Verdana" panose="020B0604030504040204" pitchFamily="34" charset="0"/>
              <a:cs typeface="Calibri"/>
            </a:endParaRPr>
          </a:p>
          <a:p>
            <a:pPr marL="342900" indent="-342900" rtl="0">
              <a:buAutoNum type="arabicParenR"/>
            </a:pPr>
            <a:r>
              <a:rPr lang="en-US" dirty="0">
                <a:latin typeface="Verdana" panose="020B0604030504040204" pitchFamily="34" charset="0"/>
                <a:ea typeface="Verdana" panose="020B0604030504040204" pitchFamily="34" charset="0"/>
              </a:rPr>
              <a:t>CO Emission per </a:t>
            </a:r>
            <a:r>
              <a:rPr lang="en-US" dirty="0" err="1" smtClean="0">
                <a:latin typeface="Verdana" panose="020B0604030504040204" pitchFamily="34" charset="0"/>
                <a:ea typeface="Verdana" panose="020B0604030504040204" pitchFamily="34" charset="0"/>
              </a:rPr>
              <a:t>thm</a:t>
            </a:r>
            <a:endParaRPr lang="en-US" dirty="0" smtClean="0">
              <a:latin typeface="Verdana" panose="020B0604030504040204" pitchFamily="34" charset="0"/>
              <a:ea typeface="Verdana" panose="020B0604030504040204" pitchFamily="34" charset="0"/>
            </a:endParaRPr>
          </a:p>
          <a:p>
            <a:pPr marL="342900" indent="-342900" rtl="0">
              <a:buAutoNum type="arabicParenR"/>
            </a:pPr>
            <a:endParaRPr lang="en-US" dirty="0">
              <a:latin typeface="Verdana" panose="020B0604030504040204" pitchFamily="34" charset="0"/>
              <a:ea typeface="Verdana" panose="020B0604030504040204" pitchFamily="34" charset="0"/>
            </a:endParaRPr>
          </a:p>
          <a:p>
            <a:pPr marL="342900" indent="-342900" rtl="0">
              <a:buAutoNum type="arabicParenR"/>
            </a:pPr>
            <a:r>
              <a:rPr lang="en-US" dirty="0">
                <a:latin typeface="Verdana" panose="020B0604030504040204" pitchFamily="34" charset="0"/>
                <a:ea typeface="Verdana" panose="020B0604030504040204" pitchFamily="34" charset="0"/>
              </a:rPr>
              <a:t>Total Input </a:t>
            </a:r>
            <a:r>
              <a:rPr lang="en-US" dirty="0" smtClean="0">
                <a:latin typeface="Verdana" panose="020B0604030504040204" pitchFamily="34" charset="0"/>
                <a:ea typeface="Verdana" panose="020B0604030504040204" pitchFamily="34" charset="0"/>
              </a:rPr>
              <a:t>Energy</a:t>
            </a:r>
          </a:p>
          <a:p>
            <a:pPr marL="342900" indent="-342900" rtl="0">
              <a:buAutoNum type="arabicParenR"/>
            </a:pPr>
            <a:endParaRPr lang="en-US" dirty="0">
              <a:latin typeface="Verdana" panose="020B0604030504040204" pitchFamily="34" charset="0"/>
              <a:ea typeface="Verdana" panose="020B0604030504040204" pitchFamily="34" charset="0"/>
              <a:cs typeface="Calibri"/>
            </a:endParaRPr>
          </a:p>
          <a:p>
            <a:pPr marL="342900" indent="-342900" rtl="0">
              <a:buAutoNum type="arabicParenR"/>
            </a:pPr>
            <a:r>
              <a:rPr lang="en-US" dirty="0" smtClean="0">
                <a:latin typeface="Verdana" panose="020B0604030504040204" pitchFamily="34" charset="0"/>
                <a:ea typeface="Verdana" panose="020B0604030504040204" pitchFamily="34" charset="0"/>
              </a:rPr>
              <a:t>ETA CO</a:t>
            </a:r>
            <a:endParaRPr lang="en-US" dirty="0" smtClean="0">
              <a:latin typeface="Verdana" panose="020B0604030504040204" pitchFamily="34" charset="0"/>
              <a:ea typeface="Verdana" panose="020B0604030504040204" pitchFamily="34" charset="0"/>
            </a:endParaRPr>
          </a:p>
        </p:txBody>
      </p:sp>
      <p:sp>
        <p:nvSpPr>
          <p:cNvPr id="3" name="Subtitle 2"/>
          <p:cNvSpPr txBox="1">
            <a:spLocks/>
          </p:cNvSpPr>
          <p:nvPr/>
        </p:nvSpPr>
        <p:spPr>
          <a:xfrm>
            <a:off x="1127448" y="404664"/>
            <a:ext cx="9505056" cy="984885"/>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rtl="0"/>
            <a:endParaRPr lang="en-US" sz="2800" kern="0" dirty="0"/>
          </a:p>
          <a:p>
            <a:r>
              <a:rPr lang="en-US" kern="0" dirty="0"/>
              <a:t/>
            </a:r>
            <a:br>
              <a:rPr lang="en-US" kern="0" dirty="0"/>
            </a:br>
            <a:endParaRPr lang="en-US" kern="0" dirty="0"/>
          </a:p>
        </p:txBody>
      </p:sp>
      <p:sp>
        <p:nvSpPr>
          <p:cNvPr id="4" name="Subtitle 2"/>
          <p:cNvSpPr txBox="1">
            <a:spLocks/>
          </p:cNvSpPr>
          <p:nvPr/>
        </p:nvSpPr>
        <p:spPr>
          <a:xfrm>
            <a:off x="2927649" y="377497"/>
            <a:ext cx="6749952" cy="369332"/>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b="1" dirty="0">
                <a:solidFill>
                  <a:srgbClr val="003399"/>
                </a:solidFill>
                <a:latin typeface="Verdana" panose="020B0604030504040204" pitchFamily="34" charset="0"/>
                <a:ea typeface="Verdana" panose="020B0604030504040204" pitchFamily="34" charset="0"/>
              </a:rPr>
              <a:t>Input and Output Parameter Selection</a:t>
            </a:r>
          </a:p>
        </p:txBody>
      </p:sp>
      <p:sp>
        <p:nvSpPr>
          <p:cNvPr id="5" name="Subtitle 2"/>
          <p:cNvSpPr txBox="1">
            <a:spLocks/>
          </p:cNvSpPr>
          <p:nvPr/>
        </p:nvSpPr>
        <p:spPr>
          <a:xfrm>
            <a:off x="6600056" y="1983323"/>
            <a:ext cx="5400600" cy="3323987"/>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rtl="0"/>
            <a:r>
              <a:rPr lang="en-US" b="1" kern="0" dirty="0">
                <a:latin typeface="Verdana" panose="020B0604030504040204" pitchFamily="34" charset="0"/>
                <a:ea typeface="Verdana" panose="020B0604030504040204" pitchFamily="34" charset="0"/>
              </a:rPr>
              <a:t>The Input Parameters are the Parameters </a:t>
            </a:r>
            <a:endParaRPr lang="en-US" b="1" kern="0" dirty="0" smtClean="0">
              <a:latin typeface="Verdana" panose="020B0604030504040204" pitchFamily="34" charset="0"/>
              <a:ea typeface="Verdana" panose="020B0604030504040204" pitchFamily="34" charset="0"/>
            </a:endParaRPr>
          </a:p>
          <a:p>
            <a:pPr rtl="0"/>
            <a:r>
              <a:rPr lang="en-US" b="1" kern="0" dirty="0" smtClean="0">
                <a:latin typeface="Verdana" panose="020B0604030504040204" pitchFamily="34" charset="0"/>
                <a:ea typeface="Verdana" panose="020B0604030504040204" pitchFamily="34" charset="0"/>
              </a:rPr>
              <a:t>in </a:t>
            </a:r>
            <a:r>
              <a:rPr lang="en-US" b="1" kern="0" dirty="0">
                <a:latin typeface="Verdana" panose="020B0604030504040204" pitchFamily="34" charset="0"/>
                <a:ea typeface="Verdana" panose="020B0604030504040204" pitchFamily="34" charset="0"/>
              </a:rPr>
              <a:t>the Input Energy </a:t>
            </a:r>
            <a:r>
              <a:rPr lang="en-US" b="1" kern="0" dirty="0" smtClean="0">
                <a:latin typeface="Verdana" panose="020B0604030504040204" pitchFamily="34" charset="0"/>
                <a:ea typeface="Verdana" panose="020B0604030504040204" pitchFamily="34" charset="0"/>
              </a:rPr>
              <a:t>Equation</a:t>
            </a:r>
          </a:p>
          <a:p>
            <a:pPr rtl="0"/>
            <a:endParaRPr lang="en-US" kern="0" dirty="0">
              <a:latin typeface="Verdana" panose="020B0604030504040204" pitchFamily="34" charset="0"/>
              <a:ea typeface="Verdana" panose="020B0604030504040204" pitchFamily="34" charset="0"/>
            </a:endParaRPr>
          </a:p>
          <a:p>
            <a:pPr marL="342900" indent="-342900">
              <a:buAutoNum type="arabicParenR"/>
            </a:pPr>
            <a:r>
              <a:rPr lang="en-US" kern="0" dirty="0">
                <a:latin typeface="Verdana" panose="020B0604030504040204" pitchFamily="34" charset="0"/>
                <a:ea typeface="Verdana" panose="020B0604030504040204" pitchFamily="34" charset="0"/>
              </a:rPr>
              <a:t>The volume of O</a:t>
            </a:r>
            <a:r>
              <a:rPr lang="en-US" kern="0" baseline="-25000" dirty="0">
                <a:latin typeface="Verdana" panose="020B0604030504040204" pitchFamily="34" charset="0"/>
                <a:ea typeface="Verdana" panose="020B0604030504040204" pitchFamily="34" charset="0"/>
              </a:rPr>
              <a:t>2</a:t>
            </a:r>
            <a:r>
              <a:rPr lang="en-US" kern="0" dirty="0">
                <a:latin typeface="Verdana" panose="020B0604030504040204" pitchFamily="34" charset="0"/>
                <a:ea typeface="Verdana" panose="020B0604030504040204" pitchFamily="34" charset="0"/>
              </a:rPr>
              <a:t> added from Hot </a:t>
            </a:r>
            <a:r>
              <a:rPr lang="en-US" kern="0" dirty="0" smtClean="0">
                <a:latin typeface="Verdana" panose="020B0604030504040204" pitchFamily="34" charset="0"/>
                <a:ea typeface="Verdana" panose="020B0604030504040204" pitchFamily="34" charset="0"/>
              </a:rPr>
              <a:t>Blast</a:t>
            </a:r>
          </a:p>
          <a:p>
            <a:pPr marL="342900" indent="-342900">
              <a:buAutoNum type="arabicParenR"/>
            </a:pPr>
            <a:endParaRPr lang="en-US" kern="0" dirty="0">
              <a:latin typeface="Verdana" panose="020B0604030504040204" pitchFamily="34" charset="0"/>
              <a:ea typeface="Verdana" panose="020B0604030504040204" pitchFamily="34" charset="0"/>
              <a:cs typeface="Calibri"/>
            </a:endParaRPr>
          </a:p>
          <a:p>
            <a:pPr marL="342900" indent="-342900">
              <a:buAutoNum type="arabicParenR"/>
            </a:pPr>
            <a:r>
              <a:rPr lang="en-US" kern="0" dirty="0">
                <a:latin typeface="Verdana" panose="020B0604030504040204" pitchFamily="34" charset="0"/>
                <a:ea typeface="Verdana" panose="020B0604030504040204" pitchFamily="34" charset="0"/>
              </a:rPr>
              <a:t>The volume of N</a:t>
            </a:r>
            <a:r>
              <a:rPr lang="en-US" kern="0" baseline="-25000" dirty="0">
                <a:latin typeface="Verdana" panose="020B0604030504040204" pitchFamily="34" charset="0"/>
                <a:ea typeface="Verdana" panose="020B0604030504040204" pitchFamily="34" charset="0"/>
              </a:rPr>
              <a:t>2</a:t>
            </a:r>
            <a:r>
              <a:rPr lang="en-US" kern="0" dirty="0">
                <a:latin typeface="Verdana" panose="020B0604030504040204" pitchFamily="34" charset="0"/>
                <a:ea typeface="Verdana" panose="020B0604030504040204" pitchFamily="34" charset="0"/>
              </a:rPr>
              <a:t> added from Hot </a:t>
            </a:r>
            <a:r>
              <a:rPr lang="en-US" kern="0" dirty="0" smtClean="0">
                <a:latin typeface="Verdana" panose="020B0604030504040204" pitchFamily="34" charset="0"/>
                <a:ea typeface="Verdana" panose="020B0604030504040204" pitchFamily="34" charset="0"/>
              </a:rPr>
              <a:t>Blast</a:t>
            </a:r>
          </a:p>
          <a:p>
            <a:pPr marL="342900" indent="-342900">
              <a:buAutoNum type="arabicParenR"/>
            </a:pPr>
            <a:endParaRPr lang="en-US" kern="0" dirty="0">
              <a:latin typeface="Verdana" panose="020B0604030504040204" pitchFamily="34" charset="0"/>
              <a:ea typeface="Verdana" panose="020B0604030504040204" pitchFamily="34" charset="0"/>
              <a:cs typeface="Calibri"/>
            </a:endParaRPr>
          </a:p>
          <a:p>
            <a:pPr marL="342900" indent="-342900">
              <a:buAutoNum type="arabicParenR"/>
            </a:pPr>
            <a:r>
              <a:rPr lang="en-US" kern="0" dirty="0">
                <a:latin typeface="Verdana" panose="020B0604030504040204" pitchFamily="34" charset="0"/>
                <a:ea typeface="Verdana" panose="020B0604030504040204" pitchFamily="34" charset="0"/>
              </a:rPr>
              <a:t>The amount of Coal </a:t>
            </a:r>
            <a:r>
              <a:rPr lang="en-US" kern="0" dirty="0" smtClean="0">
                <a:latin typeface="Verdana" panose="020B0604030504040204" pitchFamily="34" charset="0"/>
                <a:ea typeface="Verdana" panose="020B0604030504040204" pitchFamily="34" charset="0"/>
              </a:rPr>
              <a:t>added</a:t>
            </a:r>
          </a:p>
          <a:p>
            <a:pPr marL="342900" indent="-342900">
              <a:buAutoNum type="arabicParenR"/>
            </a:pPr>
            <a:endParaRPr lang="en-US" kern="0" dirty="0">
              <a:latin typeface="Verdana" panose="020B0604030504040204" pitchFamily="34" charset="0"/>
              <a:ea typeface="Verdana" panose="020B0604030504040204" pitchFamily="34" charset="0"/>
              <a:cs typeface="Calibri"/>
            </a:endParaRPr>
          </a:p>
          <a:p>
            <a:pPr marL="342900" indent="-342900">
              <a:buAutoNum type="arabicParenR"/>
            </a:pPr>
            <a:r>
              <a:rPr lang="en-US" kern="0" dirty="0">
                <a:latin typeface="Verdana" panose="020B0604030504040204" pitchFamily="34" charset="0"/>
                <a:ea typeface="Verdana" panose="020B0604030504040204" pitchFamily="34" charset="0"/>
              </a:rPr>
              <a:t>The amount of Coke </a:t>
            </a:r>
            <a:r>
              <a:rPr lang="en-US" kern="0" dirty="0" smtClean="0">
                <a:latin typeface="Verdana" panose="020B0604030504040204" pitchFamily="34" charset="0"/>
                <a:ea typeface="Verdana" panose="020B0604030504040204" pitchFamily="34" charset="0"/>
              </a:rPr>
              <a:t>added</a:t>
            </a:r>
          </a:p>
          <a:p>
            <a:pPr marL="342900" indent="-342900">
              <a:buAutoNum type="arabicParenR"/>
            </a:pPr>
            <a:endParaRPr lang="en-US" kern="0" dirty="0">
              <a:latin typeface="Verdana" panose="020B0604030504040204" pitchFamily="34" charset="0"/>
              <a:ea typeface="Verdana" panose="020B0604030504040204" pitchFamily="34" charset="0"/>
              <a:cs typeface="Calibri"/>
            </a:endParaRPr>
          </a:p>
          <a:p>
            <a:pPr marL="342900" indent="-342900" rtl="0">
              <a:buAutoNum type="arabicParenR"/>
            </a:pPr>
            <a:r>
              <a:rPr lang="en-US" kern="0" dirty="0">
                <a:latin typeface="Verdana" panose="020B0604030504040204" pitchFamily="34" charset="0"/>
                <a:ea typeface="Verdana" panose="020B0604030504040204" pitchFamily="34" charset="0"/>
              </a:rPr>
              <a:t>The Hot Blast Temperature</a:t>
            </a:r>
          </a:p>
        </p:txBody>
      </p:sp>
      <p:cxnSp>
        <p:nvCxnSpPr>
          <p:cNvPr id="6" name="Straight Connector 5"/>
          <p:cNvCxnSpPr/>
          <p:nvPr/>
        </p:nvCxnSpPr>
        <p:spPr>
          <a:xfrm flipH="1">
            <a:off x="2423592" y="908720"/>
            <a:ext cx="7632848"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7" name="Left-Right Arrow 6"/>
          <p:cNvSpPr/>
          <p:nvPr/>
        </p:nvSpPr>
        <p:spPr>
          <a:xfrm>
            <a:off x="5673829" y="3393288"/>
            <a:ext cx="792088" cy="504056"/>
          </a:xfrm>
          <a:prstGeom prst="leftRightArrow">
            <a:avLst/>
          </a:prstGeom>
          <a:solidFill>
            <a:srgbClr val="E9EDF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3116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a:spLocks noGrp="1"/>
          </p:cNvSpPr>
          <p:nvPr>
            <p:ph type="subTitle" idx="4"/>
          </p:nvPr>
        </p:nvSpPr>
        <p:spPr>
          <a:xfrm>
            <a:off x="2783763" y="435014"/>
            <a:ext cx="6696613" cy="369332"/>
          </a:xfrm>
        </p:spPr>
        <p:txBody>
          <a:bodyPr wrap="square" lIns="0" tIns="0" rIns="0" bIns="0" anchor="t">
            <a:spAutoFit/>
          </a:bodyPr>
          <a:lstStyle/>
          <a:p>
            <a:pPr rtl="0"/>
            <a:r>
              <a:rPr lang="en-US" sz="2400" b="1" kern="1200" dirty="0">
                <a:solidFill>
                  <a:srgbClr val="003399"/>
                </a:solidFill>
                <a:latin typeface="Verdana" panose="020B0604030504040204" pitchFamily="34" charset="0"/>
                <a:ea typeface="Verdana" panose="020B0604030504040204" pitchFamily="34" charset="0"/>
              </a:rPr>
              <a:t>Constraints on the Output Parameter</a:t>
            </a:r>
          </a:p>
        </p:txBody>
      </p:sp>
      <p:sp>
        <p:nvSpPr>
          <p:cNvPr id="3" name="Subtitle 2"/>
          <p:cNvSpPr txBox="1">
            <a:spLocks/>
          </p:cNvSpPr>
          <p:nvPr/>
        </p:nvSpPr>
        <p:spPr>
          <a:xfrm>
            <a:off x="2927648" y="1700808"/>
            <a:ext cx="6120680" cy="3693319"/>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b="1" kern="0" dirty="0">
                <a:latin typeface="Verdana" panose="020B0604030504040204" pitchFamily="34" charset="0"/>
                <a:ea typeface="Verdana" panose="020B0604030504040204" pitchFamily="34" charset="0"/>
              </a:rPr>
              <a:t>The Constraints on the Output Parameter are based </a:t>
            </a:r>
            <a:endParaRPr lang="en-US" sz="1600" b="1" kern="0" dirty="0" smtClean="0">
              <a:latin typeface="Verdana" panose="020B0604030504040204" pitchFamily="34" charset="0"/>
              <a:ea typeface="Verdana" panose="020B0604030504040204" pitchFamily="34" charset="0"/>
            </a:endParaRPr>
          </a:p>
          <a:p>
            <a:r>
              <a:rPr lang="en-US" sz="1600" b="1" kern="0" dirty="0" smtClean="0">
                <a:latin typeface="Verdana" panose="020B0604030504040204" pitchFamily="34" charset="0"/>
                <a:ea typeface="Verdana" panose="020B0604030504040204" pitchFamily="34" charset="0"/>
              </a:rPr>
              <a:t>on </a:t>
            </a:r>
            <a:r>
              <a:rPr lang="en-US" sz="1600" b="1" kern="0" dirty="0">
                <a:latin typeface="Verdana" panose="020B0604030504040204" pitchFamily="34" charset="0"/>
                <a:ea typeface="Verdana" panose="020B0604030504040204" pitchFamily="34" charset="0"/>
              </a:rPr>
              <a:t>the Past Data trends as well as the Optimal or </a:t>
            </a:r>
            <a:endParaRPr lang="en-US" sz="1600" b="1" kern="0" dirty="0" smtClean="0">
              <a:latin typeface="Verdana" panose="020B0604030504040204" pitchFamily="34" charset="0"/>
              <a:ea typeface="Verdana" panose="020B0604030504040204" pitchFamily="34" charset="0"/>
            </a:endParaRPr>
          </a:p>
          <a:p>
            <a:r>
              <a:rPr lang="en-US" sz="1600" b="1" kern="0" dirty="0" smtClean="0">
                <a:latin typeface="Verdana" panose="020B0604030504040204" pitchFamily="34" charset="0"/>
                <a:ea typeface="Verdana" panose="020B0604030504040204" pitchFamily="34" charset="0"/>
              </a:rPr>
              <a:t>Threshold </a:t>
            </a:r>
            <a:r>
              <a:rPr lang="en-US" sz="1600" b="1" kern="0" dirty="0">
                <a:latin typeface="Verdana" panose="020B0604030504040204" pitchFamily="34" charset="0"/>
                <a:ea typeface="Verdana" panose="020B0604030504040204" pitchFamily="34" charset="0"/>
              </a:rPr>
              <a:t>value of the parameter</a:t>
            </a: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Hot Metal Temperature (1450 – 1510) °C</a:t>
            </a: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Hot Metal Carbon (</a:t>
            </a:r>
            <a:r>
              <a:rPr lang="en-US" sz="1600" kern="0" dirty="0" smtClean="0">
                <a:latin typeface="Verdana" panose="020B0604030504040204" pitchFamily="34" charset="0"/>
                <a:ea typeface="Verdana" panose="020B0604030504040204" pitchFamily="34" charset="0"/>
              </a:rPr>
              <a:t>40-45.5 Kg/</a:t>
            </a:r>
            <a:r>
              <a:rPr lang="en-US" sz="1600" kern="0" dirty="0" err="1" smtClean="0">
                <a:latin typeface="Verdana" panose="020B0604030504040204" pitchFamily="34" charset="0"/>
                <a:ea typeface="Verdana" panose="020B0604030504040204" pitchFamily="34" charset="0"/>
              </a:rPr>
              <a:t>thm</a:t>
            </a:r>
            <a:r>
              <a:rPr lang="en-US" sz="1600" kern="0" dirty="0" smtClean="0">
                <a:latin typeface="Verdana" panose="020B0604030504040204" pitchFamily="34" charset="0"/>
                <a:ea typeface="Verdana" panose="020B0604030504040204" pitchFamily="34" charset="0"/>
              </a:rPr>
              <a:t>)</a:t>
            </a:r>
            <a:endParaRPr lang="en-US" sz="1600" kern="0" dirty="0">
              <a:latin typeface="Verdana" panose="020B0604030504040204" pitchFamily="34" charset="0"/>
              <a:ea typeface="Verdana" panose="020B0604030504040204" pitchFamily="34" charset="0"/>
            </a:endParaRP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Hot Metal Production (&gt; </a:t>
            </a:r>
            <a:r>
              <a:rPr lang="en-US" sz="1600" kern="0" dirty="0" smtClean="0">
                <a:latin typeface="Verdana" panose="020B0604030504040204" pitchFamily="34" charset="0"/>
                <a:ea typeface="Verdana" panose="020B0604030504040204" pitchFamily="34" charset="0"/>
              </a:rPr>
              <a:t>9600 tons/day)</a:t>
            </a:r>
            <a:endParaRPr lang="en-US" sz="1600" kern="0" dirty="0">
              <a:latin typeface="Verdana" panose="020B0604030504040204" pitchFamily="34" charset="0"/>
              <a:ea typeface="Verdana" panose="020B0604030504040204" pitchFamily="34" charset="0"/>
            </a:endParaRP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 Input Energy (&lt;</a:t>
            </a:r>
            <a:r>
              <a:rPr lang="en-US" sz="1600" kern="0" dirty="0" smtClean="0">
                <a:latin typeface="Verdana" panose="020B0604030504040204" pitchFamily="34" charset="0"/>
                <a:ea typeface="Verdana" panose="020B0604030504040204" pitchFamily="34" charset="0"/>
              </a:rPr>
              <a:t>3.75 </a:t>
            </a:r>
            <a:r>
              <a:rPr lang="en-US" sz="1600" kern="0" dirty="0" err="1" smtClean="0">
                <a:latin typeface="Verdana" panose="020B0604030504040204" pitchFamily="34" charset="0"/>
                <a:ea typeface="Verdana" panose="020B0604030504040204" pitchFamily="34" charset="0"/>
              </a:rPr>
              <a:t>Gcal</a:t>
            </a:r>
            <a:r>
              <a:rPr lang="en-US" sz="1600" kern="0" dirty="0" smtClean="0">
                <a:latin typeface="Verdana" panose="020B0604030504040204" pitchFamily="34" charset="0"/>
                <a:ea typeface="Verdana" panose="020B0604030504040204" pitchFamily="34" charset="0"/>
              </a:rPr>
              <a:t>/</a:t>
            </a:r>
            <a:r>
              <a:rPr lang="en-US" sz="1600" kern="0" dirty="0" err="1" smtClean="0">
                <a:latin typeface="Verdana" panose="020B0604030504040204" pitchFamily="34" charset="0"/>
                <a:ea typeface="Verdana" panose="020B0604030504040204" pitchFamily="34" charset="0"/>
              </a:rPr>
              <a:t>thm</a:t>
            </a:r>
            <a:r>
              <a:rPr lang="en-US" sz="1600" kern="0" dirty="0" smtClean="0">
                <a:latin typeface="Verdana" panose="020B0604030504040204" pitchFamily="34" charset="0"/>
                <a:ea typeface="Verdana" panose="020B0604030504040204" pitchFamily="34" charset="0"/>
              </a:rPr>
              <a:t>)</a:t>
            </a:r>
            <a:endParaRPr lang="en-US" sz="1600" kern="0" dirty="0">
              <a:latin typeface="Verdana" panose="020B0604030504040204" pitchFamily="34" charset="0"/>
              <a:ea typeface="Verdana" panose="020B0604030504040204" pitchFamily="34" charset="0"/>
            </a:endParaRP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 CO emission in BF-gas (300 – </a:t>
            </a:r>
            <a:r>
              <a:rPr lang="en-US" sz="1600" kern="0" dirty="0" smtClean="0">
                <a:latin typeface="Verdana" panose="020B0604030504040204" pitchFamily="34" charset="0"/>
                <a:ea typeface="Verdana" panose="020B0604030504040204" pitchFamily="34" charset="0"/>
              </a:rPr>
              <a:t>350 </a:t>
            </a:r>
            <a:r>
              <a:rPr lang="en-US" sz="1600" kern="0" dirty="0" err="1" smtClean="0">
                <a:latin typeface="Verdana" panose="020B0604030504040204" pitchFamily="34" charset="0"/>
                <a:ea typeface="Verdana" panose="020B0604030504040204" pitchFamily="34" charset="0"/>
              </a:rPr>
              <a:t>vol</a:t>
            </a:r>
            <a:r>
              <a:rPr lang="en-US" sz="1600" kern="0" dirty="0" smtClean="0">
                <a:latin typeface="Verdana" panose="020B0604030504040204" pitchFamily="34" charset="0"/>
                <a:ea typeface="Verdana" panose="020B0604030504040204" pitchFamily="34" charset="0"/>
              </a:rPr>
              <a:t>/</a:t>
            </a:r>
            <a:r>
              <a:rPr lang="en-US" sz="1600" kern="0" dirty="0" err="1" smtClean="0">
                <a:latin typeface="Verdana" panose="020B0604030504040204" pitchFamily="34" charset="0"/>
                <a:ea typeface="Verdana" panose="020B0604030504040204" pitchFamily="34" charset="0"/>
              </a:rPr>
              <a:t>thm</a:t>
            </a:r>
            <a:r>
              <a:rPr lang="en-US" sz="1600" kern="0" dirty="0" smtClean="0">
                <a:latin typeface="Verdana" panose="020B0604030504040204" pitchFamily="34" charset="0"/>
                <a:ea typeface="Verdana" panose="020B0604030504040204" pitchFamily="34" charset="0"/>
              </a:rPr>
              <a:t>)</a:t>
            </a:r>
            <a:endParaRPr lang="en-US" sz="1600" kern="0" dirty="0">
              <a:latin typeface="Verdana" panose="020B0604030504040204" pitchFamily="34" charset="0"/>
              <a:ea typeface="Verdana" panose="020B0604030504040204" pitchFamily="34" charset="0"/>
            </a:endParaRPr>
          </a:p>
          <a:p>
            <a:pPr marL="342900" indent="-342900">
              <a:buAutoNum type="arabicParenR"/>
            </a:pPr>
            <a:endParaRPr lang="en-US" sz="1600" kern="0" dirty="0">
              <a:latin typeface="Verdana" panose="020B0604030504040204" pitchFamily="34" charset="0"/>
              <a:ea typeface="Verdana" panose="020B0604030504040204" pitchFamily="34" charset="0"/>
            </a:endParaRPr>
          </a:p>
          <a:p>
            <a:pPr marL="342900" indent="-342900">
              <a:buAutoNum type="arabicParenR"/>
            </a:pPr>
            <a:r>
              <a:rPr lang="en-US" sz="1600" kern="0" dirty="0">
                <a:latin typeface="Verdana" panose="020B0604030504040204" pitchFamily="34" charset="0"/>
                <a:ea typeface="Verdana" panose="020B0604030504040204" pitchFamily="34" charset="0"/>
              </a:rPr>
              <a:t> Eta CO ( CO/(CO+CO2</a:t>
            </a:r>
            <a:r>
              <a:rPr lang="en-US" sz="1600" kern="0" dirty="0" smtClean="0">
                <a:latin typeface="Verdana" panose="020B0604030504040204" pitchFamily="34" charset="0"/>
                <a:ea typeface="Verdana" panose="020B0604030504040204" pitchFamily="34" charset="0"/>
              </a:rPr>
              <a:t>)) (0.5-0.55)</a:t>
            </a:r>
          </a:p>
        </p:txBody>
      </p:sp>
      <p:cxnSp>
        <p:nvCxnSpPr>
          <p:cNvPr id="4" name="Straight Connector 3"/>
          <p:cNvCxnSpPr/>
          <p:nvPr/>
        </p:nvCxnSpPr>
        <p:spPr>
          <a:xfrm flipH="1">
            <a:off x="2351584" y="908720"/>
            <a:ext cx="7416825"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282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hart of heatmap&#10;&#10;Description automatically generated">
            <a:extLst>
              <a:ext uri="{FF2B5EF4-FFF2-40B4-BE49-F238E27FC236}">
                <a16:creationId xmlns:a16="http://schemas.microsoft.com/office/drawing/2014/main" id="{2515EF32-B19D-E1C3-BD1C-BA3AB3343CB7}"/>
              </a:ext>
            </a:extLst>
          </p:cNvPr>
          <p:cNvPicPr>
            <a:picLocks noChangeAspect="1"/>
          </p:cNvPicPr>
          <p:nvPr/>
        </p:nvPicPr>
        <p:blipFill>
          <a:blip r:embed="rId2"/>
          <a:stretch>
            <a:fillRect/>
          </a:stretch>
        </p:blipFill>
        <p:spPr>
          <a:xfrm>
            <a:off x="1631504" y="1340768"/>
            <a:ext cx="8856984" cy="5239750"/>
          </a:xfrm>
          <a:prstGeom prst="rect">
            <a:avLst/>
          </a:prstGeom>
          <a:ln w="28575">
            <a:solidFill>
              <a:schemeClr val="tx2"/>
            </a:solidFill>
          </a:ln>
        </p:spPr>
      </p:pic>
      <p:sp>
        <p:nvSpPr>
          <p:cNvPr id="15" name="Subtitle 2">
            <a:extLst>
              <a:ext uri="{FF2B5EF4-FFF2-40B4-BE49-F238E27FC236}">
                <a16:creationId xmlns:a16="http://schemas.microsoft.com/office/drawing/2014/main" id="{46CE95DF-3238-E2BC-939E-D6BEBDBDD40E}"/>
              </a:ext>
            </a:extLst>
          </p:cNvPr>
          <p:cNvSpPr txBox="1">
            <a:spLocks/>
          </p:cNvSpPr>
          <p:nvPr/>
        </p:nvSpPr>
        <p:spPr>
          <a:xfrm>
            <a:off x="1847528" y="620688"/>
            <a:ext cx="9546845" cy="369332"/>
          </a:xfrm>
          <a:prstGeom prst="rect">
            <a:avLst/>
          </a:prstGeom>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b="1" dirty="0">
                <a:solidFill>
                  <a:srgbClr val="003399"/>
                </a:solidFill>
                <a:latin typeface="Verdana" panose="020B0604030504040204" pitchFamily="34" charset="0"/>
                <a:ea typeface="Verdana" panose="020B0604030504040204" pitchFamily="34" charset="0"/>
              </a:rPr>
              <a:t>Correlation heat map between I/p and O/p parameters</a:t>
            </a:r>
          </a:p>
        </p:txBody>
      </p:sp>
      <p:cxnSp>
        <p:nvCxnSpPr>
          <p:cNvPr id="4" name="Straight Connector 3"/>
          <p:cNvCxnSpPr/>
          <p:nvPr/>
        </p:nvCxnSpPr>
        <p:spPr>
          <a:xfrm flipH="1">
            <a:off x="1559496" y="1114700"/>
            <a:ext cx="9834878" cy="794"/>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77266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46CE95DF-3238-E2BC-939E-D6BEBDBDD40E}"/>
              </a:ext>
            </a:extLst>
          </p:cNvPr>
          <p:cNvSpPr txBox="1">
            <a:spLocks/>
          </p:cNvSpPr>
          <p:nvPr/>
        </p:nvSpPr>
        <p:spPr>
          <a:xfrm>
            <a:off x="2453811" y="416037"/>
            <a:ext cx="8572345" cy="738664"/>
          </a:xfrm>
          <a:prstGeom prst="rect">
            <a:avLst/>
          </a:prstGeom>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b="1" dirty="0">
                <a:solidFill>
                  <a:srgbClr val="003399"/>
                </a:solidFill>
                <a:latin typeface="Verdana" panose="020B0604030504040204" pitchFamily="34" charset="0"/>
                <a:ea typeface="Verdana" panose="020B0604030504040204" pitchFamily="34" charset="0"/>
              </a:rPr>
              <a:t>Correlation heat map for Hot metal carbon and Hot Metal Temperature with other parameter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744" y="2132856"/>
            <a:ext cx="11856912" cy="2736304"/>
          </a:xfrm>
          <a:prstGeom prst="rect">
            <a:avLst/>
          </a:prstGeom>
          <a:ln w="28575">
            <a:solidFill>
              <a:schemeClr val="accent1">
                <a:shade val="15000"/>
              </a:schemeClr>
            </a:solidFill>
          </a:ln>
        </p:spPr>
      </p:pic>
      <p:sp>
        <p:nvSpPr>
          <p:cNvPr id="5" name="Subtitle 2">
            <a:extLst>
              <a:ext uri="{FF2B5EF4-FFF2-40B4-BE49-F238E27FC236}">
                <a16:creationId xmlns:a16="http://schemas.microsoft.com/office/drawing/2014/main" id="{46CE95DF-3238-E2BC-939E-D6BEBDBDD40E}"/>
              </a:ext>
            </a:extLst>
          </p:cNvPr>
          <p:cNvSpPr txBox="1">
            <a:spLocks/>
          </p:cNvSpPr>
          <p:nvPr/>
        </p:nvSpPr>
        <p:spPr>
          <a:xfrm>
            <a:off x="1666392" y="5373216"/>
            <a:ext cx="8572345" cy="830997"/>
          </a:xfrm>
          <a:prstGeom prst="rect">
            <a:avLst/>
          </a:prstGeom>
          <a:solidFill>
            <a:srgbClr val="E9EDF4"/>
          </a:solidFill>
          <a:ln w="19050">
            <a:solidFill>
              <a:schemeClr val="tx2"/>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kern="0" dirty="0" smtClean="0"/>
              <a:t>From the above correlation matrix, it is concluded that Hot Metal Carbon and Hot Metal Temperature have no relation with any parameter, so we used the charts of past data to find the constraints on input parameters with respect to these output parameters</a:t>
            </a:r>
            <a:endParaRPr lang="en-US" kern="0" dirty="0"/>
          </a:p>
        </p:txBody>
      </p:sp>
      <p:cxnSp>
        <p:nvCxnSpPr>
          <p:cNvPr id="6" name="Straight Connector 5"/>
          <p:cNvCxnSpPr/>
          <p:nvPr/>
        </p:nvCxnSpPr>
        <p:spPr>
          <a:xfrm flipH="1">
            <a:off x="1991544" y="1340768"/>
            <a:ext cx="8928992" cy="3124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91028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2">
            <a:lumMod val="75000"/>
          </a:schemeClr>
        </a:solidFill>
        <a:effectLst/>
      </p:bgPr>
    </p:bg>
    <p:spTree>
      <p:nvGrpSpPr>
        <p:cNvPr id="1" name=""/>
        <p:cNvGrpSpPr/>
        <p:nvPr/>
      </p:nvGrpSpPr>
      <p:grpSpPr>
        <a:xfrm>
          <a:off x="0" y="0"/>
          <a:ext cx="0" cy="0"/>
          <a:chOff x="0" y="0"/>
          <a:chExt cx="0" cy="0"/>
        </a:xfrm>
      </p:grpSpPr>
      <p:sp>
        <p:nvSpPr>
          <p:cNvPr id="2" name="Subtitle 2"/>
          <p:cNvSpPr>
            <a:spLocks noGrp="1"/>
          </p:cNvSpPr>
          <p:nvPr>
            <p:ph type="subTitle" idx="4"/>
          </p:nvPr>
        </p:nvSpPr>
        <p:spPr>
          <a:xfrm>
            <a:off x="2686944" y="116632"/>
            <a:ext cx="9505056" cy="553998"/>
          </a:xfrm>
        </p:spPr>
        <p:txBody>
          <a:bodyPr wrap="square" lIns="0" tIns="0" rIns="0" bIns="0" anchor="t">
            <a:spAutoFit/>
          </a:bodyPr>
          <a:lstStyle/>
          <a:p>
            <a:pPr rtl="0"/>
            <a:r>
              <a:rPr lang="en-US" sz="2400" b="1" kern="1200" dirty="0">
                <a:solidFill>
                  <a:srgbClr val="003399"/>
                </a:solidFill>
                <a:latin typeface="Verdana" panose="020B0604030504040204" pitchFamily="34" charset="0"/>
                <a:ea typeface="Verdana" panose="020B0604030504040204" pitchFamily="34" charset="0"/>
              </a:rPr>
              <a:t>Methodology for finding the constraints </a:t>
            </a:r>
            <a:r>
              <a:rPr lang="en-US" sz="3600" kern="1200" dirty="0">
                <a:solidFill>
                  <a:schemeClr val="tx2"/>
                </a:solidFill>
                <a:latin typeface="Arial"/>
                <a:ea typeface="+mj-ea"/>
                <a:cs typeface="Arial"/>
              </a:rPr>
              <a:t> </a:t>
            </a:r>
            <a:r>
              <a:rPr lang="en-US" dirty="0">
                <a:solidFill>
                  <a:srgbClr val="000000"/>
                </a:solidFill>
                <a:latin typeface="Calibri"/>
                <a:ea typeface="+mj-ea"/>
                <a:cs typeface="Calibri"/>
              </a:rPr>
              <a:t> </a:t>
            </a:r>
            <a:endParaRPr lang="en-US" sz="3600" kern="1200" dirty="0">
              <a:solidFill>
                <a:schemeClr val="tx2"/>
              </a:solidFill>
              <a:latin typeface="Arial"/>
              <a:ea typeface="+mj-ea"/>
              <a:cs typeface="Arial"/>
            </a:endParaRPr>
          </a:p>
        </p:txBody>
      </p:sp>
      <p:sp>
        <p:nvSpPr>
          <p:cNvPr id="3" name="Subtitle 2"/>
          <p:cNvSpPr txBox="1">
            <a:spLocks/>
          </p:cNvSpPr>
          <p:nvPr/>
        </p:nvSpPr>
        <p:spPr>
          <a:xfrm>
            <a:off x="1742607" y="1095002"/>
            <a:ext cx="8928992" cy="2369880"/>
          </a:xfrm>
          <a:prstGeom prst="rect">
            <a:avLst/>
          </a:prstGeom>
          <a:solidFill>
            <a:srgbClr val="E9EDF4"/>
          </a:solidFill>
          <a:ln w="19050">
            <a:solidFill>
              <a:schemeClr val="tx2"/>
            </a:solid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rtl="0">
              <a:buFont typeface="Arial" panose="020B0604020202020204" pitchFamily="34" charset="0"/>
              <a:buChar char="•"/>
            </a:pPr>
            <a:r>
              <a:rPr lang="en-US" sz="1400" kern="0" dirty="0" smtClean="0">
                <a:latin typeface="Verdana" panose="020B0604030504040204" pitchFamily="34" charset="0"/>
                <a:ea typeface="Verdana" panose="020B0604030504040204" pitchFamily="34" charset="0"/>
              </a:rPr>
              <a:t>Output </a:t>
            </a:r>
            <a:r>
              <a:rPr lang="en-US" sz="1400" kern="0" dirty="0">
                <a:latin typeface="Verdana" panose="020B0604030504040204" pitchFamily="34" charset="0"/>
                <a:ea typeface="Verdana" panose="020B0604030504040204" pitchFamily="34" charset="0"/>
              </a:rPr>
              <a:t>parameter </a:t>
            </a:r>
            <a:r>
              <a:rPr lang="en-US" sz="1400" kern="0" dirty="0" smtClean="0">
                <a:latin typeface="Verdana" panose="020B0604030504040204" pitchFamily="34" charset="0"/>
                <a:ea typeface="Verdana" panose="020B0604030504040204" pitchFamily="34" charset="0"/>
              </a:rPr>
              <a:t>constraints were selected based </a:t>
            </a:r>
            <a:r>
              <a:rPr lang="en-US" sz="1400" kern="0" dirty="0">
                <a:latin typeface="Verdana" panose="020B0604030504040204" pitchFamily="34" charset="0"/>
                <a:ea typeface="Verdana" panose="020B0604030504040204" pitchFamily="34" charset="0"/>
              </a:rPr>
              <a:t>on the optimal value </a:t>
            </a:r>
            <a:r>
              <a:rPr lang="en-US" sz="1400" kern="0" dirty="0" smtClean="0">
                <a:latin typeface="Verdana" panose="020B0604030504040204" pitchFamily="34" charset="0"/>
                <a:ea typeface="Verdana" panose="020B0604030504040204" pitchFamily="34" charset="0"/>
              </a:rPr>
              <a:t>for the operation of blast furnace and analyzing furnace’s historical data</a:t>
            </a:r>
          </a:p>
          <a:p>
            <a:pPr rtl="0"/>
            <a:endParaRPr lang="en-US" sz="1400" kern="0" dirty="0">
              <a:latin typeface="Verdana" panose="020B0604030504040204" pitchFamily="34" charset="0"/>
              <a:ea typeface="Verdana" panose="020B0604030504040204" pitchFamily="34" charset="0"/>
            </a:endParaRPr>
          </a:p>
          <a:p>
            <a:pPr marL="285750" indent="-285750" rtl="0">
              <a:buFont typeface="Arial" panose="020B0604020202020204" pitchFamily="34" charset="0"/>
              <a:buChar char="•"/>
            </a:pPr>
            <a:r>
              <a:rPr lang="en-US" sz="1400" kern="0" dirty="0" smtClean="0">
                <a:latin typeface="Verdana" panose="020B0604030504040204" pitchFamily="34" charset="0"/>
                <a:ea typeface="Verdana" panose="020B0604030504040204" pitchFamily="34" charset="0"/>
              </a:rPr>
              <a:t>For the Input </a:t>
            </a:r>
            <a:r>
              <a:rPr lang="en-US" sz="1400" kern="0" dirty="0">
                <a:latin typeface="Verdana" panose="020B0604030504040204" pitchFamily="34" charset="0"/>
                <a:ea typeface="Verdana" panose="020B0604030504040204" pitchFamily="34" charset="0"/>
              </a:rPr>
              <a:t>Parameters having no correlation with the Output </a:t>
            </a:r>
            <a:r>
              <a:rPr lang="en-US" sz="1400" kern="0" dirty="0" smtClean="0">
                <a:latin typeface="Verdana" panose="020B0604030504040204" pitchFamily="34" charset="0"/>
                <a:ea typeface="Verdana" panose="020B0604030504040204" pitchFamily="34" charset="0"/>
              </a:rPr>
              <a:t>Parameter, charts were plotted between input and output parameters(which are mainly KPI’s) and charts were visually analyzed for Input constraints. At last ranges on the output parameters were obtained by studying charts within constraints of output parameters.</a:t>
            </a:r>
          </a:p>
          <a:p>
            <a:pPr rtl="0"/>
            <a:endParaRPr lang="en-US" sz="1400" kern="0" dirty="0">
              <a:latin typeface="Verdana" panose="020B0604030504040204" pitchFamily="34" charset="0"/>
              <a:ea typeface="Verdana" panose="020B0604030504040204" pitchFamily="34" charset="0"/>
            </a:endParaRPr>
          </a:p>
          <a:p>
            <a:pPr marL="285750" indent="-285750" rtl="0">
              <a:buFont typeface="Arial" panose="020B0604020202020204" pitchFamily="34" charset="0"/>
              <a:buChar char="•"/>
            </a:pPr>
            <a:r>
              <a:rPr lang="en-US" sz="1400" kern="0" dirty="0" smtClean="0">
                <a:latin typeface="Verdana" panose="020B0604030504040204" pitchFamily="34" charset="0"/>
                <a:ea typeface="Verdana" panose="020B0604030504040204" pitchFamily="34" charset="0"/>
              </a:rPr>
              <a:t>Intersection of each Input parameters constraints which were obtained after inspecting it through all output </a:t>
            </a:r>
            <a:r>
              <a:rPr lang="en-US" sz="1400" kern="0" dirty="0">
                <a:latin typeface="Verdana" panose="020B0604030504040204" pitchFamily="34" charset="0"/>
                <a:ea typeface="Verdana" panose="020B0604030504040204" pitchFamily="34" charset="0"/>
              </a:rPr>
              <a:t>parameters(which are </a:t>
            </a:r>
            <a:r>
              <a:rPr lang="en-US" sz="1400" kern="0" dirty="0" smtClean="0">
                <a:latin typeface="Verdana" panose="020B0604030504040204" pitchFamily="34" charset="0"/>
                <a:ea typeface="Verdana" panose="020B0604030504040204" pitchFamily="34" charset="0"/>
              </a:rPr>
              <a:t>KPI’s) were taken into consideration for using them in Optimization technique.</a:t>
            </a:r>
          </a:p>
        </p:txBody>
      </p:sp>
      <p:sp>
        <p:nvSpPr>
          <p:cNvPr id="19" name="Rectangle 18"/>
          <p:cNvSpPr/>
          <p:nvPr/>
        </p:nvSpPr>
        <p:spPr>
          <a:xfrm>
            <a:off x="2373017" y="5888714"/>
            <a:ext cx="2880320" cy="523220"/>
          </a:xfrm>
          <a:prstGeom prst="rect">
            <a:avLst/>
          </a:prstGeom>
        </p:spPr>
        <p:txBody>
          <a:bodyPr wrap="square">
            <a:spAutoFit/>
          </a:bodyPr>
          <a:lstStyle/>
          <a:p>
            <a:r>
              <a:rPr lang="en-US" sz="1400" dirty="0">
                <a:solidFill>
                  <a:prstClr val="black">
                    <a:lumMod val="65000"/>
                    <a:lumOff val="35000"/>
                  </a:prstClr>
                </a:solidFill>
              </a:rPr>
              <a:t>Coke&lt;= -0.04375*HMP+771</a:t>
            </a:r>
          </a:p>
          <a:p>
            <a:r>
              <a:rPr lang="en-US" sz="1400" dirty="0">
                <a:solidFill>
                  <a:prstClr val="black">
                    <a:lumMod val="65000"/>
                    <a:lumOff val="35000"/>
                  </a:prstClr>
                </a:solidFill>
              </a:rPr>
              <a:t>C</a:t>
            </a:r>
            <a:r>
              <a:rPr lang="en-US" sz="1400" dirty="0" smtClean="0">
                <a:solidFill>
                  <a:prstClr val="black">
                    <a:lumMod val="65000"/>
                    <a:lumOff val="35000"/>
                  </a:prstClr>
                </a:solidFill>
              </a:rPr>
              <a:t>oke</a:t>
            </a:r>
            <a:r>
              <a:rPr lang="en-US" sz="1400" dirty="0">
                <a:solidFill>
                  <a:prstClr val="black">
                    <a:lumMod val="65000"/>
                    <a:lumOff val="35000"/>
                  </a:prstClr>
                </a:solidFill>
              </a:rPr>
              <a:t>&gt;=-0.025HP+558</a:t>
            </a:r>
          </a:p>
        </p:txBody>
      </p:sp>
      <p:sp>
        <p:nvSpPr>
          <p:cNvPr id="20" name="Rectangle 19"/>
          <p:cNvSpPr/>
          <p:nvPr/>
        </p:nvSpPr>
        <p:spPr>
          <a:xfrm>
            <a:off x="7780649" y="5871368"/>
            <a:ext cx="2395669" cy="523220"/>
          </a:xfrm>
          <a:prstGeom prst="rect">
            <a:avLst/>
          </a:prstGeom>
        </p:spPr>
        <p:txBody>
          <a:bodyPr wrap="square">
            <a:spAutoFit/>
          </a:bodyPr>
          <a:lstStyle/>
          <a:p>
            <a:r>
              <a:rPr lang="en-US" sz="1400" dirty="0">
                <a:solidFill>
                  <a:prstClr val="black">
                    <a:lumMod val="65000"/>
                    <a:lumOff val="35000"/>
                  </a:prstClr>
                </a:solidFill>
              </a:rPr>
              <a:t>CDI&lt;=(0.025HMP-36)</a:t>
            </a:r>
          </a:p>
          <a:p>
            <a:r>
              <a:rPr lang="en-US" sz="1400" dirty="0">
                <a:solidFill>
                  <a:prstClr val="black">
                    <a:lumMod val="65000"/>
                    <a:lumOff val="35000"/>
                  </a:prstClr>
                </a:solidFill>
              </a:rPr>
              <a:t>CDI&gt;=(0.035HMP-158)</a:t>
            </a:r>
          </a:p>
        </p:txBody>
      </p:sp>
      <p:cxnSp>
        <p:nvCxnSpPr>
          <p:cNvPr id="11" name="Straight Connector 10"/>
          <p:cNvCxnSpPr/>
          <p:nvPr/>
        </p:nvCxnSpPr>
        <p:spPr>
          <a:xfrm flipH="1">
            <a:off x="2351584" y="687976"/>
            <a:ext cx="7560840" cy="23971"/>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12" name="Chart 11"/>
          <p:cNvGraphicFramePr>
            <a:graphicFrameLocks/>
          </p:cNvGraphicFramePr>
          <p:nvPr>
            <p:extLst>
              <p:ext uri="{D42A27DB-BD31-4B8C-83A1-F6EECF244321}">
                <p14:modId xmlns:p14="http://schemas.microsoft.com/office/powerpoint/2010/main" val="4120727895"/>
              </p:ext>
            </p:extLst>
          </p:nvPr>
        </p:nvGraphicFramePr>
        <p:xfrm>
          <a:off x="1559496" y="3763130"/>
          <a:ext cx="4104456" cy="2089942"/>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Arrow Connector 12"/>
          <p:cNvCxnSpPr/>
          <p:nvPr/>
        </p:nvCxnSpPr>
        <p:spPr>
          <a:xfrm>
            <a:off x="1651051" y="5157192"/>
            <a:ext cx="3940893" cy="28803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Chart 14"/>
          <p:cNvGraphicFramePr>
            <a:graphicFrameLocks/>
          </p:cNvGraphicFramePr>
          <p:nvPr>
            <p:extLst>
              <p:ext uri="{D42A27DB-BD31-4B8C-83A1-F6EECF244321}">
                <p14:modId xmlns:p14="http://schemas.microsoft.com/office/powerpoint/2010/main" val="1571231852"/>
              </p:ext>
            </p:extLst>
          </p:nvPr>
        </p:nvGraphicFramePr>
        <p:xfrm>
          <a:off x="6603655" y="3732907"/>
          <a:ext cx="4067944" cy="2057186"/>
        </p:xfrm>
        <a:graphic>
          <a:graphicData uri="http://schemas.openxmlformats.org/drawingml/2006/chart">
            <c:chart xmlns:c="http://schemas.openxmlformats.org/drawingml/2006/chart" xmlns:r="http://schemas.openxmlformats.org/officeDocument/2006/relationships" r:id="rId3"/>
          </a:graphicData>
        </a:graphic>
      </p:graphicFrame>
      <p:cxnSp>
        <p:nvCxnSpPr>
          <p:cNvPr id="16" name="Straight Arrow Connector 15"/>
          <p:cNvCxnSpPr/>
          <p:nvPr/>
        </p:nvCxnSpPr>
        <p:spPr>
          <a:xfrm flipV="1">
            <a:off x="6801423" y="4653136"/>
            <a:ext cx="3759073" cy="2997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6888088" y="5034158"/>
            <a:ext cx="3672408" cy="41106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80450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4114631" y="195937"/>
            <a:ext cx="3637238"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nstraints on Coke</a:t>
            </a:r>
          </a:p>
        </p:txBody>
      </p:sp>
      <p:cxnSp>
        <p:nvCxnSpPr>
          <p:cNvPr id="6" name="Straight Connector 5"/>
          <p:cNvCxnSpPr/>
          <p:nvPr/>
        </p:nvCxnSpPr>
        <p:spPr>
          <a:xfrm flipH="1">
            <a:off x="3822872" y="691873"/>
            <a:ext cx="4392488" cy="46499"/>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8" name="Chart 7"/>
          <p:cNvGraphicFramePr>
            <a:graphicFrameLocks/>
          </p:cNvGraphicFramePr>
          <p:nvPr>
            <p:extLst>
              <p:ext uri="{D42A27DB-BD31-4B8C-83A1-F6EECF244321}">
                <p14:modId xmlns:p14="http://schemas.microsoft.com/office/powerpoint/2010/main" val="3863363240"/>
              </p:ext>
            </p:extLst>
          </p:nvPr>
        </p:nvGraphicFramePr>
        <p:xfrm>
          <a:off x="8137679" y="2952513"/>
          <a:ext cx="3128606" cy="18315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1454116336"/>
              </p:ext>
            </p:extLst>
          </p:nvPr>
        </p:nvGraphicFramePr>
        <p:xfrm>
          <a:off x="4541030" y="2963206"/>
          <a:ext cx="3476228" cy="18208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2403773434"/>
              </p:ext>
            </p:extLst>
          </p:nvPr>
        </p:nvGraphicFramePr>
        <p:xfrm>
          <a:off x="4515575" y="986667"/>
          <a:ext cx="3501683" cy="18614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528885627"/>
              </p:ext>
            </p:extLst>
          </p:nvPr>
        </p:nvGraphicFramePr>
        <p:xfrm>
          <a:off x="1086566" y="2963206"/>
          <a:ext cx="3334043" cy="186125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386508135"/>
              </p:ext>
            </p:extLst>
          </p:nvPr>
        </p:nvGraphicFramePr>
        <p:xfrm>
          <a:off x="1086566" y="5085184"/>
          <a:ext cx="10049994" cy="1288152"/>
        </p:xfrm>
        <a:graphic>
          <a:graphicData uri="http://schemas.openxmlformats.org/drawingml/2006/table">
            <a:tbl>
              <a:tblPr firstRow="1" bandRow="1">
                <a:tableStyleId>{5C22544A-7EE6-4342-B048-85BDC9FD1C3A}</a:tableStyleId>
              </a:tblPr>
              <a:tblGrid>
                <a:gridCol w="616946">
                  <a:extLst>
                    <a:ext uri="{9D8B030D-6E8A-4147-A177-3AD203B41FA5}">
                      <a16:colId xmlns:a16="http://schemas.microsoft.com/office/drawing/2014/main" val="1253974789"/>
                    </a:ext>
                  </a:extLst>
                </a:gridCol>
                <a:gridCol w="2448272">
                  <a:extLst>
                    <a:ext uri="{9D8B030D-6E8A-4147-A177-3AD203B41FA5}">
                      <a16:colId xmlns:a16="http://schemas.microsoft.com/office/drawing/2014/main" val="928918819"/>
                    </a:ext>
                  </a:extLst>
                </a:gridCol>
                <a:gridCol w="936104">
                  <a:extLst>
                    <a:ext uri="{9D8B030D-6E8A-4147-A177-3AD203B41FA5}">
                      <a16:colId xmlns:a16="http://schemas.microsoft.com/office/drawing/2014/main" val="1146916631"/>
                    </a:ext>
                  </a:extLst>
                </a:gridCol>
                <a:gridCol w="2213690">
                  <a:extLst>
                    <a:ext uri="{9D8B030D-6E8A-4147-A177-3AD203B41FA5}">
                      <a16:colId xmlns:a16="http://schemas.microsoft.com/office/drawing/2014/main" val="773404405"/>
                    </a:ext>
                  </a:extLst>
                </a:gridCol>
                <a:gridCol w="1235753">
                  <a:extLst>
                    <a:ext uri="{9D8B030D-6E8A-4147-A177-3AD203B41FA5}">
                      <a16:colId xmlns:a16="http://schemas.microsoft.com/office/drawing/2014/main" val="2922466025"/>
                    </a:ext>
                  </a:extLst>
                </a:gridCol>
                <a:gridCol w="964975">
                  <a:extLst>
                    <a:ext uri="{9D8B030D-6E8A-4147-A177-3AD203B41FA5}">
                      <a16:colId xmlns:a16="http://schemas.microsoft.com/office/drawing/2014/main" val="3890743557"/>
                    </a:ext>
                  </a:extLst>
                </a:gridCol>
                <a:gridCol w="1634254">
                  <a:extLst>
                    <a:ext uri="{9D8B030D-6E8A-4147-A177-3AD203B41FA5}">
                      <a16:colId xmlns:a16="http://schemas.microsoft.com/office/drawing/2014/main" val="1343101375"/>
                    </a:ext>
                  </a:extLst>
                </a:gridCol>
              </a:tblGrid>
              <a:tr h="648072">
                <a:tc>
                  <a:txBody>
                    <a:bodyPr/>
                    <a:lstStyle/>
                    <a:p>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Production</a:t>
                      </a:r>
                    </a:p>
                  </a:txBody>
                  <a:tcPr/>
                </a:tc>
                <a:tc>
                  <a:txBody>
                    <a:bodyPr/>
                    <a:lstStyle/>
                    <a:p>
                      <a:r>
                        <a:rPr lang="en-US" sz="1400" dirty="0">
                          <a:latin typeface="Verdana" panose="020B0604030504040204" pitchFamily="34" charset="0"/>
                          <a:ea typeface="Verdana" panose="020B0604030504040204" pitchFamily="34" charset="0"/>
                        </a:rPr>
                        <a:t>CO Volume</a:t>
                      </a:r>
                    </a:p>
                  </a:txBody>
                  <a:tcPr/>
                </a:tc>
                <a:tc>
                  <a:txBody>
                    <a:bodyPr/>
                    <a:lstStyle/>
                    <a:p>
                      <a:r>
                        <a:rPr lang="en-US" sz="1400" dirty="0" smtClean="0">
                          <a:latin typeface="Verdana" panose="020B0604030504040204" pitchFamily="34" charset="0"/>
                          <a:ea typeface="Verdana" panose="020B0604030504040204" pitchFamily="34" charset="0"/>
                        </a:rPr>
                        <a:t>ETA</a:t>
                      </a:r>
                      <a:r>
                        <a:rPr lang="en-US" sz="1400" baseline="0" dirty="0" smtClean="0">
                          <a:latin typeface="Verdana" panose="020B0604030504040204" pitchFamily="34" charset="0"/>
                          <a:ea typeface="Verdana" panose="020B0604030504040204" pitchFamily="34" charset="0"/>
                        </a:rPr>
                        <a:t> CO</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a:t>
                      </a:r>
                      <a:r>
                        <a:rPr lang="en-US" sz="1400" baseline="0" dirty="0">
                          <a:latin typeface="Verdana" panose="020B0604030504040204" pitchFamily="34" charset="0"/>
                          <a:ea typeface="Verdana" panose="020B0604030504040204" pitchFamily="34" charset="0"/>
                        </a:rPr>
                        <a:t> metal Carbon</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Input</a:t>
                      </a:r>
                      <a:r>
                        <a:rPr lang="en-US" sz="1400" baseline="0" dirty="0">
                          <a:latin typeface="Verdana" panose="020B0604030504040204" pitchFamily="34" charset="0"/>
                          <a:ea typeface="Verdana" panose="020B0604030504040204" pitchFamily="34" charset="0"/>
                        </a:rPr>
                        <a:t> Energy</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98971143"/>
                  </a:ext>
                </a:extLst>
              </a:tr>
              <a:tr h="370840">
                <a:tc>
                  <a:txBody>
                    <a:bodyPr/>
                    <a:lstStyle/>
                    <a:p>
                      <a:r>
                        <a:rPr lang="en-US" sz="1200" dirty="0" smtClean="0">
                          <a:latin typeface="Verdana" panose="020B0604030504040204" pitchFamily="34" charset="0"/>
                          <a:ea typeface="Verdana" panose="020B0604030504040204" pitchFamily="34" charset="0"/>
                        </a:rPr>
                        <a:t>Coke</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0-350</a:t>
                      </a:r>
                    </a:p>
                    <a:p>
                      <a:r>
                        <a:rPr lang="en-US" sz="1200" dirty="0" smtClean="0">
                          <a:latin typeface="Verdana" panose="020B0604030504040204" pitchFamily="34" charset="0"/>
                          <a:ea typeface="Verdana" panose="020B0604030504040204" pitchFamily="34" charset="0"/>
                        </a:rPr>
                        <a:t>Coke&lt;= -0.04375*HMP+771</a:t>
                      </a:r>
                    </a:p>
                    <a:p>
                      <a:r>
                        <a:rPr lang="en-US" sz="1200" dirty="0" smtClean="0">
                          <a:latin typeface="Verdana" panose="020B0604030504040204" pitchFamily="34" charset="0"/>
                          <a:ea typeface="Verdana" panose="020B0604030504040204" pitchFamily="34" charset="0"/>
                        </a:rPr>
                        <a:t>coke&gt;=-0.025HP+558</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0-350</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4-350</a:t>
                      </a:r>
                    </a:p>
                    <a:p>
                      <a:r>
                        <a:rPr lang="en-US" sz="1200" dirty="0" smtClean="0">
                          <a:latin typeface="Verdana" panose="020B0604030504040204" pitchFamily="34" charset="0"/>
                          <a:ea typeface="Verdana" panose="020B0604030504040204" pitchFamily="34" charset="0"/>
                        </a:rPr>
                        <a:t>Coke&lt;=2307*ETACO-829</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5-350</a:t>
                      </a:r>
                      <a:endParaRPr lang="en-US" sz="1200" dirty="0">
                        <a:latin typeface="Verdana" panose="020B0604030504040204" pitchFamily="34" charset="0"/>
                        <a:ea typeface="Verdana" panose="020B0604030504040204" pitchFamily="34" charset="0"/>
                      </a:endParaRPr>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200" dirty="0" smtClean="0">
                          <a:latin typeface="Verdana" panose="020B0604030504040204" pitchFamily="34" charset="0"/>
                          <a:ea typeface="Verdana" panose="020B0604030504040204" pitchFamily="34" charset="0"/>
                        </a:rPr>
                        <a:t>300-335</a:t>
                      </a:r>
                    </a:p>
                    <a:p>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3983162445"/>
                  </a:ext>
                </a:extLst>
              </a:tr>
            </a:tbl>
          </a:graphicData>
        </a:graphic>
      </p:graphicFrame>
      <p:cxnSp>
        <p:nvCxnSpPr>
          <p:cNvPr id="17" name="Straight Arrow Connector 16"/>
          <p:cNvCxnSpPr/>
          <p:nvPr/>
        </p:nvCxnSpPr>
        <p:spPr>
          <a:xfrm flipV="1">
            <a:off x="4915794" y="3429000"/>
            <a:ext cx="2610762" cy="648072"/>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21" name="Chart 20"/>
          <p:cNvGraphicFramePr>
            <a:graphicFrameLocks/>
          </p:cNvGraphicFramePr>
          <p:nvPr>
            <p:extLst>
              <p:ext uri="{D42A27DB-BD31-4B8C-83A1-F6EECF244321}">
                <p14:modId xmlns:p14="http://schemas.microsoft.com/office/powerpoint/2010/main" val="4208775853"/>
              </p:ext>
            </p:extLst>
          </p:nvPr>
        </p:nvGraphicFramePr>
        <p:xfrm>
          <a:off x="1086565" y="981996"/>
          <a:ext cx="3334043" cy="1842517"/>
        </p:xfrm>
        <a:graphic>
          <a:graphicData uri="http://schemas.openxmlformats.org/drawingml/2006/chart">
            <c:chart xmlns:c="http://schemas.openxmlformats.org/drawingml/2006/chart" xmlns:r="http://schemas.openxmlformats.org/officeDocument/2006/relationships" r:id="rId6"/>
          </a:graphicData>
        </a:graphic>
      </p:graphicFrame>
      <p:cxnSp>
        <p:nvCxnSpPr>
          <p:cNvPr id="22" name="Straight Arrow Connector 21"/>
          <p:cNvCxnSpPr/>
          <p:nvPr/>
        </p:nvCxnSpPr>
        <p:spPr>
          <a:xfrm>
            <a:off x="1277422" y="2244173"/>
            <a:ext cx="2952328" cy="1923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aphicFrame>
        <p:nvGraphicFramePr>
          <p:cNvPr id="25" name="Chart 24"/>
          <p:cNvGraphicFramePr>
            <a:graphicFrameLocks/>
          </p:cNvGraphicFramePr>
          <p:nvPr>
            <p:extLst>
              <p:ext uri="{D42A27DB-BD31-4B8C-83A1-F6EECF244321}">
                <p14:modId xmlns:p14="http://schemas.microsoft.com/office/powerpoint/2010/main" val="604541534"/>
              </p:ext>
            </p:extLst>
          </p:nvPr>
        </p:nvGraphicFramePr>
        <p:xfrm>
          <a:off x="8148701" y="981996"/>
          <a:ext cx="3117584" cy="1811674"/>
        </p:xfrm>
        <a:graphic>
          <a:graphicData uri="http://schemas.openxmlformats.org/drawingml/2006/chart">
            <c:chart xmlns:c="http://schemas.openxmlformats.org/drawingml/2006/chart" xmlns:r="http://schemas.openxmlformats.org/officeDocument/2006/relationships" r:id="rId7"/>
          </a:graphicData>
        </a:graphic>
      </p:graphicFrame>
      <p:cxnSp>
        <p:nvCxnSpPr>
          <p:cNvPr id="26" name="Straight Arrow Connector 25"/>
          <p:cNvCxnSpPr/>
          <p:nvPr/>
        </p:nvCxnSpPr>
        <p:spPr>
          <a:xfrm flipV="1">
            <a:off x="8472264" y="1587718"/>
            <a:ext cx="2479402" cy="656455"/>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02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
          </p:nvPr>
        </p:nvSpPr>
        <p:spPr>
          <a:xfrm>
            <a:off x="1127448" y="1340768"/>
            <a:ext cx="9505056" cy="553998"/>
          </a:xfrm>
        </p:spPr>
        <p:txBody>
          <a:bodyPr/>
          <a:lstStyle/>
          <a:p>
            <a:r>
              <a:rPr lang="en-US" dirty="0"/>
              <a:t/>
            </a:r>
            <a:br>
              <a:rPr lang="en-US" dirty="0"/>
            </a:br>
            <a:endParaRPr lang="en-US" dirty="0"/>
          </a:p>
        </p:txBody>
      </p:sp>
      <p:sp>
        <p:nvSpPr>
          <p:cNvPr id="5" name="Text Box 5"/>
          <p:cNvSpPr txBox="1">
            <a:spLocks noChangeArrowheads="1"/>
          </p:cNvSpPr>
          <p:nvPr/>
        </p:nvSpPr>
        <p:spPr bwMode="auto">
          <a:xfrm>
            <a:off x="4173146" y="270930"/>
            <a:ext cx="3872890"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nstraints on CDI</a:t>
            </a:r>
          </a:p>
        </p:txBody>
      </p:sp>
      <p:cxnSp>
        <p:nvCxnSpPr>
          <p:cNvPr id="6" name="Straight Connector 5"/>
          <p:cNvCxnSpPr/>
          <p:nvPr/>
        </p:nvCxnSpPr>
        <p:spPr>
          <a:xfrm flipH="1">
            <a:off x="3935761" y="770427"/>
            <a:ext cx="3914876" cy="7202"/>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50428399"/>
              </p:ext>
            </p:extLst>
          </p:nvPr>
        </p:nvGraphicFramePr>
        <p:xfrm>
          <a:off x="911424" y="5049468"/>
          <a:ext cx="9865100" cy="1463040"/>
        </p:xfrm>
        <a:graphic>
          <a:graphicData uri="http://schemas.openxmlformats.org/drawingml/2006/table">
            <a:tbl>
              <a:tblPr firstRow="1" bandRow="1">
                <a:tableStyleId>{5C22544A-7EE6-4342-B048-85BDC9FD1C3A}</a:tableStyleId>
              </a:tblPr>
              <a:tblGrid>
                <a:gridCol w="1008114">
                  <a:extLst>
                    <a:ext uri="{9D8B030D-6E8A-4147-A177-3AD203B41FA5}">
                      <a16:colId xmlns:a16="http://schemas.microsoft.com/office/drawing/2014/main" val="1253974789"/>
                    </a:ext>
                  </a:extLst>
                </a:gridCol>
                <a:gridCol w="2644286">
                  <a:extLst>
                    <a:ext uri="{9D8B030D-6E8A-4147-A177-3AD203B41FA5}">
                      <a16:colId xmlns:a16="http://schemas.microsoft.com/office/drawing/2014/main" val="928918819"/>
                    </a:ext>
                  </a:extLst>
                </a:gridCol>
                <a:gridCol w="1368152">
                  <a:extLst>
                    <a:ext uri="{9D8B030D-6E8A-4147-A177-3AD203B41FA5}">
                      <a16:colId xmlns:a16="http://schemas.microsoft.com/office/drawing/2014/main" val="1146916631"/>
                    </a:ext>
                  </a:extLst>
                </a:gridCol>
                <a:gridCol w="1080120">
                  <a:extLst>
                    <a:ext uri="{9D8B030D-6E8A-4147-A177-3AD203B41FA5}">
                      <a16:colId xmlns:a16="http://schemas.microsoft.com/office/drawing/2014/main" val="773404405"/>
                    </a:ext>
                  </a:extLst>
                </a:gridCol>
                <a:gridCol w="1152128">
                  <a:extLst>
                    <a:ext uri="{9D8B030D-6E8A-4147-A177-3AD203B41FA5}">
                      <a16:colId xmlns:a16="http://schemas.microsoft.com/office/drawing/2014/main" val="2922466025"/>
                    </a:ext>
                  </a:extLst>
                </a:gridCol>
                <a:gridCol w="1008112">
                  <a:extLst>
                    <a:ext uri="{9D8B030D-6E8A-4147-A177-3AD203B41FA5}">
                      <a16:colId xmlns:a16="http://schemas.microsoft.com/office/drawing/2014/main" val="3890743557"/>
                    </a:ext>
                  </a:extLst>
                </a:gridCol>
                <a:gridCol w="1604188">
                  <a:extLst>
                    <a:ext uri="{9D8B030D-6E8A-4147-A177-3AD203B41FA5}">
                      <a16:colId xmlns:a16="http://schemas.microsoft.com/office/drawing/2014/main" val="1343101375"/>
                    </a:ext>
                  </a:extLst>
                </a:gridCol>
              </a:tblGrid>
              <a:tr h="370840">
                <a:tc>
                  <a:txBody>
                    <a:bodyPr/>
                    <a:lstStyle/>
                    <a:p>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Production</a:t>
                      </a:r>
                    </a:p>
                  </a:txBody>
                  <a:tcPr/>
                </a:tc>
                <a:tc>
                  <a:txBody>
                    <a:bodyPr/>
                    <a:lstStyle/>
                    <a:p>
                      <a:r>
                        <a:rPr lang="en-US" sz="1400" dirty="0">
                          <a:latin typeface="Verdana" panose="020B0604030504040204" pitchFamily="34" charset="0"/>
                          <a:ea typeface="Verdana" panose="020B0604030504040204" pitchFamily="34" charset="0"/>
                        </a:rPr>
                        <a:t>CO Volume</a:t>
                      </a:r>
                    </a:p>
                  </a:txBody>
                  <a:tcPr/>
                </a:tc>
                <a:tc>
                  <a:txBody>
                    <a:bodyPr/>
                    <a:lstStyle/>
                    <a:p>
                      <a:r>
                        <a:rPr lang="en-US" sz="1400" dirty="0" smtClean="0">
                          <a:latin typeface="Verdana" panose="020B0604030504040204" pitchFamily="34" charset="0"/>
                          <a:ea typeface="Verdana" panose="020B0604030504040204" pitchFamily="34" charset="0"/>
                        </a:rPr>
                        <a:t>ETA</a:t>
                      </a:r>
                      <a:r>
                        <a:rPr lang="en-US" sz="1400" baseline="0" dirty="0" smtClean="0">
                          <a:latin typeface="Verdana" panose="020B0604030504040204" pitchFamily="34" charset="0"/>
                          <a:ea typeface="Verdana" panose="020B0604030504040204" pitchFamily="34" charset="0"/>
                        </a:rPr>
                        <a:t> CO</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a:t>
                      </a:r>
                      <a:r>
                        <a:rPr lang="en-US" sz="1400" baseline="0" dirty="0">
                          <a:latin typeface="Verdana" panose="020B0604030504040204" pitchFamily="34" charset="0"/>
                          <a:ea typeface="Verdana" panose="020B0604030504040204" pitchFamily="34" charset="0"/>
                        </a:rPr>
                        <a:t> metal Carbon</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Input</a:t>
                      </a:r>
                      <a:r>
                        <a:rPr lang="en-US" sz="1400" baseline="0" dirty="0">
                          <a:latin typeface="Verdana" panose="020B0604030504040204" pitchFamily="34" charset="0"/>
                          <a:ea typeface="Verdana" panose="020B0604030504040204" pitchFamily="34" charset="0"/>
                        </a:rPr>
                        <a:t> Energy</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98971143"/>
                  </a:ext>
                </a:extLst>
              </a:tr>
              <a:tr h="370840">
                <a:tc>
                  <a:txBody>
                    <a:bodyPr/>
                    <a:lstStyle/>
                    <a:p>
                      <a:r>
                        <a:rPr lang="en-US" sz="1400">
                          <a:latin typeface="Verdana" panose="020B0604030504040204" pitchFamily="34" charset="0"/>
                          <a:ea typeface="Verdana" panose="020B0604030504040204" pitchFamily="34" charset="0"/>
                        </a:rPr>
                        <a:t>CDI</a:t>
                      </a:r>
                    </a:p>
                  </a:txBody>
                  <a:tcPr/>
                </a:tc>
                <a:tc>
                  <a:txBody>
                    <a:bodyPr/>
                    <a:lstStyle/>
                    <a:p>
                      <a:r>
                        <a:rPr lang="en-US" sz="1400" dirty="0">
                          <a:latin typeface="Verdana" panose="020B0604030504040204" pitchFamily="34" charset="0"/>
                          <a:ea typeface="Verdana" panose="020B0604030504040204" pitchFamily="34" charset="0"/>
                        </a:rPr>
                        <a:t>180-220</a:t>
                      </a:r>
                    </a:p>
                    <a:p>
                      <a:r>
                        <a:rPr lang="en-US" sz="1400" dirty="0">
                          <a:latin typeface="Verdana" panose="020B0604030504040204" pitchFamily="34" charset="0"/>
                          <a:ea typeface="Verdana" panose="020B0604030504040204" pitchFamily="34" charset="0"/>
                        </a:rPr>
                        <a:t>CDI&lt;=(0.025HMP-36)</a:t>
                      </a:r>
                    </a:p>
                    <a:p>
                      <a:r>
                        <a:rPr lang="en-US" sz="1400" dirty="0">
                          <a:latin typeface="Verdana" panose="020B0604030504040204" pitchFamily="34" charset="0"/>
                          <a:ea typeface="Verdana" panose="020B0604030504040204" pitchFamily="34" charset="0"/>
                        </a:rPr>
                        <a:t>CDI&gt;=(0.035HMP-158)</a:t>
                      </a:r>
                    </a:p>
                  </a:txBody>
                  <a:tcPr/>
                </a:tc>
                <a:tc>
                  <a:txBody>
                    <a:bodyPr/>
                    <a:lstStyle/>
                    <a:p>
                      <a:r>
                        <a:rPr lang="en-US" sz="1400">
                          <a:latin typeface="Verdana" panose="020B0604030504040204" pitchFamily="34" charset="0"/>
                          <a:ea typeface="Verdana" panose="020B0604030504040204" pitchFamily="34" charset="0"/>
                        </a:rPr>
                        <a:t>185-215</a:t>
                      </a:r>
                    </a:p>
                  </a:txBody>
                  <a:tcPr/>
                </a:tc>
                <a:tc>
                  <a:txBody>
                    <a:bodyPr/>
                    <a:lstStyle/>
                    <a:p>
                      <a:r>
                        <a:rPr lang="en-US" sz="1400" dirty="0" smtClean="0">
                          <a:latin typeface="Verdana" panose="020B0604030504040204" pitchFamily="34" charset="0"/>
                          <a:ea typeface="Verdana" panose="020B0604030504040204" pitchFamily="34" charset="0"/>
                        </a:rPr>
                        <a:t>180-216</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160-220</a:t>
                      </a:r>
                    </a:p>
                  </a:txBody>
                  <a:tcPr/>
                </a:tc>
                <a:tc>
                  <a:txBody>
                    <a:bodyPr/>
                    <a:lstStyle/>
                    <a:p>
                      <a:r>
                        <a:rPr lang="en-US" sz="1400" dirty="0">
                          <a:latin typeface="Verdana" panose="020B0604030504040204" pitchFamily="34" charset="0"/>
                          <a:ea typeface="Verdana" panose="020B0604030504040204" pitchFamily="34" charset="0"/>
                        </a:rPr>
                        <a:t>190-215</a:t>
                      </a:r>
                    </a:p>
                  </a:txBody>
                  <a:tcPr/>
                </a:tc>
                <a:tc>
                  <a:txBody>
                    <a:bodyPr/>
                    <a:lstStyle/>
                    <a:p>
                      <a:r>
                        <a:rPr lang="en-US" sz="14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3983162445"/>
                  </a:ext>
                </a:extLst>
              </a:tr>
            </a:tbl>
          </a:graphicData>
        </a:graphic>
      </p:graphicFrame>
      <p:graphicFrame>
        <p:nvGraphicFramePr>
          <p:cNvPr id="8" name="Chart 7"/>
          <p:cNvGraphicFramePr>
            <a:graphicFrameLocks/>
          </p:cNvGraphicFramePr>
          <p:nvPr>
            <p:extLst>
              <p:ext uri="{D42A27DB-BD31-4B8C-83A1-F6EECF244321}">
                <p14:modId xmlns:p14="http://schemas.microsoft.com/office/powerpoint/2010/main" val="3009306768"/>
              </p:ext>
            </p:extLst>
          </p:nvPr>
        </p:nvGraphicFramePr>
        <p:xfrm>
          <a:off x="8034895" y="3187403"/>
          <a:ext cx="3172246" cy="176328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4113893283"/>
              </p:ext>
            </p:extLst>
          </p:nvPr>
        </p:nvGraphicFramePr>
        <p:xfrm>
          <a:off x="4400744" y="3187403"/>
          <a:ext cx="3521900" cy="17791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3132791788"/>
              </p:ext>
            </p:extLst>
          </p:nvPr>
        </p:nvGraphicFramePr>
        <p:xfrm>
          <a:off x="4400744" y="1252749"/>
          <a:ext cx="3449893" cy="182116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3651067544"/>
              </p:ext>
            </p:extLst>
          </p:nvPr>
        </p:nvGraphicFramePr>
        <p:xfrm>
          <a:off x="827817" y="3161935"/>
          <a:ext cx="3385946" cy="180465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p:cNvGraphicFramePr>
            <a:graphicFrameLocks/>
          </p:cNvGraphicFramePr>
          <p:nvPr>
            <p:extLst>
              <p:ext uri="{D42A27DB-BD31-4B8C-83A1-F6EECF244321}">
                <p14:modId xmlns:p14="http://schemas.microsoft.com/office/powerpoint/2010/main" val="1046276871"/>
              </p:ext>
            </p:extLst>
          </p:nvPr>
        </p:nvGraphicFramePr>
        <p:xfrm>
          <a:off x="8011075" y="1259951"/>
          <a:ext cx="3196065" cy="1754720"/>
        </p:xfrm>
        <a:graphic>
          <a:graphicData uri="http://schemas.openxmlformats.org/drawingml/2006/chart">
            <c:chart xmlns:c="http://schemas.openxmlformats.org/drawingml/2006/chart" xmlns:r="http://schemas.openxmlformats.org/officeDocument/2006/relationships" r:id="rId6"/>
          </a:graphicData>
        </a:graphic>
      </p:graphicFrame>
      <p:cxnSp>
        <p:nvCxnSpPr>
          <p:cNvPr id="14" name="Straight Arrow Connector 13"/>
          <p:cNvCxnSpPr/>
          <p:nvPr/>
        </p:nvCxnSpPr>
        <p:spPr>
          <a:xfrm>
            <a:off x="4644327" y="4186532"/>
            <a:ext cx="2960003" cy="360040"/>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17" name="Chart 16"/>
          <p:cNvGraphicFramePr>
            <a:graphicFrameLocks/>
          </p:cNvGraphicFramePr>
          <p:nvPr>
            <p:extLst>
              <p:ext uri="{D42A27DB-BD31-4B8C-83A1-F6EECF244321}">
                <p14:modId xmlns:p14="http://schemas.microsoft.com/office/powerpoint/2010/main" val="714755699"/>
              </p:ext>
            </p:extLst>
          </p:nvPr>
        </p:nvGraphicFramePr>
        <p:xfrm>
          <a:off x="836761" y="1253307"/>
          <a:ext cx="3385946" cy="1816569"/>
        </p:xfrm>
        <a:graphic>
          <a:graphicData uri="http://schemas.openxmlformats.org/drawingml/2006/chart">
            <c:chart xmlns:c="http://schemas.openxmlformats.org/drawingml/2006/chart" xmlns:r="http://schemas.openxmlformats.org/officeDocument/2006/relationships" r:id="rId7"/>
          </a:graphicData>
        </a:graphic>
      </p:graphicFrame>
      <p:cxnSp>
        <p:nvCxnSpPr>
          <p:cNvPr id="19" name="Straight Arrow Connector 18"/>
          <p:cNvCxnSpPr/>
          <p:nvPr/>
        </p:nvCxnSpPr>
        <p:spPr>
          <a:xfrm flipV="1">
            <a:off x="1067679" y="2060138"/>
            <a:ext cx="2880320" cy="28145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1067679" y="2439762"/>
            <a:ext cx="2973690" cy="2952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76153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
          </p:nvPr>
        </p:nvSpPr>
        <p:spPr>
          <a:xfrm>
            <a:off x="1127448" y="1340768"/>
            <a:ext cx="9505056" cy="553998"/>
          </a:xfrm>
        </p:spPr>
        <p:txBody>
          <a:bodyPr/>
          <a:lstStyle/>
          <a:p>
            <a:r>
              <a:rPr lang="en-US" dirty="0"/>
              <a:t/>
            </a:r>
            <a:br>
              <a:rPr lang="en-US" dirty="0"/>
            </a:br>
            <a:endParaRPr lang="en-US" dirty="0"/>
          </a:p>
        </p:txBody>
      </p:sp>
      <p:sp>
        <p:nvSpPr>
          <p:cNvPr id="5" name="Text Box 5"/>
          <p:cNvSpPr txBox="1">
            <a:spLocks noChangeArrowheads="1"/>
          </p:cNvSpPr>
          <p:nvPr/>
        </p:nvSpPr>
        <p:spPr bwMode="auto">
          <a:xfrm>
            <a:off x="4210037" y="155789"/>
            <a:ext cx="8034565" cy="461661"/>
          </a:xfrm>
          <a:prstGeom prst="rect">
            <a:avLst/>
          </a:prstGeom>
          <a:noFill/>
          <a:ln w="9525">
            <a:noFill/>
            <a:miter lim="800000"/>
            <a:headEnd/>
            <a:tailEnd/>
          </a:ln>
        </p:spPr>
        <p:txBody>
          <a:bodyPr wrap="square" lIns="91436" tIns="45718" rIns="91436" bIns="45718">
            <a:prstTxWarp prst="textNoShape">
              <a:avLst/>
            </a:prstTxWarp>
            <a:spAutoFit/>
          </a:bodyPr>
          <a:lstStyle>
            <a:defPPr>
              <a:defRPr lang="en-US"/>
            </a:defPPr>
            <a:lvl1pPr>
              <a:defRPr sz="2400" b="1">
                <a:solidFill>
                  <a:srgbClr val="003399"/>
                </a:solidFill>
                <a:latin typeface="Verdana" panose="020B0604030504040204" pitchFamily="34" charset="0"/>
                <a:ea typeface="Verdana" panose="020B0604030504040204" pitchFamily="34" charset="0"/>
              </a:defRPr>
            </a:lvl1pPr>
          </a:lstStyle>
          <a:p>
            <a:r>
              <a:rPr lang="en-IN" dirty="0"/>
              <a:t>Constraints on </a:t>
            </a:r>
            <a:r>
              <a:rPr lang="en-IN" dirty="0" smtClean="0"/>
              <a:t>Oxygen(O</a:t>
            </a:r>
            <a:r>
              <a:rPr lang="en-IN" baseline="-25000" dirty="0" smtClean="0"/>
              <a:t>2</a:t>
            </a:r>
            <a:r>
              <a:rPr lang="en-IN" dirty="0" smtClean="0"/>
              <a:t>)</a:t>
            </a:r>
            <a:endParaRPr lang="en-IN" dirty="0"/>
          </a:p>
        </p:txBody>
      </p:sp>
      <p:cxnSp>
        <p:nvCxnSpPr>
          <p:cNvPr id="6" name="Straight Connector 5"/>
          <p:cNvCxnSpPr/>
          <p:nvPr/>
        </p:nvCxnSpPr>
        <p:spPr>
          <a:xfrm flipH="1">
            <a:off x="4079776" y="679478"/>
            <a:ext cx="4896544" cy="10375"/>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20" name="Table 19"/>
          <p:cNvGraphicFramePr>
            <a:graphicFrameLocks noGrp="1"/>
          </p:cNvGraphicFramePr>
          <p:nvPr>
            <p:extLst>
              <p:ext uri="{D42A27DB-BD31-4B8C-83A1-F6EECF244321}">
                <p14:modId xmlns:p14="http://schemas.microsoft.com/office/powerpoint/2010/main" val="3521721021"/>
              </p:ext>
            </p:extLst>
          </p:nvPr>
        </p:nvGraphicFramePr>
        <p:xfrm>
          <a:off x="803411" y="5445224"/>
          <a:ext cx="10192390" cy="975360"/>
        </p:xfrm>
        <a:graphic>
          <a:graphicData uri="http://schemas.openxmlformats.org/drawingml/2006/table">
            <a:tbl>
              <a:tblPr firstRow="1" bandRow="1">
                <a:tableStyleId>{5C22544A-7EE6-4342-B048-85BDC9FD1C3A}</a:tableStyleId>
              </a:tblPr>
              <a:tblGrid>
                <a:gridCol w="468053">
                  <a:extLst>
                    <a:ext uri="{9D8B030D-6E8A-4147-A177-3AD203B41FA5}">
                      <a16:colId xmlns:a16="http://schemas.microsoft.com/office/drawing/2014/main" val="1253974789"/>
                    </a:ext>
                  </a:extLst>
                </a:gridCol>
                <a:gridCol w="2016224">
                  <a:extLst>
                    <a:ext uri="{9D8B030D-6E8A-4147-A177-3AD203B41FA5}">
                      <a16:colId xmlns:a16="http://schemas.microsoft.com/office/drawing/2014/main" val="928918819"/>
                    </a:ext>
                  </a:extLst>
                </a:gridCol>
                <a:gridCol w="1008112">
                  <a:extLst>
                    <a:ext uri="{9D8B030D-6E8A-4147-A177-3AD203B41FA5}">
                      <a16:colId xmlns:a16="http://schemas.microsoft.com/office/drawing/2014/main" val="1146916631"/>
                    </a:ext>
                  </a:extLst>
                </a:gridCol>
                <a:gridCol w="2631549">
                  <a:extLst>
                    <a:ext uri="{9D8B030D-6E8A-4147-A177-3AD203B41FA5}">
                      <a16:colId xmlns:a16="http://schemas.microsoft.com/office/drawing/2014/main" val="773404405"/>
                    </a:ext>
                  </a:extLst>
                </a:gridCol>
                <a:gridCol w="1224136">
                  <a:extLst>
                    <a:ext uri="{9D8B030D-6E8A-4147-A177-3AD203B41FA5}">
                      <a16:colId xmlns:a16="http://schemas.microsoft.com/office/drawing/2014/main" val="2922466025"/>
                    </a:ext>
                  </a:extLst>
                </a:gridCol>
                <a:gridCol w="1146985">
                  <a:extLst>
                    <a:ext uri="{9D8B030D-6E8A-4147-A177-3AD203B41FA5}">
                      <a16:colId xmlns:a16="http://schemas.microsoft.com/office/drawing/2014/main" val="3890743557"/>
                    </a:ext>
                  </a:extLst>
                </a:gridCol>
                <a:gridCol w="1697331">
                  <a:extLst>
                    <a:ext uri="{9D8B030D-6E8A-4147-A177-3AD203B41FA5}">
                      <a16:colId xmlns:a16="http://schemas.microsoft.com/office/drawing/2014/main" val="1343101375"/>
                    </a:ext>
                  </a:extLst>
                </a:gridCol>
              </a:tblGrid>
              <a:tr h="370840">
                <a:tc>
                  <a:txBody>
                    <a:bodyPr/>
                    <a:lstStyle/>
                    <a:p>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Production</a:t>
                      </a:r>
                    </a:p>
                  </a:txBody>
                  <a:tcPr/>
                </a:tc>
                <a:tc>
                  <a:txBody>
                    <a:bodyPr/>
                    <a:lstStyle/>
                    <a:p>
                      <a:r>
                        <a:rPr lang="en-US" sz="1400" dirty="0">
                          <a:latin typeface="Verdana" panose="020B0604030504040204" pitchFamily="34" charset="0"/>
                          <a:ea typeface="Verdana" panose="020B0604030504040204" pitchFamily="34" charset="0"/>
                        </a:rPr>
                        <a:t>CO Volume</a:t>
                      </a:r>
                    </a:p>
                  </a:txBody>
                  <a:tcPr/>
                </a:tc>
                <a:tc>
                  <a:txBody>
                    <a:bodyPr/>
                    <a:lstStyle/>
                    <a:p>
                      <a:r>
                        <a:rPr lang="en-US" sz="1400" dirty="0" smtClean="0">
                          <a:latin typeface="Verdana" panose="020B0604030504040204" pitchFamily="34" charset="0"/>
                          <a:ea typeface="Verdana" panose="020B0604030504040204" pitchFamily="34" charset="0"/>
                        </a:rPr>
                        <a:t>ETA</a:t>
                      </a:r>
                      <a:r>
                        <a:rPr lang="en-US" sz="1400" baseline="0" dirty="0" smtClean="0">
                          <a:latin typeface="Verdana" panose="020B0604030504040204" pitchFamily="34" charset="0"/>
                          <a:ea typeface="Verdana" panose="020B0604030504040204" pitchFamily="34" charset="0"/>
                        </a:rPr>
                        <a:t> CO</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a:t>
                      </a:r>
                      <a:r>
                        <a:rPr lang="en-US" sz="1400" baseline="0" dirty="0">
                          <a:latin typeface="Verdana" panose="020B0604030504040204" pitchFamily="34" charset="0"/>
                          <a:ea typeface="Verdana" panose="020B0604030504040204" pitchFamily="34" charset="0"/>
                        </a:rPr>
                        <a:t> metal Carbon</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Input</a:t>
                      </a:r>
                      <a:r>
                        <a:rPr lang="en-US" sz="1400" baseline="0" dirty="0">
                          <a:latin typeface="Verdana" panose="020B0604030504040204" pitchFamily="34" charset="0"/>
                          <a:ea typeface="Verdana" panose="020B0604030504040204" pitchFamily="34" charset="0"/>
                        </a:rPr>
                        <a:t> Energy</a:t>
                      </a:r>
                      <a:endParaRPr lang="en-US" sz="1400" dirty="0">
                        <a:latin typeface="Verdana" panose="020B0604030504040204" pitchFamily="34" charset="0"/>
                        <a:ea typeface="Verdana" panose="020B0604030504040204" pitchFamily="34" charset="0"/>
                      </a:endParaRPr>
                    </a:p>
                  </a:txBody>
                  <a:tcPr/>
                </a:tc>
                <a:tc>
                  <a:txBody>
                    <a:bodyPr/>
                    <a:lstStyle/>
                    <a:p>
                      <a:r>
                        <a:rPr lang="en-US" sz="1400">
                          <a:latin typeface="Verdana" panose="020B0604030504040204" pitchFamily="34" charset="0"/>
                          <a:ea typeface="Verdana" panose="020B0604030504040204" pitchFamily="34" charset="0"/>
                        </a:rPr>
                        <a:t>Hot metal</a:t>
                      </a:r>
                    </a:p>
                    <a:p>
                      <a:r>
                        <a:rPr lang="en-US" sz="140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98971143"/>
                  </a:ext>
                </a:extLst>
              </a:tr>
              <a:tr h="370840">
                <a:tc>
                  <a:txBody>
                    <a:bodyPr/>
                    <a:lstStyle/>
                    <a:p>
                      <a:r>
                        <a:rPr lang="en-US" sz="1200" dirty="0" smtClean="0">
                          <a:latin typeface="Verdana" panose="020B0604030504040204" pitchFamily="34" charset="0"/>
                          <a:ea typeface="Verdana" panose="020B0604030504040204" pitchFamily="34" charset="0"/>
                        </a:rPr>
                        <a:t>O</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 </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5-290</a:t>
                      </a:r>
                    </a:p>
                    <a:p>
                      <a:r>
                        <a:rPr lang="en-US" sz="1200" dirty="0" smtClean="0">
                          <a:latin typeface="Verdana" panose="020B0604030504040204" pitchFamily="34" charset="0"/>
                          <a:ea typeface="Verdana" panose="020B0604030504040204" pitchFamily="34" charset="0"/>
                        </a:rPr>
                        <a:t>O</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lt;=-0.026*HMP+542</a:t>
                      </a:r>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200" dirty="0" smtClean="0">
                          <a:latin typeface="Verdana" panose="020B0604030504040204" pitchFamily="34" charset="0"/>
                          <a:ea typeface="Verdana" panose="020B0604030504040204" pitchFamily="34" charset="0"/>
                        </a:rPr>
                        <a:t>263-287</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4-290</a:t>
                      </a:r>
                    </a:p>
                    <a:p>
                      <a:r>
                        <a:rPr lang="en-US" sz="1200" dirty="0" smtClean="0">
                          <a:latin typeface="Verdana" panose="020B0604030504040204" pitchFamily="34" charset="0"/>
                          <a:ea typeface="Verdana" panose="020B0604030504040204" pitchFamily="34" charset="0"/>
                        </a:rPr>
                        <a:t>O2&lt;=785.2*ETACO-116.45</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0-300</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265-285</a:t>
                      </a:r>
                    </a:p>
                  </a:txBody>
                  <a:tcPr/>
                </a:tc>
                <a:tc>
                  <a:txBody>
                    <a:bodyPr/>
                    <a:lstStyle/>
                    <a:p>
                      <a:r>
                        <a:rPr lang="en-US" sz="1200" dirty="0">
                          <a:latin typeface="Verdana" panose="020B0604030504040204" pitchFamily="34" charset="0"/>
                          <a:ea typeface="Verdana" panose="020B0604030504040204" pitchFamily="34" charset="0"/>
                        </a:rPr>
                        <a:t>265-295</a:t>
                      </a:r>
                    </a:p>
                  </a:txBody>
                  <a:tcPr/>
                </a:tc>
                <a:extLst>
                  <a:ext uri="{0D108BD9-81ED-4DB2-BD59-A6C34878D82A}">
                    <a16:rowId xmlns:a16="http://schemas.microsoft.com/office/drawing/2014/main" val="3983162445"/>
                  </a:ext>
                </a:extLst>
              </a:tr>
            </a:tbl>
          </a:graphicData>
        </a:graphic>
      </p:graphicFrame>
      <p:graphicFrame>
        <p:nvGraphicFramePr>
          <p:cNvPr id="15" name="Chart 14"/>
          <p:cNvGraphicFramePr>
            <a:graphicFrameLocks/>
          </p:cNvGraphicFramePr>
          <p:nvPr>
            <p:extLst>
              <p:ext uri="{D42A27DB-BD31-4B8C-83A1-F6EECF244321}">
                <p14:modId xmlns:p14="http://schemas.microsoft.com/office/powerpoint/2010/main" val="1760163405"/>
              </p:ext>
            </p:extLst>
          </p:nvPr>
        </p:nvGraphicFramePr>
        <p:xfrm>
          <a:off x="713357" y="1035848"/>
          <a:ext cx="3646531" cy="20329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p:cNvGraphicFramePr>
            <a:graphicFrameLocks/>
          </p:cNvGraphicFramePr>
          <p:nvPr>
            <p:extLst>
              <p:ext uri="{D42A27DB-BD31-4B8C-83A1-F6EECF244321}">
                <p14:modId xmlns:p14="http://schemas.microsoft.com/office/powerpoint/2010/main" val="3201939884"/>
              </p:ext>
            </p:extLst>
          </p:nvPr>
        </p:nvGraphicFramePr>
        <p:xfrm>
          <a:off x="8539665" y="3100304"/>
          <a:ext cx="3388983" cy="20295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2821703385"/>
              </p:ext>
            </p:extLst>
          </p:nvPr>
        </p:nvGraphicFramePr>
        <p:xfrm>
          <a:off x="713357" y="3154260"/>
          <a:ext cx="3672409" cy="196725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p:cNvGraphicFramePr>
            <a:graphicFrameLocks/>
          </p:cNvGraphicFramePr>
          <p:nvPr>
            <p:extLst>
              <p:ext uri="{D42A27DB-BD31-4B8C-83A1-F6EECF244321}">
                <p14:modId xmlns:p14="http://schemas.microsoft.com/office/powerpoint/2010/main" val="2199107627"/>
              </p:ext>
            </p:extLst>
          </p:nvPr>
        </p:nvGraphicFramePr>
        <p:xfrm>
          <a:off x="4507272" y="3122910"/>
          <a:ext cx="3848056" cy="19986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20"/>
          <p:cNvGraphicFramePr>
            <a:graphicFrameLocks/>
          </p:cNvGraphicFramePr>
          <p:nvPr>
            <p:extLst>
              <p:ext uri="{D42A27DB-BD31-4B8C-83A1-F6EECF244321}">
                <p14:modId xmlns:p14="http://schemas.microsoft.com/office/powerpoint/2010/main" val="2120117893"/>
              </p:ext>
            </p:extLst>
          </p:nvPr>
        </p:nvGraphicFramePr>
        <p:xfrm>
          <a:off x="4507271" y="1038868"/>
          <a:ext cx="3851031" cy="1992852"/>
        </p:xfrm>
        <a:graphic>
          <a:graphicData uri="http://schemas.openxmlformats.org/drawingml/2006/chart">
            <c:chart xmlns:c="http://schemas.openxmlformats.org/drawingml/2006/chart" xmlns:r="http://schemas.openxmlformats.org/officeDocument/2006/relationships" r:id="rId6"/>
          </a:graphicData>
        </a:graphic>
      </p:graphicFrame>
      <p:cxnSp>
        <p:nvCxnSpPr>
          <p:cNvPr id="4" name="Straight Arrow Connector 3"/>
          <p:cNvCxnSpPr/>
          <p:nvPr/>
        </p:nvCxnSpPr>
        <p:spPr>
          <a:xfrm>
            <a:off x="1271464" y="1773620"/>
            <a:ext cx="2922849" cy="293719"/>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204904" y="2240761"/>
            <a:ext cx="2984104" cy="70222"/>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5062626" y="1562362"/>
            <a:ext cx="3124938" cy="600587"/>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4972255" y="4167908"/>
            <a:ext cx="3215309" cy="629245"/>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685982" y="3933056"/>
            <a:ext cx="3242665" cy="0"/>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12822" y="4725144"/>
            <a:ext cx="3242665" cy="0"/>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30" name="Chart 29"/>
          <p:cNvGraphicFramePr>
            <a:graphicFrameLocks/>
          </p:cNvGraphicFramePr>
          <p:nvPr>
            <p:extLst>
              <p:ext uri="{D42A27DB-BD31-4B8C-83A1-F6EECF244321}">
                <p14:modId xmlns:p14="http://schemas.microsoft.com/office/powerpoint/2010/main" val="69549406"/>
              </p:ext>
            </p:extLst>
          </p:nvPr>
        </p:nvGraphicFramePr>
        <p:xfrm>
          <a:off x="8539665" y="1054755"/>
          <a:ext cx="3315825" cy="1995106"/>
        </p:xfrm>
        <a:graphic>
          <a:graphicData uri="http://schemas.openxmlformats.org/drawingml/2006/chart">
            <c:chart xmlns:c="http://schemas.openxmlformats.org/drawingml/2006/chart" xmlns:r="http://schemas.openxmlformats.org/officeDocument/2006/relationships" r:id="rId7"/>
          </a:graphicData>
        </a:graphic>
      </p:graphicFrame>
      <p:cxnSp>
        <p:nvCxnSpPr>
          <p:cNvPr id="31" name="Straight Arrow Connector 30"/>
          <p:cNvCxnSpPr/>
          <p:nvPr/>
        </p:nvCxnSpPr>
        <p:spPr>
          <a:xfrm flipV="1">
            <a:off x="8742919" y="1747648"/>
            <a:ext cx="2897697" cy="433131"/>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807733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
          </p:nvPr>
        </p:nvSpPr>
        <p:spPr>
          <a:xfrm>
            <a:off x="1127448" y="1340768"/>
            <a:ext cx="9505056" cy="553998"/>
          </a:xfrm>
        </p:spPr>
        <p:txBody>
          <a:bodyPr/>
          <a:lstStyle/>
          <a:p>
            <a:r>
              <a:rPr lang="en-US" dirty="0"/>
              <a:t/>
            </a:r>
            <a:br>
              <a:rPr lang="en-US" dirty="0"/>
            </a:br>
            <a:endParaRPr lang="en-US" dirty="0"/>
          </a:p>
        </p:txBody>
      </p:sp>
      <p:sp>
        <p:nvSpPr>
          <p:cNvPr id="5" name="Text Box 5"/>
          <p:cNvSpPr txBox="1">
            <a:spLocks noChangeArrowheads="1"/>
          </p:cNvSpPr>
          <p:nvPr/>
        </p:nvSpPr>
        <p:spPr bwMode="auto">
          <a:xfrm>
            <a:off x="3575720" y="260648"/>
            <a:ext cx="8034565"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nstraints on </a:t>
            </a:r>
            <a:r>
              <a:rPr lang="en-IN" sz="2400" b="1" dirty="0" smtClean="0">
                <a:solidFill>
                  <a:srgbClr val="003399"/>
                </a:solidFill>
                <a:latin typeface="Verdana" panose="020B0604030504040204" pitchFamily="34" charset="0"/>
                <a:ea typeface="Verdana" panose="020B0604030504040204" pitchFamily="34" charset="0"/>
              </a:rPr>
              <a:t>Nitrogen (N</a:t>
            </a:r>
            <a:r>
              <a:rPr lang="en-IN" sz="2400" b="1" baseline="-25000" dirty="0" smtClean="0">
                <a:solidFill>
                  <a:srgbClr val="003399"/>
                </a:solidFill>
                <a:latin typeface="Verdana" panose="020B0604030504040204" pitchFamily="34" charset="0"/>
                <a:ea typeface="Verdana" panose="020B0604030504040204" pitchFamily="34" charset="0"/>
              </a:rPr>
              <a:t>2</a:t>
            </a:r>
            <a:r>
              <a:rPr lang="en-IN" sz="2400" b="1" dirty="0" smtClean="0">
                <a:solidFill>
                  <a:srgbClr val="003399"/>
                </a:solidFill>
                <a:latin typeface="Verdana" panose="020B0604030504040204" pitchFamily="34" charset="0"/>
                <a:ea typeface="Verdana" panose="020B0604030504040204" pitchFamily="34" charset="0"/>
              </a:rPr>
              <a:t>)</a:t>
            </a:r>
            <a:endParaRPr lang="en-IN" sz="2400" b="1" dirty="0">
              <a:solidFill>
                <a:srgbClr val="003399"/>
              </a:solidFill>
              <a:latin typeface="Verdana" panose="020B0604030504040204" pitchFamily="34" charset="0"/>
              <a:ea typeface="Verdana" panose="020B0604030504040204" pitchFamily="34" charset="0"/>
            </a:endParaRPr>
          </a:p>
        </p:txBody>
      </p:sp>
      <p:cxnSp>
        <p:nvCxnSpPr>
          <p:cNvPr id="6" name="Straight Connector 5"/>
          <p:cNvCxnSpPr/>
          <p:nvPr/>
        </p:nvCxnSpPr>
        <p:spPr>
          <a:xfrm rot="10800000">
            <a:off x="2854365" y="851917"/>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2455071410"/>
              </p:ext>
            </p:extLst>
          </p:nvPr>
        </p:nvGraphicFramePr>
        <p:xfrm>
          <a:off x="875418" y="5163998"/>
          <a:ext cx="10189136" cy="1158240"/>
        </p:xfrm>
        <a:graphic>
          <a:graphicData uri="http://schemas.openxmlformats.org/drawingml/2006/table">
            <a:tbl>
              <a:tblPr firstRow="1" bandRow="1">
                <a:tableStyleId>{5C22544A-7EE6-4342-B048-85BDC9FD1C3A}</a:tableStyleId>
              </a:tblPr>
              <a:tblGrid>
                <a:gridCol w="396046">
                  <a:extLst>
                    <a:ext uri="{9D8B030D-6E8A-4147-A177-3AD203B41FA5}">
                      <a16:colId xmlns:a16="http://schemas.microsoft.com/office/drawing/2014/main" val="1253974789"/>
                    </a:ext>
                  </a:extLst>
                </a:gridCol>
                <a:gridCol w="2232248">
                  <a:extLst>
                    <a:ext uri="{9D8B030D-6E8A-4147-A177-3AD203B41FA5}">
                      <a16:colId xmlns:a16="http://schemas.microsoft.com/office/drawing/2014/main" val="928918819"/>
                    </a:ext>
                  </a:extLst>
                </a:gridCol>
                <a:gridCol w="1080120">
                  <a:extLst>
                    <a:ext uri="{9D8B030D-6E8A-4147-A177-3AD203B41FA5}">
                      <a16:colId xmlns:a16="http://schemas.microsoft.com/office/drawing/2014/main" val="1146916631"/>
                    </a:ext>
                  </a:extLst>
                </a:gridCol>
                <a:gridCol w="2529838">
                  <a:extLst>
                    <a:ext uri="{9D8B030D-6E8A-4147-A177-3AD203B41FA5}">
                      <a16:colId xmlns:a16="http://schemas.microsoft.com/office/drawing/2014/main" val="773404405"/>
                    </a:ext>
                  </a:extLst>
                </a:gridCol>
                <a:gridCol w="1319456">
                  <a:extLst>
                    <a:ext uri="{9D8B030D-6E8A-4147-A177-3AD203B41FA5}">
                      <a16:colId xmlns:a16="http://schemas.microsoft.com/office/drawing/2014/main" val="2922466025"/>
                    </a:ext>
                  </a:extLst>
                </a:gridCol>
                <a:gridCol w="1047250">
                  <a:extLst>
                    <a:ext uri="{9D8B030D-6E8A-4147-A177-3AD203B41FA5}">
                      <a16:colId xmlns:a16="http://schemas.microsoft.com/office/drawing/2014/main" val="3890743557"/>
                    </a:ext>
                  </a:extLst>
                </a:gridCol>
                <a:gridCol w="1584178">
                  <a:extLst>
                    <a:ext uri="{9D8B030D-6E8A-4147-A177-3AD203B41FA5}">
                      <a16:colId xmlns:a16="http://schemas.microsoft.com/office/drawing/2014/main" val="1343101375"/>
                    </a:ext>
                  </a:extLst>
                </a:gridCol>
              </a:tblGrid>
              <a:tr h="370840">
                <a:tc>
                  <a:txBody>
                    <a:bodyPr/>
                    <a:lstStyle/>
                    <a:p>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Production</a:t>
                      </a:r>
                    </a:p>
                  </a:txBody>
                  <a:tcPr/>
                </a:tc>
                <a:tc>
                  <a:txBody>
                    <a:bodyPr/>
                    <a:lstStyle/>
                    <a:p>
                      <a:r>
                        <a:rPr lang="en-US" sz="1400">
                          <a:latin typeface="Verdana" panose="020B0604030504040204" pitchFamily="34" charset="0"/>
                          <a:ea typeface="Verdana" panose="020B0604030504040204" pitchFamily="34" charset="0"/>
                        </a:rPr>
                        <a:t>CO Volume</a:t>
                      </a:r>
                    </a:p>
                  </a:txBody>
                  <a:tcPr/>
                </a:tc>
                <a:tc>
                  <a:txBody>
                    <a:bodyPr/>
                    <a:lstStyle/>
                    <a:p>
                      <a:r>
                        <a:rPr lang="en-US" sz="1400" dirty="0" smtClean="0">
                          <a:latin typeface="Verdana" panose="020B0604030504040204" pitchFamily="34" charset="0"/>
                          <a:ea typeface="Verdana" panose="020B0604030504040204" pitchFamily="34" charset="0"/>
                        </a:rPr>
                        <a:t>ETA</a:t>
                      </a:r>
                      <a:r>
                        <a:rPr lang="en-US" sz="1400" baseline="0" dirty="0" smtClean="0">
                          <a:latin typeface="Verdana" panose="020B0604030504040204" pitchFamily="34" charset="0"/>
                          <a:ea typeface="Verdana" panose="020B0604030504040204" pitchFamily="34" charset="0"/>
                        </a:rPr>
                        <a:t> CO</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a:t>
                      </a:r>
                      <a:r>
                        <a:rPr lang="en-US" sz="1400" baseline="0" dirty="0">
                          <a:latin typeface="Verdana" panose="020B0604030504040204" pitchFamily="34" charset="0"/>
                          <a:ea typeface="Verdana" panose="020B0604030504040204" pitchFamily="34" charset="0"/>
                        </a:rPr>
                        <a:t> metal Carbon</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Input</a:t>
                      </a:r>
                      <a:r>
                        <a:rPr lang="en-US" sz="1400" baseline="0" dirty="0">
                          <a:latin typeface="Verdana" panose="020B0604030504040204" pitchFamily="34" charset="0"/>
                          <a:ea typeface="Verdana" panose="020B0604030504040204" pitchFamily="34" charset="0"/>
                        </a:rPr>
                        <a:t> Energy</a:t>
                      </a:r>
                      <a:endParaRPr lang="en-US" sz="1400" dirty="0">
                        <a:latin typeface="Verdana" panose="020B0604030504040204" pitchFamily="34" charset="0"/>
                        <a:ea typeface="Verdana" panose="020B0604030504040204" pitchFamily="34" charset="0"/>
                      </a:endParaRPr>
                    </a:p>
                  </a:txBody>
                  <a:tcPr/>
                </a:tc>
                <a:tc>
                  <a:txBody>
                    <a:bodyPr/>
                    <a:lstStyle/>
                    <a:p>
                      <a:r>
                        <a:rPr lang="en-US" sz="1400">
                          <a:latin typeface="Verdana" panose="020B0604030504040204" pitchFamily="34" charset="0"/>
                          <a:ea typeface="Verdana" panose="020B0604030504040204" pitchFamily="34" charset="0"/>
                        </a:rPr>
                        <a:t>Hot metal</a:t>
                      </a:r>
                    </a:p>
                    <a:p>
                      <a:r>
                        <a:rPr lang="en-US" sz="140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98971143"/>
                  </a:ext>
                </a:extLst>
              </a:tr>
              <a:tr h="370840">
                <a:tc>
                  <a:txBody>
                    <a:bodyPr/>
                    <a:lstStyle/>
                    <a:p>
                      <a:r>
                        <a:rPr lang="en-US" sz="1200" dirty="0">
                          <a:latin typeface="Verdana" panose="020B0604030504040204" pitchFamily="34" charset="0"/>
                          <a:ea typeface="Verdana" panose="020B0604030504040204" pitchFamily="34" charset="0"/>
                        </a:rPr>
                        <a:t>N</a:t>
                      </a:r>
                      <a:r>
                        <a:rPr lang="en-US" sz="1200" baseline="-25000" dirty="0">
                          <a:latin typeface="Verdana" panose="020B0604030504040204" pitchFamily="34" charset="0"/>
                          <a:ea typeface="Verdana" panose="020B0604030504040204" pitchFamily="34" charset="0"/>
                        </a:rPr>
                        <a:t>2</a:t>
                      </a:r>
                    </a:p>
                  </a:txBody>
                  <a:tcPr/>
                </a:tc>
                <a:tc>
                  <a:txBody>
                    <a:bodyPr/>
                    <a:lstStyle/>
                    <a:p>
                      <a:r>
                        <a:rPr lang="en-US" sz="1200" dirty="0" smtClean="0">
                          <a:latin typeface="Verdana" panose="020B0604030504040204" pitchFamily="34" charset="0"/>
                          <a:ea typeface="Verdana" panose="020B0604030504040204" pitchFamily="34" charset="0"/>
                        </a:rPr>
                        <a:t>620-665</a:t>
                      </a:r>
                    </a:p>
                    <a:p>
                      <a:r>
                        <a:rPr lang="en-US" sz="1200" dirty="0" smtClean="0">
                          <a:latin typeface="Verdana" panose="020B0604030504040204" pitchFamily="34" charset="0"/>
                          <a:ea typeface="Verdana" panose="020B0604030504040204" pitchFamily="34" charset="0"/>
                        </a:rPr>
                        <a:t>N</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lt;=-0.063*HMP+1267</a:t>
                      </a:r>
                    </a:p>
                    <a:p>
                      <a:r>
                        <a:rPr lang="en-US" sz="1200" dirty="0" smtClean="0">
                          <a:latin typeface="Verdana" panose="020B0604030504040204" pitchFamily="34" charset="0"/>
                          <a:ea typeface="Verdana" panose="020B0604030504040204" pitchFamily="34" charset="0"/>
                        </a:rPr>
                        <a:t>N</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gt;=-0.0465*HMP+1089</a:t>
                      </a:r>
                      <a:endParaRPr lang="en-US" sz="1200" dirty="0">
                        <a:latin typeface="Verdana" panose="020B0604030504040204" pitchFamily="34" charset="0"/>
                        <a:ea typeface="Verdana" panose="020B0604030504040204" pitchFamily="34" charset="0"/>
                      </a:endParaRPr>
                    </a:p>
                  </a:txBody>
                  <a:tcPr/>
                </a:tc>
                <a:tc>
                  <a:txBody>
                    <a:bodyPr/>
                    <a:lstStyle/>
                    <a:p>
                      <a:r>
                        <a:rPr lang="en-US" sz="1200">
                          <a:latin typeface="Verdana" panose="020B0604030504040204" pitchFamily="34" charset="0"/>
                          <a:ea typeface="Verdana" panose="020B0604030504040204" pitchFamily="34" charset="0"/>
                        </a:rPr>
                        <a:t>No Relation</a:t>
                      </a:r>
                    </a:p>
                  </a:txBody>
                  <a:tcPr/>
                </a:tc>
                <a:tc>
                  <a:txBody>
                    <a:bodyPr/>
                    <a:lstStyle/>
                    <a:p>
                      <a:r>
                        <a:rPr lang="en-US" sz="1200" dirty="0" smtClean="0">
                          <a:latin typeface="Verdana" panose="020B0604030504040204" pitchFamily="34" charset="0"/>
                          <a:ea typeface="Verdana" panose="020B0604030504040204" pitchFamily="34" charset="0"/>
                        </a:rPr>
                        <a:t>618-670</a:t>
                      </a:r>
                    </a:p>
                    <a:p>
                      <a:r>
                        <a:rPr lang="en-US" sz="1200" dirty="0" smtClean="0">
                          <a:latin typeface="Verdana" panose="020B0604030504040204" pitchFamily="34" charset="0"/>
                          <a:ea typeface="Verdana" panose="020B0604030504040204" pitchFamily="34" charset="0"/>
                        </a:rPr>
                        <a:t>N2&lt;=3506.9*ETACO-1120.3</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620-690</a:t>
                      </a:r>
                    </a:p>
                  </a:txBody>
                  <a:tcPr/>
                </a:tc>
                <a:tc>
                  <a:txBody>
                    <a:bodyPr/>
                    <a:lstStyle/>
                    <a:p>
                      <a:r>
                        <a:rPr lang="en-US" sz="1200" dirty="0">
                          <a:latin typeface="Verdana" panose="020B0604030504040204" pitchFamily="34" charset="0"/>
                          <a:ea typeface="Verdana" panose="020B0604030504040204" pitchFamily="34" charset="0"/>
                        </a:rPr>
                        <a:t>615-665</a:t>
                      </a:r>
                    </a:p>
                  </a:txBody>
                  <a:tcPr/>
                </a:tc>
                <a:tc>
                  <a:txBody>
                    <a:bodyPr/>
                    <a:lstStyle/>
                    <a:p>
                      <a:r>
                        <a:rPr lang="en-US" sz="12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3983162445"/>
                  </a:ext>
                </a:extLst>
              </a:tr>
            </a:tbl>
          </a:graphicData>
        </a:graphic>
      </p:graphicFrame>
      <p:graphicFrame>
        <p:nvGraphicFramePr>
          <p:cNvPr id="13" name="Chart 12"/>
          <p:cNvGraphicFramePr>
            <a:graphicFrameLocks/>
          </p:cNvGraphicFramePr>
          <p:nvPr>
            <p:extLst>
              <p:ext uri="{D42A27DB-BD31-4B8C-83A1-F6EECF244321}">
                <p14:modId xmlns:p14="http://schemas.microsoft.com/office/powerpoint/2010/main" val="2541450311"/>
              </p:ext>
            </p:extLst>
          </p:nvPr>
        </p:nvGraphicFramePr>
        <p:xfrm>
          <a:off x="1023202" y="2995000"/>
          <a:ext cx="3416613" cy="19774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p:cNvGraphicFramePr>
            <a:graphicFrameLocks/>
          </p:cNvGraphicFramePr>
          <p:nvPr>
            <p:extLst>
              <p:ext uri="{D42A27DB-BD31-4B8C-83A1-F6EECF244321}">
                <p14:modId xmlns:p14="http://schemas.microsoft.com/office/powerpoint/2010/main" val="1056030926"/>
              </p:ext>
            </p:extLst>
          </p:nvPr>
        </p:nvGraphicFramePr>
        <p:xfrm>
          <a:off x="8472263" y="3056711"/>
          <a:ext cx="2976841" cy="19157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1283771068"/>
              </p:ext>
            </p:extLst>
          </p:nvPr>
        </p:nvGraphicFramePr>
        <p:xfrm>
          <a:off x="983432" y="1069417"/>
          <a:ext cx="3456384" cy="17957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p:cNvGraphicFramePr>
            <a:graphicFrameLocks/>
          </p:cNvGraphicFramePr>
          <p:nvPr>
            <p:extLst>
              <p:ext uri="{D42A27DB-BD31-4B8C-83A1-F6EECF244321}">
                <p14:modId xmlns:p14="http://schemas.microsoft.com/office/powerpoint/2010/main" val="2454098262"/>
              </p:ext>
            </p:extLst>
          </p:nvPr>
        </p:nvGraphicFramePr>
        <p:xfrm>
          <a:off x="4558748" y="3036399"/>
          <a:ext cx="3636404" cy="19360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Chart 19"/>
          <p:cNvGraphicFramePr>
            <a:graphicFrameLocks/>
          </p:cNvGraphicFramePr>
          <p:nvPr>
            <p:extLst>
              <p:ext uri="{D42A27DB-BD31-4B8C-83A1-F6EECF244321}">
                <p14:modId xmlns:p14="http://schemas.microsoft.com/office/powerpoint/2010/main" val="2775216749"/>
              </p:ext>
            </p:extLst>
          </p:nvPr>
        </p:nvGraphicFramePr>
        <p:xfrm>
          <a:off x="4558748" y="1081502"/>
          <a:ext cx="3636404" cy="1789712"/>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Arrow Connector 6"/>
          <p:cNvCxnSpPr/>
          <p:nvPr/>
        </p:nvCxnSpPr>
        <p:spPr>
          <a:xfrm>
            <a:off x="1462404" y="1689575"/>
            <a:ext cx="3024336" cy="842204"/>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1429787" y="2142212"/>
            <a:ext cx="2877773" cy="503565"/>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5159896" y="3843506"/>
            <a:ext cx="2808312" cy="441549"/>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5273368" y="4285055"/>
            <a:ext cx="2808312" cy="441549"/>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27" name="Chart 26"/>
          <p:cNvGraphicFramePr>
            <a:graphicFrameLocks/>
          </p:cNvGraphicFramePr>
          <p:nvPr>
            <p:extLst>
              <p:ext uri="{D42A27DB-BD31-4B8C-83A1-F6EECF244321}">
                <p14:modId xmlns:p14="http://schemas.microsoft.com/office/powerpoint/2010/main" val="2305697769"/>
              </p:ext>
            </p:extLst>
          </p:nvPr>
        </p:nvGraphicFramePr>
        <p:xfrm>
          <a:off x="8472263" y="1081502"/>
          <a:ext cx="2976841" cy="1783630"/>
        </p:xfrm>
        <a:graphic>
          <a:graphicData uri="http://schemas.openxmlformats.org/drawingml/2006/chart">
            <c:chart xmlns:c="http://schemas.openxmlformats.org/drawingml/2006/chart" xmlns:r="http://schemas.openxmlformats.org/officeDocument/2006/relationships" r:id="rId7"/>
          </a:graphicData>
        </a:graphic>
      </p:graphicFrame>
      <p:cxnSp>
        <p:nvCxnSpPr>
          <p:cNvPr id="28" name="Straight Arrow Connector 27"/>
          <p:cNvCxnSpPr/>
          <p:nvPr/>
        </p:nvCxnSpPr>
        <p:spPr>
          <a:xfrm flipH="1">
            <a:off x="8616281" y="1794752"/>
            <a:ext cx="2647459" cy="599242"/>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70867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3272451" y="133385"/>
            <a:ext cx="8034565" cy="523216"/>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nstraints on Hot blast temperature</a:t>
            </a:r>
            <a:r>
              <a:rPr lang="en-IN" sz="2800" dirty="0">
                <a:solidFill>
                  <a:schemeClr val="tx2"/>
                </a:solidFill>
                <a:latin typeface="Arial"/>
                <a:ea typeface="+mj-ea"/>
                <a:cs typeface="Arial"/>
              </a:rPr>
              <a:t> </a:t>
            </a:r>
          </a:p>
        </p:txBody>
      </p:sp>
      <p:cxnSp>
        <p:nvCxnSpPr>
          <p:cNvPr id="6" name="Straight Connector 5"/>
          <p:cNvCxnSpPr/>
          <p:nvPr/>
        </p:nvCxnSpPr>
        <p:spPr>
          <a:xfrm rot="10800000">
            <a:off x="3003855" y="651606"/>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829310780"/>
              </p:ext>
            </p:extLst>
          </p:nvPr>
        </p:nvGraphicFramePr>
        <p:xfrm>
          <a:off x="1262471" y="5229200"/>
          <a:ext cx="10009115" cy="975360"/>
        </p:xfrm>
        <a:graphic>
          <a:graphicData uri="http://schemas.openxmlformats.org/drawingml/2006/table">
            <a:tbl>
              <a:tblPr firstRow="1" bandRow="1">
                <a:tableStyleId>{5C22544A-7EE6-4342-B048-85BDC9FD1C3A}</a:tableStyleId>
              </a:tblPr>
              <a:tblGrid>
                <a:gridCol w="1944218">
                  <a:extLst>
                    <a:ext uri="{9D8B030D-6E8A-4147-A177-3AD203B41FA5}">
                      <a16:colId xmlns:a16="http://schemas.microsoft.com/office/drawing/2014/main" val="1253974789"/>
                    </a:ext>
                  </a:extLst>
                </a:gridCol>
                <a:gridCol w="2088232">
                  <a:extLst>
                    <a:ext uri="{9D8B030D-6E8A-4147-A177-3AD203B41FA5}">
                      <a16:colId xmlns:a16="http://schemas.microsoft.com/office/drawing/2014/main" val="928918819"/>
                    </a:ext>
                  </a:extLst>
                </a:gridCol>
                <a:gridCol w="1008112">
                  <a:extLst>
                    <a:ext uri="{9D8B030D-6E8A-4147-A177-3AD203B41FA5}">
                      <a16:colId xmlns:a16="http://schemas.microsoft.com/office/drawing/2014/main" val="1146916631"/>
                    </a:ext>
                  </a:extLst>
                </a:gridCol>
                <a:gridCol w="1224136">
                  <a:extLst>
                    <a:ext uri="{9D8B030D-6E8A-4147-A177-3AD203B41FA5}">
                      <a16:colId xmlns:a16="http://schemas.microsoft.com/office/drawing/2014/main" val="773404405"/>
                    </a:ext>
                  </a:extLst>
                </a:gridCol>
                <a:gridCol w="1296144">
                  <a:extLst>
                    <a:ext uri="{9D8B030D-6E8A-4147-A177-3AD203B41FA5}">
                      <a16:colId xmlns:a16="http://schemas.microsoft.com/office/drawing/2014/main" val="2922466025"/>
                    </a:ext>
                  </a:extLst>
                </a:gridCol>
                <a:gridCol w="945095">
                  <a:extLst>
                    <a:ext uri="{9D8B030D-6E8A-4147-A177-3AD203B41FA5}">
                      <a16:colId xmlns:a16="http://schemas.microsoft.com/office/drawing/2014/main" val="3890743557"/>
                    </a:ext>
                  </a:extLst>
                </a:gridCol>
                <a:gridCol w="1503178">
                  <a:extLst>
                    <a:ext uri="{9D8B030D-6E8A-4147-A177-3AD203B41FA5}">
                      <a16:colId xmlns:a16="http://schemas.microsoft.com/office/drawing/2014/main" val="1343101375"/>
                    </a:ext>
                  </a:extLst>
                </a:gridCol>
              </a:tblGrid>
              <a:tr h="370840">
                <a:tc>
                  <a:txBody>
                    <a:bodyPr/>
                    <a:lstStyle/>
                    <a:p>
                      <a:endParaRPr lang="en-US" sz="1400" dirty="0">
                        <a:latin typeface="Verdana" panose="020B0604030504040204" pitchFamily="34" charset="0"/>
                        <a:ea typeface="Verdana" panose="020B0604030504040204" pitchFamily="34" charset="0"/>
                      </a:endParaRPr>
                    </a:p>
                  </a:txBody>
                  <a:tcPr/>
                </a:tc>
                <a:tc>
                  <a:txBody>
                    <a:bodyPr/>
                    <a:lstStyle/>
                    <a:p>
                      <a:r>
                        <a:rPr lang="en-US" sz="1400">
                          <a:latin typeface="Verdana" panose="020B0604030504040204" pitchFamily="34" charset="0"/>
                          <a:ea typeface="Verdana" panose="020B0604030504040204" pitchFamily="34" charset="0"/>
                        </a:rPr>
                        <a:t>Hot Metal</a:t>
                      </a:r>
                    </a:p>
                    <a:p>
                      <a:r>
                        <a:rPr lang="en-US" sz="1400">
                          <a:latin typeface="Verdana" panose="020B0604030504040204" pitchFamily="34" charset="0"/>
                          <a:ea typeface="Verdana" panose="020B0604030504040204" pitchFamily="34" charset="0"/>
                        </a:rPr>
                        <a:t>Production</a:t>
                      </a:r>
                    </a:p>
                  </a:txBody>
                  <a:tcPr/>
                </a:tc>
                <a:tc>
                  <a:txBody>
                    <a:bodyPr/>
                    <a:lstStyle/>
                    <a:p>
                      <a:r>
                        <a:rPr lang="en-US" sz="1400">
                          <a:latin typeface="Verdana" panose="020B0604030504040204" pitchFamily="34" charset="0"/>
                          <a:ea typeface="Verdana" panose="020B0604030504040204" pitchFamily="34" charset="0"/>
                        </a:rPr>
                        <a:t>CO Volume</a:t>
                      </a:r>
                    </a:p>
                  </a:txBody>
                  <a:tcPr/>
                </a:tc>
                <a:tc>
                  <a:txBody>
                    <a:bodyPr/>
                    <a:lstStyle/>
                    <a:p>
                      <a:r>
                        <a:rPr lang="en-US" sz="1400" dirty="0" smtClean="0">
                          <a:latin typeface="Verdana" panose="020B0604030504040204" pitchFamily="34" charset="0"/>
                          <a:ea typeface="Verdana" panose="020B0604030504040204" pitchFamily="34" charset="0"/>
                        </a:rPr>
                        <a:t>ETA</a:t>
                      </a:r>
                      <a:r>
                        <a:rPr lang="en-US" sz="1400" baseline="0" dirty="0" smtClean="0">
                          <a:latin typeface="Verdana" panose="020B0604030504040204" pitchFamily="34" charset="0"/>
                          <a:ea typeface="Verdana" panose="020B0604030504040204" pitchFamily="34" charset="0"/>
                        </a:rPr>
                        <a:t> CO</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a:t>
                      </a:r>
                      <a:r>
                        <a:rPr lang="en-US" sz="1400" baseline="0" dirty="0">
                          <a:latin typeface="Verdana" panose="020B0604030504040204" pitchFamily="34" charset="0"/>
                          <a:ea typeface="Verdana" panose="020B0604030504040204" pitchFamily="34" charset="0"/>
                        </a:rPr>
                        <a:t> metal Carbon</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Input</a:t>
                      </a:r>
                      <a:r>
                        <a:rPr lang="en-US" sz="1400" baseline="0" dirty="0">
                          <a:latin typeface="Verdana" panose="020B0604030504040204" pitchFamily="34" charset="0"/>
                          <a:ea typeface="Verdana" panose="020B0604030504040204" pitchFamily="34" charset="0"/>
                        </a:rPr>
                        <a:t> Energy</a:t>
                      </a:r>
                      <a:endParaRPr lang="en-US" sz="1400" dirty="0">
                        <a:latin typeface="Verdana" panose="020B0604030504040204" pitchFamily="34" charset="0"/>
                        <a:ea typeface="Verdana" panose="020B0604030504040204" pitchFamily="34" charset="0"/>
                      </a:endParaRPr>
                    </a:p>
                  </a:txBody>
                  <a:tcPr/>
                </a:tc>
                <a:tc>
                  <a:txBody>
                    <a:bodyPr/>
                    <a:lstStyle/>
                    <a:p>
                      <a:r>
                        <a:rPr lang="en-US" sz="1400" dirty="0">
                          <a:latin typeface="Verdana" panose="020B0604030504040204" pitchFamily="34" charset="0"/>
                          <a:ea typeface="Verdana" panose="020B0604030504040204" pitchFamily="34" charset="0"/>
                        </a:rPr>
                        <a:t>Hot metal</a:t>
                      </a:r>
                    </a:p>
                    <a:p>
                      <a:r>
                        <a:rPr lang="en-US" sz="1400" dirty="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98971143"/>
                  </a:ext>
                </a:extLst>
              </a:tr>
              <a:tr h="370840">
                <a:tc>
                  <a:txBody>
                    <a:bodyPr/>
                    <a:lstStyle/>
                    <a:p>
                      <a:r>
                        <a:rPr lang="en-US" sz="1200" dirty="0">
                          <a:latin typeface="Verdana" panose="020B0604030504040204" pitchFamily="34" charset="0"/>
                          <a:ea typeface="Verdana" panose="020B0604030504040204" pitchFamily="34" charset="0"/>
                        </a:rPr>
                        <a:t>Hot Blast</a:t>
                      </a:r>
                      <a:r>
                        <a:rPr lang="en-US" sz="1200" baseline="0" dirty="0">
                          <a:latin typeface="Verdana" panose="020B0604030504040204" pitchFamily="34" charset="0"/>
                          <a:ea typeface="Verdana" panose="020B0604030504040204" pitchFamily="34" charset="0"/>
                        </a:rPr>
                        <a:t> Temperature</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a:latin typeface="Verdana" panose="020B0604030504040204" pitchFamily="34" charset="0"/>
                          <a:ea typeface="Verdana" panose="020B0604030504040204" pitchFamily="34" charset="0"/>
                        </a:rPr>
                        <a:t>No Relation</a:t>
                      </a:r>
                    </a:p>
                  </a:txBody>
                  <a:tcPr/>
                </a:tc>
                <a:tc>
                  <a:txBody>
                    <a:bodyPr/>
                    <a:lstStyle/>
                    <a:p>
                      <a:r>
                        <a:rPr lang="en-US" sz="1200" dirty="0" smtClean="0">
                          <a:latin typeface="Verdana" panose="020B0604030504040204" pitchFamily="34" charset="0"/>
                          <a:ea typeface="Verdana" panose="020B0604030504040204" pitchFamily="34" charset="0"/>
                        </a:rPr>
                        <a:t>No</a:t>
                      </a:r>
                      <a:r>
                        <a:rPr lang="en-US" sz="1200" baseline="0" dirty="0" smtClean="0">
                          <a:latin typeface="Verdana" panose="020B0604030504040204" pitchFamily="34" charset="0"/>
                          <a:ea typeface="Verdana" panose="020B0604030504040204" pitchFamily="34" charset="0"/>
                        </a:rPr>
                        <a:t>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3983162445"/>
                  </a:ext>
                </a:extLst>
              </a:tr>
            </a:tbl>
          </a:graphicData>
        </a:graphic>
      </p:graphicFrame>
      <p:graphicFrame>
        <p:nvGraphicFramePr>
          <p:cNvPr id="13" name="Chart 12"/>
          <p:cNvGraphicFramePr>
            <a:graphicFrameLocks/>
          </p:cNvGraphicFramePr>
          <p:nvPr>
            <p:extLst>
              <p:ext uri="{D42A27DB-BD31-4B8C-83A1-F6EECF244321}">
                <p14:modId xmlns:p14="http://schemas.microsoft.com/office/powerpoint/2010/main" val="1509662099"/>
              </p:ext>
            </p:extLst>
          </p:nvPr>
        </p:nvGraphicFramePr>
        <p:xfrm>
          <a:off x="8442290" y="3040179"/>
          <a:ext cx="3168352" cy="18615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hart 19"/>
          <p:cNvGraphicFramePr>
            <a:graphicFrameLocks/>
          </p:cNvGraphicFramePr>
          <p:nvPr>
            <p:extLst>
              <p:ext uri="{D42A27DB-BD31-4B8C-83A1-F6EECF244321}">
                <p14:modId xmlns:p14="http://schemas.microsoft.com/office/powerpoint/2010/main" val="516005814"/>
              </p:ext>
            </p:extLst>
          </p:nvPr>
        </p:nvGraphicFramePr>
        <p:xfrm>
          <a:off x="1326061" y="3040179"/>
          <a:ext cx="3602063" cy="18840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p:cNvGraphicFramePr>
            <a:graphicFrameLocks/>
          </p:cNvGraphicFramePr>
          <p:nvPr>
            <p:extLst>
              <p:ext uri="{D42A27DB-BD31-4B8C-83A1-F6EECF244321}">
                <p14:modId xmlns:p14="http://schemas.microsoft.com/office/powerpoint/2010/main" val="3559517576"/>
              </p:ext>
            </p:extLst>
          </p:nvPr>
        </p:nvGraphicFramePr>
        <p:xfrm>
          <a:off x="5087888" y="3040179"/>
          <a:ext cx="3233657" cy="18615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p:cNvGraphicFramePr>
            <a:graphicFrameLocks/>
          </p:cNvGraphicFramePr>
          <p:nvPr>
            <p:extLst>
              <p:ext uri="{D42A27DB-BD31-4B8C-83A1-F6EECF244321}">
                <p14:modId xmlns:p14="http://schemas.microsoft.com/office/powerpoint/2010/main" val="1351959708"/>
              </p:ext>
            </p:extLst>
          </p:nvPr>
        </p:nvGraphicFramePr>
        <p:xfrm>
          <a:off x="5087888" y="919603"/>
          <a:ext cx="3233657" cy="198313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p:cNvGraphicFramePr>
            <a:graphicFrameLocks/>
          </p:cNvGraphicFramePr>
          <p:nvPr>
            <p:extLst>
              <p:ext uri="{D42A27DB-BD31-4B8C-83A1-F6EECF244321}">
                <p14:modId xmlns:p14="http://schemas.microsoft.com/office/powerpoint/2010/main" val="1302570140"/>
              </p:ext>
            </p:extLst>
          </p:nvPr>
        </p:nvGraphicFramePr>
        <p:xfrm>
          <a:off x="1343472" y="919603"/>
          <a:ext cx="3567242" cy="198313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p:cNvGraphicFramePr>
            <a:graphicFrameLocks/>
          </p:cNvGraphicFramePr>
          <p:nvPr>
            <p:extLst>
              <p:ext uri="{D42A27DB-BD31-4B8C-83A1-F6EECF244321}">
                <p14:modId xmlns:p14="http://schemas.microsoft.com/office/powerpoint/2010/main" val="1721126792"/>
              </p:ext>
            </p:extLst>
          </p:nvPr>
        </p:nvGraphicFramePr>
        <p:xfrm>
          <a:off x="8453514" y="918201"/>
          <a:ext cx="3157128" cy="193473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33310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9218"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12" name="Group 11">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36" name="Rectangle 35">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37" name="Rectangle 36">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21" name="Rectangle 20">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D038CF4-70F6-3ED5-A251-6593ED308A00}"/>
                </a:ext>
              </a:extLst>
            </p:cNvPr>
            <p:cNvGrpSpPr/>
            <p:nvPr/>
          </p:nvGrpSpPr>
          <p:grpSpPr>
            <a:xfrm>
              <a:off x="4228061" y="3886762"/>
              <a:ext cx="7518358" cy="720080"/>
              <a:chOff x="6489877" y="1395922"/>
              <a:chExt cx="5254820" cy="720080"/>
            </a:xfrm>
          </p:grpSpPr>
          <p:sp>
            <p:nvSpPr>
              <p:cNvPr id="17" name="Rectangle 16">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18" name="Rectangle 17">
                <a:extLst>
                  <a:ext uri="{FF2B5EF4-FFF2-40B4-BE49-F238E27FC236}">
                    <a16:creationId xmlns:a16="http://schemas.microsoft.com/office/drawing/2014/main" id="{3F2A70AE-41B4-A095-4210-6790B1CFE194}"/>
                  </a:ext>
                </a:extLst>
              </p:cNvPr>
              <p:cNvSpPr/>
              <p:nvPr/>
            </p:nvSpPr>
            <p:spPr>
              <a:xfrm>
                <a:off x="6715837" y="1395922"/>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58435E3-F308-7729-ABF6-EDAA951CEE6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3" name="Rectangle 2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24" name="Rectangle 2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27" name="Rectangle 2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30" name="Straight Connector 2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9512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p:cNvSpPr txBox="1">
            <a:spLocks/>
          </p:cNvSpPr>
          <p:nvPr/>
        </p:nvSpPr>
        <p:spPr>
          <a:xfrm>
            <a:off x="2279576" y="620688"/>
            <a:ext cx="9209860" cy="369332"/>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b="1" dirty="0">
                <a:solidFill>
                  <a:srgbClr val="003399"/>
                </a:solidFill>
                <a:latin typeface="Verdana" panose="020B0604030504040204" pitchFamily="34" charset="0"/>
                <a:ea typeface="Verdana" panose="020B0604030504040204" pitchFamily="34" charset="0"/>
              </a:rPr>
              <a:t>Final table of constraints for the input parameters</a:t>
            </a:r>
          </a:p>
        </p:txBody>
      </p:sp>
      <p:graphicFrame>
        <p:nvGraphicFramePr>
          <p:cNvPr id="2" name="Table 1"/>
          <p:cNvGraphicFramePr>
            <a:graphicFrameLocks noGrp="1"/>
          </p:cNvGraphicFramePr>
          <p:nvPr>
            <p:extLst>
              <p:ext uri="{D42A27DB-BD31-4B8C-83A1-F6EECF244321}">
                <p14:modId xmlns:p14="http://schemas.microsoft.com/office/powerpoint/2010/main" val="97552734"/>
              </p:ext>
            </p:extLst>
          </p:nvPr>
        </p:nvGraphicFramePr>
        <p:xfrm>
          <a:off x="695401" y="1628800"/>
          <a:ext cx="10794035" cy="3976114"/>
        </p:xfrm>
        <a:graphic>
          <a:graphicData uri="http://schemas.openxmlformats.org/drawingml/2006/table">
            <a:tbl>
              <a:tblPr firstRow="1" bandRow="1">
                <a:tableStyleId>{5C22544A-7EE6-4342-B048-85BDC9FD1C3A}</a:tableStyleId>
              </a:tblPr>
              <a:tblGrid>
                <a:gridCol w="1224135">
                  <a:extLst>
                    <a:ext uri="{9D8B030D-6E8A-4147-A177-3AD203B41FA5}">
                      <a16:colId xmlns:a16="http://schemas.microsoft.com/office/drawing/2014/main" val="859868227"/>
                    </a:ext>
                  </a:extLst>
                </a:gridCol>
                <a:gridCol w="2304256">
                  <a:extLst>
                    <a:ext uri="{9D8B030D-6E8A-4147-A177-3AD203B41FA5}">
                      <a16:colId xmlns:a16="http://schemas.microsoft.com/office/drawing/2014/main" val="2280642869"/>
                    </a:ext>
                  </a:extLst>
                </a:gridCol>
                <a:gridCol w="1146191">
                  <a:extLst>
                    <a:ext uri="{9D8B030D-6E8A-4147-A177-3AD203B41FA5}">
                      <a16:colId xmlns:a16="http://schemas.microsoft.com/office/drawing/2014/main" val="2403954448"/>
                    </a:ext>
                  </a:extLst>
                </a:gridCol>
                <a:gridCol w="1374089">
                  <a:extLst>
                    <a:ext uri="{9D8B030D-6E8A-4147-A177-3AD203B41FA5}">
                      <a16:colId xmlns:a16="http://schemas.microsoft.com/office/drawing/2014/main" val="2231176136"/>
                    </a:ext>
                  </a:extLst>
                </a:gridCol>
                <a:gridCol w="1515652">
                  <a:extLst>
                    <a:ext uri="{9D8B030D-6E8A-4147-A177-3AD203B41FA5}">
                      <a16:colId xmlns:a16="http://schemas.microsoft.com/office/drawing/2014/main" val="441207651"/>
                    </a:ext>
                  </a:extLst>
                </a:gridCol>
                <a:gridCol w="1234005">
                  <a:extLst>
                    <a:ext uri="{9D8B030D-6E8A-4147-A177-3AD203B41FA5}">
                      <a16:colId xmlns:a16="http://schemas.microsoft.com/office/drawing/2014/main" val="2106226989"/>
                    </a:ext>
                  </a:extLst>
                </a:gridCol>
                <a:gridCol w="1995707">
                  <a:extLst>
                    <a:ext uri="{9D8B030D-6E8A-4147-A177-3AD203B41FA5}">
                      <a16:colId xmlns:a16="http://schemas.microsoft.com/office/drawing/2014/main" val="1869739689"/>
                    </a:ext>
                  </a:extLst>
                </a:gridCol>
              </a:tblGrid>
              <a:tr h="648072">
                <a:tc>
                  <a:txBody>
                    <a:bodyPr/>
                    <a:lstStyle/>
                    <a:p>
                      <a:endParaRPr lang="en-US" sz="1600" dirty="0">
                        <a:latin typeface="Verdana" panose="020B0604030504040204" pitchFamily="34" charset="0"/>
                        <a:ea typeface="Verdana" panose="020B0604030504040204" pitchFamily="34" charset="0"/>
                      </a:endParaRPr>
                    </a:p>
                  </a:txBody>
                  <a:tcPr/>
                </a:tc>
                <a:tc>
                  <a:txBody>
                    <a:bodyPr/>
                    <a:lstStyle/>
                    <a:p>
                      <a:r>
                        <a:rPr lang="en-US" sz="1600" dirty="0">
                          <a:latin typeface="Verdana" panose="020B0604030504040204" pitchFamily="34" charset="0"/>
                          <a:ea typeface="Verdana" panose="020B0604030504040204" pitchFamily="34" charset="0"/>
                        </a:rPr>
                        <a:t>Hot Metal</a:t>
                      </a:r>
                    </a:p>
                    <a:p>
                      <a:r>
                        <a:rPr lang="en-US" sz="1600" dirty="0">
                          <a:latin typeface="Verdana" panose="020B0604030504040204" pitchFamily="34" charset="0"/>
                          <a:ea typeface="Verdana" panose="020B0604030504040204" pitchFamily="34" charset="0"/>
                        </a:rPr>
                        <a:t>Production</a:t>
                      </a:r>
                    </a:p>
                  </a:txBody>
                  <a:tcPr/>
                </a:tc>
                <a:tc>
                  <a:txBody>
                    <a:bodyPr/>
                    <a:lstStyle/>
                    <a:p>
                      <a:r>
                        <a:rPr lang="en-US" sz="1600" dirty="0">
                          <a:latin typeface="Verdana" panose="020B0604030504040204" pitchFamily="34" charset="0"/>
                          <a:ea typeface="Verdana" panose="020B0604030504040204" pitchFamily="34" charset="0"/>
                        </a:rPr>
                        <a:t>CO Volume</a:t>
                      </a:r>
                    </a:p>
                  </a:txBody>
                  <a:tcPr/>
                </a:tc>
                <a:tc>
                  <a:txBody>
                    <a:bodyPr/>
                    <a:lstStyle/>
                    <a:p>
                      <a:r>
                        <a:rPr lang="en-US" sz="1600" dirty="0" smtClean="0">
                          <a:latin typeface="Verdana" panose="020B0604030504040204" pitchFamily="34" charset="0"/>
                          <a:ea typeface="Verdana" panose="020B0604030504040204" pitchFamily="34" charset="0"/>
                        </a:rPr>
                        <a:t>ETA CO</a:t>
                      </a:r>
                      <a:endParaRPr lang="en-US" sz="1600" dirty="0">
                        <a:latin typeface="Verdana" panose="020B0604030504040204" pitchFamily="34" charset="0"/>
                        <a:ea typeface="Verdana" panose="020B0604030504040204" pitchFamily="34" charset="0"/>
                      </a:endParaRPr>
                    </a:p>
                  </a:txBody>
                  <a:tcPr/>
                </a:tc>
                <a:tc>
                  <a:txBody>
                    <a:bodyPr/>
                    <a:lstStyle/>
                    <a:p>
                      <a:r>
                        <a:rPr lang="en-US" sz="1600" dirty="0">
                          <a:latin typeface="Verdana" panose="020B0604030504040204" pitchFamily="34" charset="0"/>
                          <a:ea typeface="Verdana" panose="020B0604030504040204" pitchFamily="34" charset="0"/>
                        </a:rPr>
                        <a:t>Hot</a:t>
                      </a:r>
                      <a:r>
                        <a:rPr lang="en-US" sz="1600" baseline="0" dirty="0">
                          <a:latin typeface="Verdana" panose="020B0604030504040204" pitchFamily="34" charset="0"/>
                          <a:ea typeface="Verdana" panose="020B0604030504040204" pitchFamily="34" charset="0"/>
                        </a:rPr>
                        <a:t> metal Carbon</a:t>
                      </a:r>
                      <a:endParaRPr lang="en-US" sz="1600" dirty="0">
                        <a:latin typeface="Verdana" panose="020B0604030504040204" pitchFamily="34" charset="0"/>
                        <a:ea typeface="Verdana" panose="020B0604030504040204" pitchFamily="34" charset="0"/>
                      </a:endParaRPr>
                    </a:p>
                  </a:txBody>
                  <a:tcPr/>
                </a:tc>
                <a:tc>
                  <a:txBody>
                    <a:bodyPr/>
                    <a:lstStyle/>
                    <a:p>
                      <a:r>
                        <a:rPr lang="en-US" sz="1600" dirty="0">
                          <a:latin typeface="Verdana" panose="020B0604030504040204" pitchFamily="34" charset="0"/>
                          <a:ea typeface="Verdana" panose="020B0604030504040204" pitchFamily="34" charset="0"/>
                        </a:rPr>
                        <a:t>Input</a:t>
                      </a:r>
                      <a:r>
                        <a:rPr lang="en-US" sz="1600" baseline="0" dirty="0">
                          <a:latin typeface="Verdana" panose="020B0604030504040204" pitchFamily="34" charset="0"/>
                          <a:ea typeface="Verdana" panose="020B0604030504040204" pitchFamily="34" charset="0"/>
                        </a:rPr>
                        <a:t> Energy</a:t>
                      </a:r>
                      <a:endParaRPr lang="en-US" sz="1600" dirty="0">
                        <a:latin typeface="Verdana" panose="020B0604030504040204" pitchFamily="34" charset="0"/>
                        <a:ea typeface="Verdana" panose="020B0604030504040204" pitchFamily="34" charset="0"/>
                      </a:endParaRPr>
                    </a:p>
                  </a:txBody>
                  <a:tcPr/>
                </a:tc>
                <a:tc>
                  <a:txBody>
                    <a:bodyPr/>
                    <a:lstStyle/>
                    <a:p>
                      <a:r>
                        <a:rPr lang="en-US" sz="1600" dirty="0">
                          <a:latin typeface="Verdana" panose="020B0604030504040204" pitchFamily="34" charset="0"/>
                          <a:ea typeface="Verdana" panose="020B0604030504040204" pitchFamily="34" charset="0"/>
                        </a:rPr>
                        <a:t>Hot metal</a:t>
                      </a:r>
                    </a:p>
                    <a:p>
                      <a:r>
                        <a:rPr lang="en-US" sz="1600" dirty="0">
                          <a:latin typeface="Verdana" panose="020B0604030504040204" pitchFamily="34" charset="0"/>
                          <a:ea typeface="Verdana" panose="020B0604030504040204" pitchFamily="34" charset="0"/>
                        </a:rPr>
                        <a:t>Temperature</a:t>
                      </a:r>
                    </a:p>
                  </a:txBody>
                  <a:tcPr/>
                </a:tc>
                <a:extLst>
                  <a:ext uri="{0D108BD9-81ED-4DB2-BD59-A6C34878D82A}">
                    <a16:rowId xmlns:a16="http://schemas.microsoft.com/office/drawing/2014/main" val="3454481254"/>
                  </a:ext>
                </a:extLst>
              </a:tr>
              <a:tr h="471386">
                <a:tc>
                  <a:txBody>
                    <a:bodyPr/>
                    <a:lstStyle/>
                    <a:p>
                      <a:r>
                        <a:rPr lang="en-US" sz="1200" dirty="0" smtClean="0">
                          <a:latin typeface="Verdana" panose="020B0604030504040204" pitchFamily="34" charset="0"/>
                          <a:ea typeface="Verdana" panose="020B0604030504040204" pitchFamily="34" charset="0"/>
                        </a:rPr>
                        <a:t>Coke</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0-350</a:t>
                      </a:r>
                    </a:p>
                    <a:p>
                      <a:r>
                        <a:rPr lang="en-US" sz="1200" dirty="0" smtClean="0">
                          <a:latin typeface="Verdana" panose="020B0604030504040204" pitchFamily="34" charset="0"/>
                          <a:ea typeface="Verdana" panose="020B0604030504040204" pitchFamily="34" charset="0"/>
                        </a:rPr>
                        <a:t>Coke&lt;= -0.04375*HMP+771</a:t>
                      </a:r>
                    </a:p>
                    <a:p>
                      <a:r>
                        <a:rPr lang="en-US" sz="1200" dirty="0" smtClean="0">
                          <a:latin typeface="Verdana" panose="020B0604030504040204" pitchFamily="34" charset="0"/>
                          <a:ea typeface="Verdana" panose="020B0604030504040204" pitchFamily="34" charset="0"/>
                        </a:rPr>
                        <a:t>coke&gt;=-0.025HP+558</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0-350</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4-350</a:t>
                      </a:r>
                    </a:p>
                    <a:p>
                      <a:r>
                        <a:rPr lang="en-US" sz="1200" dirty="0" smtClean="0">
                          <a:latin typeface="Verdana" panose="020B0604030504040204" pitchFamily="34" charset="0"/>
                          <a:ea typeface="Verdana" panose="020B0604030504040204" pitchFamily="34" charset="0"/>
                        </a:rPr>
                        <a:t>Coke&lt;=2307*ETACO-829</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305-350</a:t>
                      </a:r>
                      <a:endParaRPr lang="en-US" sz="1200" dirty="0">
                        <a:latin typeface="Verdana" panose="020B0604030504040204" pitchFamily="34" charset="0"/>
                        <a:ea typeface="Verdana" panose="020B0604030504040204" pitchFamily="34" charset="0"/>
                      </a:endParaRPr>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200" dirty="0" smtClean="0">
                          <a:latin typeface="Verdana" panose="020B0604030504040204" pitchFamily="34" charset="0"/>
                          <a:ea typeface="Verdana" panose="020B0604030504040204" pitchFamily="34" charset="0"/>
                        </a:rPr>
                        <a:t>300-335</a:t>
                      </a: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extLst>
                  <a:ext uri="{0D108BD9-81ED-4DB2-BD59-A6C34878D82A}">
                    <a16:rowId xmlns:a16="http://schemas.microsoft.com/office/drawing/2014/main" val="2661315030"/>
                  </a:ext>
                </a:extLst>
              </a:tr>
              <a:tr h="471386">
                <a:tc>
                  <a:txBody>
                    <a:bodyPr/>
                    <a:lstStyle/>
                    <a:p>
                      <a:r>
                        <a:rPr lang="en-US" sz="1200">
                          <a:latin typeface="Verdana" panose="020B0604030504040204" pitchFamily="34" charset="0"/>
                          <a:ea typeface="Verdana" panose="020B0604030504040204" pitchFamily="34" charset="0"/>
                        </a:rPr>
                        <a:t>CDI</a:t>
                      </a:r>
                    </a:p>
                  </a:txBody>
                  <a:tcPr/>
                </a:tc>
                <a:tc>
                  <a:txBody>
                    <a:bodyPr/>
                    <a:lstStyle/>
                    <a:p>
                      <a:r>
                        <a:rPr lang="en-US" sz="1200" dirty="0">
                          <a:latin typeface="Verdana" panose="020B0604030504040204" pitchFamily="34" charset="0"/>
                          <a:ea typeface="Verdana" panose="020B0604030504040204" pitchFamily="34" charset="0"/>
                        </a:rPr>
                        <a:t>180-220</a:t>
                      </a:r>
                    </a:p>
                    <a:p>
                      <a:r>
                        <a:rPr lang="en-US" sz="1200" dirty="0">
                          <a:latin typeface="Verdana" panose="020B0604030504040204" pitchFamily="34" charset="0"/>
                          <a:ea typeface="Verdana" panose="020B0604030504040204" pitchFamily="34" charset="0"/>
                        </a:rPr>
                        <a:t>CDI&lt;=(0.025HMP-36)</a:t>
                      </a:r>
                    </a:p>
                    <a:p>
                      <a:r>
                        <a:rPr lang="en-US" sz="1200" dirty="0">
                          <a:latin typeface="Verdana" panose="020B0604030504040204" pitchFamily="34" charset="0"/>
                          <a:ea typeface="Verdana" panose="020B0604030504040204" pitchFamily="34" charset="0"/>
                        </a:rPr>
                        <a:t>CDI&gt;=(0.035HMP-158)</a:t>
                      </a:r>
                    </a:p>
                  </a:txBody>
                  <a:tcPr/>
                </a:tc>
                <a:tc>
                  <a:txBody>
                    <a:bodyPr/>
                    <a:lstStyle/>
                    <a:p>
                      <a:r>
                        <a:rPr lang="en-US" sz="1200" dirty="0">
                          <a:latin typeface="Verdana" panose="020B0604030504040204" pitchFamily="34" charset="0"/>
                          <a:ea typeface="Verdana" panose="020B0604030504040204" pitchFamily="34" charset="0"/>
                        </a:rPr>
                        <a:t>185-215</a:t>
                      </a:r>
                    </a:p>
                  </a:txBody>
                  <a:tcPr/>
                </a:tc>
                <a:tc>
                  <a:txBody>
                    <a:bodyPr/>
                    <a:lstStyle/>
                    <a:p>
                      <a:r>
                        <a:rPr lang="en-US" sz="1200" dirty="0" smtClean="0">
                          <a:latin typeface="Verdana" panose="020B0604030504040204" pitchFamily="34" charset="0"/>
                          <a:ea typeface="Verdana" panose="020B0604030504040204" pitchFamily="34" charset="0"/>
                        </a:rPr>
                        <a:t>180-216</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160-220</a:t>
                      </a:r>
                    </a:p>
                  </a:txBody>
                  <a:tcPr/>
                </a:tc>
                <a:tc>
                  <a:txBody>
                    <a:bodyPr/>
                    <a:lstStyle/>
                    <a:p>
                      <a:r>
                        <a:rPr lang="en-US" sz="1200" dirty="0">
                          <a:latin typeface="Verdana" panose="020B0604030504040204" pitchFamily="34" charset="0"/>
                          <a:ea typeface="Verdana" panose="020B0604030504040204" pitchFamily="34" charset="0"/>
                        </a:rPr>
                        <a:t>190-215</a:t>
                      </a:r>
                    </a:p>
                  </a:txBody>
                  <a:tcPr/>
                </a:tc>
                <a:tc>
                  <a:txBody>
                    <a:bodyPr/>
                    <a:lstStyle/>
                    <a:p>
                      <a:r>
                        <a:rPr lang="en-US" sz="12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2829889964"/>
                  </a:ext>
                </a:extLst>
              </a:tr>
              <a:tr h="584842">
                <a:tc>
                  <a:txBody>
                    <a:bodyPr/>
                    <a:lstStyle/>
                    <a:p>
                      <a:r>
                        <a:rPr lang="en-US" sz="1200" dirty="0" smtClean="0">
                          <a:latin typeface="Verdana" panose="020B0604030504040204" pitchFamily="34" charset="0"/>
                          <a:ea typeface="Verdana" panose="020B0604030504040204" pitchFamily="34" charset="0"/>
                        </a:rPr>
                        <a:t>O</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 </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5-290</a:t>
                      </a:r>
                    </a:p>
                    <a:p>
                      <a:r>
                        <a:rPr lang="en-US" sz="1200" dirty="0" smtClean="0">
                          <a:latin typeface="Verdana" panose="020B0604030504040204" pitchFamily="34" charset="0"/>
                          <a:ea typeface="Verdana" panose="020B0604030504040204" pitchFamily="34" charset="0"/>
                        </a:rPr>
                        <a:t>O</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lt;=-0.026*HMP+542</a:t>
                      </a:r>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200" dirty="0" smtClean="0">
                          <a:latin typeface="Verdana" panose="020B0604030504040204" pitchFamily="34" charset="0"/>
                          <a:ea typeface="Verdana" panose="020B0604030504040204" pitchFamily="34" charset="0"/>
                        </a:rPr>
                        <a:t>263-287</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4-290</a:t>
                      </a:r>
                    </a:p>
                    <a:p>
                      <a:r>
                        <a:rPr lang="en-US" sz="1200" dirty="0" smtClean="0">
                          <a:latin typeface="Verdana" panose="020B0604030504040204" pitchFamily="34" charset="0"/>
                          <a:ea typeface="Verdana" panose="020B0604030504040204" pitchFamily="34" charset="0"/>
                        </a:rPr>
                        <a:t>O2&lt;=785.2*ETACO-116.45</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260-300</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265-285</a:t>
                      </a:r>
                    </a:p>
                  </a:txBody>
                  <a:tcPr/>
                </a:tc>
                <a:tc>
                  <a:txBody>
                    <a:bodyPr/>
                    <a:lstStyle/>
                    <a:p>
                      <a:r>
                        <a:rPr lang="en-US" sz="1200" dirty="0">
                          <a:latin typeface="Verdana" panose="020B0604030504040204" pitchFamily="34" charset="0"/>
                          <a:ea typeface="Verdana" panose="020B0604030504040204" pitchFamily="34" charset="0"/>
                        </a:rPr>
                        <a:t>265-295</a:t>
                      </a:r>
                    </a:p>
                  </a:txBody>
                  <a:tcPr/>
                </a:tc>
                <a:extLst>
                  <a:ext uri="{0D108BD9-81ED-4DB2-BD59-A6C34878D82A}">
                    <a16:rowId xmlns:a16="http://schemas.microsoft.com/office/drawing/2014/main" val="512970667"/>
                  </a:ext>
                </a:extLst>
              </a:tr>
              <a:tr h="584842">
                <a:tc>
                  <a:txBody>
                    <a:bodyPr/>
                    <a:lstStyle/>
                    <a:p>
                      <a:r>
                        <a:rPr lang="en-US" sz="1200" dirty="0">
                          <a:latin typeface="Verdana" panose="020B0604030504040204" pitchFamily="34" charset="0"/>
                          <a:ea typeface="Verdana" panose="020B0604030504040204" pitchFamily="34" charset="0"/>
                        </a:rPr>
                        <a:t>N</a:t>
                      </a:r>
                      <a:r>
                        <a:rPr lang="en-US" sz="1200" baseline="-25000" dirty="0">
                          <a:latin typeface="Verdana" panose="020B0604030504040204" pitchFamily="34" charset="0"/>
                          <a:ea typeface="Verdana" panose="020B0604030504040204" pitchFamily="34" charset="0"/>
                        </a:rPr>
                        <a:t>2</a:t>
                      </a:r>
                    </a:p>
                  </a:txBody>
                  <a:tcPr/>
                </a:tc>
                <a:tc>
                  <a:txBody>
                    <a:bodyPr/>
                    <a:lstStyle/>
                    <a:p>
                      <a:r>
                        <a:rPr lang="en-US" sz="1200" dirty="0" smtClean="0">
                          <a:latin typeface="Verdana" panose="020B0604030504040204" pitchFamily="34" charset="0"/>
                          <a:ea typeface="Verdana" panose="020B0604030504040204" pitchFamily="34" charset="0"/>
                        </a:rPr>
                        <a:t>620-665</a:t>
                      </a:r>
                    </a:p>
                    <a:p>
                      <a:r>
                        <a:rPr lang="en-US" sz="1200" dirty="0" smtClean="0">
                          <a:latin typeface="Verdana" panose="020B0604030504040204" pitchFamily="34" charset="0"/>
                          <a:ea typeface="Verdana" panose="020B0604030504040204" pitchFamily="34" charset="0"/>
                        </a:rPr>
                        <a:t>N</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lt;=-0.063*HMP+1267</a:t>
                      </a:r>
                    </a:p>
                    <a:p>
                      <a:r>
                        <a:rPr lang="en-US" sz="1200" dirty="0" smtClean="0">
                          <a:latin typeface="Verdana" panose="020B0604030504040204" pitchFamily="34" charset="0"/>
                          <a:ea typeface="Verdana" panose="020B0604030504040204" pitchFamily="34" charset="0"/>
                        </a:rPr>
                        <a:t>N</a:t>
                      </a:r>
                      <a:r>
                        <a:rPr lang="en-US" sz="1200" baseline="-25000" dirty="0" smtClean="0">
                          <a:latin typeface="Verdana" panose="020B0604030504040204" pitchFamily="34" charset="0"/>
                          <a:ea typeface="Verdana" panose="020B0604030504040204" pitchFamily="34" charset="0"/>
                        </a:rPr>
                        <a:t>2</a:t>
                      </a:r>
                      <a:r>
                        <a:rPr lang="en-US" sz="1200" dirty="0" smtClean="0">
                          <a:latin typeface="Verdana" panose="020B0604030504040204" pitchFamily="34" charset="0"/>
                          <a:ea typeface="Verdana" panose="020B0604030504040204" pitchFamily="34" charset="0"/>
                        </a:rPr>
                        <a:t>&gt;=-0.0465*HMP+1089</a:t>
                      </a:r>
                      <a:endParaRPr lang="en-US" sz="1200" dirty="0">
                        <a:latin typeface="Verdana" panose="020B0604030504040204" pitchFamily="34" charset="0"/>
                        <a:ea typeface="Verdana" panose="020B0604030504040204" pitchFamily="34" charset="0"/>
                      </a:endParaRPr>
                    </a:p>
                  </a:txBody>
                  <a:tcPr/>
                </a:tc>
                <a:tc>
                  <a:txBody>
                    <a:bodyPr/>
                    <a:lstStyle/>
                    <a:p>
                      <a:r>
                        <a:rPr lang="en-US" sz="1200">
                          <a:latin typeface="Verdana" panose="020B0604030504040204" pitchFamily="34" charset="0"/>
                          <a:ea typeface="Verdana" panose="020B0604030504040204" pitchFamily="34" charset="0"/>
                        </a:rPr>
                        <a:t>No Relation</a:t>
                      </a:r>
                    </a:p>
                  </a:txBody>
                  <a:tcPr/>
                </a:tc>
                <a:tc>
                  <a:txBody>
                    <a:bodyPr/>
                    <a:lstStyle/>
                    <a:p>
                      <a:r>
                        <a:rPr lang="en-US" sz="1200" dirty="0" smtClean="0">
                          <a:latin typeface="Verdana" panose="020B0604030504040204" pitchFamily="34" charset="0"/>
                          <a:ea typeface="Verdana" panose="020B0604030504040204" pitchFamily="34" charset="0"/>
                        </a:rPr>
                        <a:t>618-670</a:t>
                      </a:r>
                    </a:p>
                    <a:p>
                      <a:r>
                        <a:rPr lang="en-US" sz="1200" dirty="0" smtClean="0">
                          <a:latin typeface="Verdana" panose="020B0604030504040204" pitchFamily="34" charset="0"/>
                          <a:ea typeface="Verdana" panose="020B0604030504040204" pitchFamily="34" charset="0"/>
                        </a:rPr>
                        <a:t>N2&lt;=3506.9*ETACO-1120.3</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620-690</a:t>
                      </a:r>
                    </a:p>
                  </a:txBody>
                  <a:tcPr/>
                </a:tc>
                <a:tc>
                  <a:txBody>
                    <a:bodyPr/>
                    <a:lstStyle/>
                    <a:p>
                      <a:r>
                        <a:rPr lang="en-US" sz="1200" dirty="0">
                          <a:latin typeface="Verdana" panose="020B0604030504040204" pitchFamily="34" charset="0"/>
                          <a:ea typeface="Verdana" panose="020B0604030504040204" pitchFamily="34" charset="0"/>
                        </a:rPr>
                        <a:t>615-665</a:t>
                      </a:r>
                    </a:p>
                  </a:txBody>
                  <a:tcPr/>
                </a:tc>
                <a:tc>
                  <a:txBody>
                    <a:bodyPr/>
                    <a:lstStyle/>
                    <a:p>
                      <a:r>
                        <a:rPr lang="en-US" sz="12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2189034329"/>
                  </a:ext>
                </a:extLst>
              </a:tr>
              <a:tr h="584842">
                <a:tc>
                  <a:txBody>
                    <a:bodyPr/>
                    <a:lstStyle/>
                    <a:p>
                      <a:r>
                        <a:rPr lang="en-US" sz="1200" dirty="0">
                          <a:latin typeface="Verdana" panose="020B0604030504040204" pitchFamily="34" charset="0"/>
                          <a:ea typeface="Verdana" panose="020B0604030504040204" pitchFamily="34" charset="0"/>
                        </a:rPr>
                        <a:t>Hot Blast</a:t>
                      </a:r>
                      <a:r>
                        <a:rPr lang="en-US" sz="1200" baseline="0" dirty="0">
                          <a:latin typeface="Verdana" panose="020B0604030504040204" pitchFamily="34" charset="0"/>
                          <a:ea typeface="Verdana" panose="020B0604030504040204" pitchFamily="34" charset="0"/>
                        </a:rPr>
                        <a:t> Temperature</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a:latin typeface="Verdana" panose="020B0604030504040204" pitchFamily="34" charset="0"/>
                          <a:ea typeface="Verdana" panose="020B0604030504040204" pitchFamily="34" charset="0"/>
                        </a:rPr>
                        <a:t>No Relation</a:t>
                      </a: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smtClean="0">
                          <a:latin typeface="Verdana" panose="020B0604030504040204" pitchFamily="34" charset="0"/>
                          <a:ea typeface="Verdana" panose="020B0604030504040204" pitchFamily="34" charset="0"/>
                        </a:rPr>
                        <a:t>No Relation</a:t>
                      </a:r>
                      <a:endParaRPr lang="en-US" sz="1200" dirty="0">
                        <a:latin typeface="Verdana" panose="020B0604030504040204" pitchFamily="34" charset="0"/>
                        <a:ea typeface="Verdana" panose="020B0604030504040204" pitchFamily="34" charset="0"/>
                      </a:endParaRPr>
                    </a:p>
                  </a:txBody>
                  <a:tcPr/>
                </a:tc>
                <a:tc>
                  <a:txBody>
                    <a:bodyPr/>
                    <a:lstStyle/>
                    <a:p>
                      <a:r>
                        <a:rPr lang="en-US" sz="1200" dirty="0">
                          <a:latin typeface="Verdana" panose="020B0604030504040204" pitchFamily="34" charset="0"/>
                          <a:ea typeface="Verdana" panose="020B0604030504040204" pitchFamily="34" charset="0"/>
                        </a:rPr>
                        <a:t>No Relation</a:t>
                      </a:r>
                    </a:p>
                  </a:txBody>
                  <a:tcPr/>
                </a:tc>
                <a:extLst>
                  <a:ext uri="{0D108BD9-81ED-4DB2-BD59-A6C34878D82A}">
                    <a16:rowId xmlns:a16="http://schemas.microsoft.com/office/drawing/2014/main" val="2971291993"/>
                  </a:ext>
                </a:extLst>
              </a:tr>
            </a:tbl>
          </a:graphicData>
        </a:graphic>
      </p:graphicFrame>
      <p:cxnSp>
        <p:nvCxnSpPr>
          <p:cNvPr id="4" name="Straight Connector 3"/>
          <p:cNvCxnSpPr/>
          <p:nvPr/>
        </p:nvCxnSpPr>
        <p:spPr>
          <a:xfrm flipH="1">
            <a:off x="2135560" y="1138682"/>
            <a:ext cx="8942764"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1055440" y="5807693"/>
            <a:ext cx="9869169" cy="430887"/>
          </a:xfrm>
        </p:spPr>
        <p:txBody>
          <a:bodyPr/>
          <a:lstStyle/>
          <a:p>
            <a:r>
              <a:rPr lang="en-US" sz="1400" dirty="0" smtClean="0"/>
              <a:t>*As there is no relation of Hot Blast Temperature with other parameters, a temperature of 1125 degree Celsius(most probable temperature ) is considered for optimal energy calculations</a:t>
            </a:r>
            <a:endParaRPr lang="en-US" sz="1400" dirty="0"/>
          </a:p>
        </p:txBody>
      </p:sp>
    </p:spTree>
    <p:extLst>
      <p:ext uri="{BB962C8B-B14F-4D97-AF65-F5344CB8AC3E}">
        <p14:creationId xmlns:p14="http://schemas.microsoft.com/office/powerpoint/2010/main" val="14639096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8588" y="260649"/>
            <a:ext cx="8246952" cy="369332"/>
          </a:xfrm>
        </p:spPr>
        <p:txBody>
          <a:bodyPr/>
          <a:lstStyle/>
          <a:p>
            <a:pPr algn="ctr" rtl="0"/>
            <a:r>
              <a:rPr lang="en-US" sz="2400" b="1" kern="1200" dirty="0">
                <a:solidFill>
                  <a:srgbClr val="003399"/>
                </a:solidFill>
                <a:latin typeface="Verdana" panose="020B0604030504040204" pitchFamily="34" charset="0"/>
                <a:ea typeface="Verdana" panose="020B0604030504040204" pitchFamily="34" charset="0"/>
                <a:cs typeface="+mn-cs"/>
              </a:rPr>
              <a:t>Linear Programming</a:t>
            </a:r>
            <a:endParaRPr lang="en-US" sz="2400" b="1" kern="1200" dirty="0">
              <a:solidFill>
                <a:srgbClr val="003399"/>
              </a:solidFill>
              <a:latin typeface="Verdana" panose="020B0604030504040204" pitchFamily="34" charset="0"/>
              <a:ea typeface="Verdana" panose="020B0604030504040204" pitchFamily="34" charset="0"/>
              <a:cs typeface="+mn-cs"/>
            </a:endParaRPr>
          </a:p>
        </p:txBody>
      </p:sp>
      <p:cxnSp>
        <p:nvCxnSpPr>
          <p:cNvPr id="4" name="Straight Connector 3"/>
          <p:cNvCxnSpPr/>
          <p:nvPr/>
        </p:nvCxnSpPr>
        <p:spPr>
          <a:xfrm flipH="1">
            <a:off x="4655840" y="692696"/>
            <a:ext cx="4032448"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graphicFrame>
        <p:nvGraphicFramePr>
          <p:cNvPr id="7" name="Diagram 6"/>
          <p:cNvGraphicFramePr/>
          <p:nvPr>
            <p:extLst>
              <p:ext uri="{D42A27DB-BD31-4B8C-83A1-F6EECF244321}">
                <p14:modId xmlns:p14="http://schemas.microsoft.com/office/powerpoint/2010/main" val="617621152"/>
              </p:ext>
            </p:extLst>
          </p:nvPr>
        </p:nvGraphicFramePr>
        <p:xfrm>
          <a:off x="2063552" y="1124744"/>
          <a:ext cx="9217024" cy="52026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62872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711624" y="189415"/>
            <a:ext cx="8640960"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de of Linear Optimization </a:t>
            </a:r>
            <a:r>
              <a:rPr lang="en-IN" sz="2400" b="1" dirty="0" smtClean="0">
                <a:solidFill>
                  <a:srgbClr val="003399"/>
                </a:solidFill>
                <a:latin typeface="Verdana" panose="020B0604030504040204" pitchFamily="34" charset="0"/>
                <a:ea typeface="Verdana" panose="020B0604030504040204" pitchFamily="34" charset="0"/>
              </a:rPr>
              <a:t>Technique(Model 2</a:t>
            </a:r>
            <a:r>
              <a:rPr lang="en-IN" sz="2400" b="1" dirty="0">
                <a:solidFill>
                  <a:srgbClr val="003399"/>
                </a:solidFill>
                <a:latin typeface="Verdana" panose="020B0604030504040204" pitchFamily="34" charset="0"/>
                <a:ea typeface="Verdana" panose="020B0604030504040204" pitchFamily="34" charset="0"/>
              </a:rPr>
              <a:t>)</a:t>
            </a:r>
          </a:p>
        </p:txBody>
      </p:sp>
      <p:cxnSp>
        <p:nvCxnSpPr>
          <p:cNvPr id="6" name="Straight Connector 5"/>
          <p:cNvCxnSpPr/>
          <p:nvPr/>
        </p:nvCxnSpPr>
        <p:spPr>
          <a:xfrm flipH="1" flipV="1">
            <a:off x="2495600" y="751888"/>
            <a:ext cx="8640960" cy="2833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9" name="Subtitle 5">
            <a:extLst>
              <a:ext uri="{FF2B5EF4-FFF2-40B4-BE49-F238E27FC236}">
                <a16:creationId xmlns:a16="http://schemas.microsoft.com/office/drawing/2014/main" id="{77314BF9-F5D4-DD43-D446-1E29C4B3F3DF}"/>
              </a:ext>
            </a:extLst>
          </p:cNvPr>
          <p:cNvSpPr txBox="1">
            <a:spLocks/>
          </p:cNvSpPr>
          <p:nvPr/>
        </p:nvSpPr>
        <p:spPr>
          <a:xfrm>
            <a:off x="8616280" y="2564904"/>
            <a:ext cx="3214777" cy="3447098"/>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dirty="0">
                <a:latin typeface="Verdana" panose="020B0604030504040204" pitchFamily="34" charset="0"/>
                <a:ea typeface="Verdana" panose="020B0604030504040204" pitchFamily="34" charset="0"/>
                <a:cs typeface="+mn-lt"/>
              </a:rPr>
              <a:t>Minimized Input Energy: 3562549.2 Kcal/</a:t>
            </a:r>
            <a:r>
              <a:rPr lang="en-US" sz="1600" dirty="0" err="1">
                <a:latin typeface="Verdana" panose="020B0604030504040204" pitchFamily="34" charset="0"/>
                <a:ea typeface="Verdana" panose="020B0604030504040204" pitchFamily="34" charset="0"/>
                <a:cs typeface="+mn-lt"/>
              </a:rPr>
              <a:t>thm</a:t>
            </a:r>
            <a:endParaRPr lang="en-US" sz="1600" dirty="0">
              <a:latin typeface="Verdana" panose="020B0604030504040204" pitchFamily="34" charset="0"/>
              <a:ea typeface="Verdana" panose="020B0604030504040204" pitchFamily="34" charset="0"/>
            </a:endParaRPr>
          </a:p>
          <a:p>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Optimal Input Parameters (Original Scale):</a:t>
            </a:r>
            <a:endParaRPr lang="en-US" sz="1600" dirty="0">
              <a:latin typeface="Verdana" panose="020B0604030504040204" pitchFamily="34" charset="0"/>
              <a:ea typeface="Verdana" panose="020B0604030504040204" pitchFamily="34" charset="0"/>
            </a:endParaRPr>
          </a:p>
          <a:p>
            <a:endParaRPr lang="en-US" sz="1600" dirty="0">
              <a:latin typeface="Verdana" panose="020B0604030504040204" pitchFamily="34" charset="0"/>
              <a:ea typeface="Verdana" panose="020B0604030504040204" pitchFamily="34" charset="0"/>
              <a:cs typeface="+mn-lt"/>
            </a:endParaRPr>
          </a:p>
          <a:p>
            <a:r>
              <a:rPr lang="en-US" sz="1600" dirty="0">
                <a:latin typeface="Verdana" panose="020B0604030504040204" pitchFamily="34" charset="0"/>
                <a:ea typeface="Verdana" panose="020B0604030504040204" pitchFamily="34" charset="0"/>
                <a:cs typeface="+mn-lt"/>
              </a:rPr>
              <a:t>Hot Metal (tons): 10000</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Total Coke: 308.00 kg/</a:t>
            </a:r>
            <a:r>
              <a:rPr lang="en-US" sz="1600" dirty="0" err="1">
                <a:latin typeface="Verdana" panose="020B0604030504040204" pitchFamily="34" charset="0"/>
                <a:ea typeface="Verdana" panose="020B0604030504040204" pitchFamily="34" charset="0"/>
                <a:cs typeface="+mn-lt"/>
              </a:rPr>
              <a:t>thm</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CDI kg/</a:t>
            </a:r>
            <a:r>
              <a:rPr lang="en-US" sz="1600" dirty="0" err="1">
                <a:latin typeface="Verdana" panose="020B0604030504040204" pitchFamily="34" charset="0"/>
                <a:ea typeface="Verdana" panose="020B0604030504040204" pitchFamily="34" charset="0"/>
                <a:cs typeface="+mn-lt"/>
              </a:rPr>
              <a:t>thm</a:t>
            </a:r>
            <a:r>
              <a:rPr lang="en-US" sz="1600" dirty="0">
                <a:latin typeface="Verdana" panose="020B0604030504040204" pitchFamily="34" charset="0"/>
                <a:ea typeface="Verdana" panose="020B0604030504040204" pitchFamily="34" charset="0"/>
                <a:cs typeface="+mn-lt"/>
              </a:rPr>
              <a:t>: 192.00</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Steam addition kg/</a:t>
            </a:r>
            <a:r>
              <a:rPr lang="en-US" sz="1600" dirty="0" err="1">
                <a:latin typeface="Verdana" panose="020B0604030504040204" pitchFamily="34" charset="0"/>
                <a:ea typeface="Verdana" panose="020B0604030504040204" pitchFamily="34" charset="0"/>
                <a:cs typeface="+mn-lt"/>
              </a:rPr>
              <a:t>thm</a:t>
            </a:r>
            <a:r>
              <a:rPr lang="en-US" sz="1600" dirty="0">
                <a:latin typeface="Verdana" panose="020B0604030504040204" pitchFamily="34" charset="0"/>
                <a:ea typeface="Verdana" panose="020B0604030504040204" pitchFamily="34" charset="0"/>
                <a:cs typeface="+mn-lt"/>
              </a:rPr>
              <a:t>: 5.00</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Hot Blast Temp. °C: 1125.00</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O</a:t>
            </a:r>
            <a:r>
              <a:rPr lang="en-US" sz="1600" baseline="-25000" dirty="0">
                <a:latin typeface="Verdana" panose="020B0604030504040204" pitchFamily="34" charset="0"/>
                <a:ea typeface="Verdana" panose="020B0604030504040204" pitchFamily="34" charset="0"/>
                <a:cs typeface="+mn-lt"/>
              </a:rPr>
              <a:t>2</a:t>
            </a:r>
            <a:r>
              <a:rPr lang="en-US" sz="1600" dirty="0">
                <a:latin typeface="Verdana" panose="020B0604030504040204" pitchFamily="34" charset="0"/>
                <a:ea typeface="Verdana" panose="020B0604030504040204" pitchFamily="34" charset="0"/>
                <a:cs typeface="+mn-lt"/>
              </a:rPr>
              <a:t> weight(Kg)/</a:t>
            </a:r>
            <a:r>
              <a:rPr lang="en-US" sz="1600" dirty="0" err="1">
                <a:latin typeface="Verdana" panose="020B0604030504040204" pitchFamily="34" charset="0"/>
                <a:ea typeface="Verdana" panose="020B0604030504040204" pitchFamily="34" charset="0"/>
                <a:cs typeface="+mn-lt"/>
              </a:rPr>
              <a:t>thm</a:t>
            </a:r>
            <a:r>
              <a:rPr lang="en-US" sz="1600" dirty="0">
                <a:latin typeface="Verdana" panose="020B0604030504040204" pitchFamily="34" charset="0"/>
                <a:ea typeface="Verdana" panose="020B0604030504040204" pitchFamily="34" charset="0"/>
                <a:cs typeface="+mn-lt"/>
              </a:rPr>
              <a:t>: 378.00</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cs typeface="+mn-lt"/>
              </a:rPr>
              <a:t>N</a:t>
            </a:r>
            <a:r>
              <a:rPr lang="en-US" sz="1600" baseline="-25000" dirty="0">
                <a:latin typeface="Verdana" panose="020B0604030504040204" pitchFamily="34" charset="0"/>
                <a:ea typeface="Verdana" panose="020B0604030504040204" pitchFamily="34" charset="0"/>
                <a:cs typeface="+mn-lt"/>
              </a:rPr>
              <a:t>2</a:t>
            </a:r>
            <a:r>
              <a:rPr lang="en-US" sz="1600" dirty="0">
                <a:latin typeface="Verdana" panose="020B0604030504040204" pitchFamily="34" charset="0"/>
                <a:ea typeface="Verdana" panose="020B0604030504040204" pitchFamily="34" charset="0"/>
                <a:cs typeface="+mn-lt"/>
              </a:rPr>
              <a:t> weight(Kg)/</a:t>
            </a:r>
            <a:r>
              <a:rPr lang="en-US" sz="1600" dirty="0" err="1">
                <a:latin typeface="Verdana" panose="020B0604030504040204" pitchFamily="34" charset="0"/>
                <a:ea typeface="Verdana" panose="020B0604030504040204" pitchFamily="34" charset="0"/>
                <a:cs typeface="+mn-lt"/>
              </a:rPr>
              <a:t>thm</a:t>
            </a:r>
            <a:r>
              <a:rPr lang="en-US" sz="1600" dirty="0">
                <a:latin typeface="Verdana" panose="020B0604030504040204" pitchFamily="34" charset="0"/>
                <a:ea typeface="Verdana" panose="020B0604030504040204" pitchFamily="34" charset="0"/>
                <a:cs typeface="+mn-lt"/>
              </a:rPr>
              <a:t>: 768.00</a:t>
            </a:r>
            <a:endParaRPr lang="en-US" sz="1600" dirty="0">
              <a:latin typeface="Verdana" panose="020B0604030504040204" pitchFamily="34" charset="0"/>
              <a:ea typeface="Verdana" panose="020B0604030504040204" pitchFamily="34" charset="0"/>
            </a:endParaRPr>
          </a:p>
          <a:p>
            <a:endParaRPr lang="en-US" sz="1600" kern="0" dirty="0">
              <a:latin typeface="Verdana" panose="020B0604030504040204" pitchFamily="34" charset="0"/>
              <a:ea typeface="Verdana" panose="020B0604030504040204" pitchFamily="34" charset="0"/>
              <a:cs typeface="Calibri"/>
            </a:endParaRPr>
          </a:p>
        </p:txBody>
      </p:sp>
      <p:sp>
        <p:nvSpPr>
          <p:cNvPr id="10" name="Rounded Rectangle 9"/>
          <p:cNvSpPr/>
          <p:nvPr/>
        </p:nvSpPr>
        <p:spPr>
          <a:xfrm>
            <a:off x="8904312" y="1772816"/>
            <a:ext cx="2376264" cy="5760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latin typeface="Verdana" panose="020B0604030504040204" pitchFamily="34" charset="0"/>
                <a:ea typeface="Verdana" panose="020B0604030504040204" pitchFamily="34" charset="0"/>
              </a:rPr>
              <a:t>Results Of this Model 2</a:t>
            </a:r>
            <a:endParaRPr lang="en-US" sz="1600" dirty="0">
              <a:latin typeface="Verdana" panose="020B0604030504040204" pitchFamily="34" charset="0"/>
              <a:ea typeface="Verdana" panose="020B060403050404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1015081"/>
            <a:ext cx="5832648" cy="3672408"/>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218" y="1275821"/>
            <a:ext cx="5566704" cy="3876679"/>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4433" y="1668843"/>
            <a:ext cx="5651238" cy="4172206"/>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301" y="2146967"/>
            <a:ext cx="5584494" cy="4087104"/>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70858" y="2732154"/>
            <a:ext cx="5567973" cy="3997520"/>
          </a:xfrm>
          <a:prstGeom prst="rect">
            <a:avLst/>
          </a:prstGeom>
        </p:spPr>
      </p:pic>
    </p:spTree>
    <p:extLst>
      <p:ext uri="{BB962C8B-B14F-4D97-AF65-F5344CB8AC3E}">
        <p14:creationId xmlns:p14="http://schemas.microsoft.com/office/powerpoint/2010/main" val="256901036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5"/>
          <p:cNvSpPr txBox="1">
            <a:spLocks noChangeArrowheads="1"/>
          </p:cNvSpPr>
          <p:nvPr/>
        </p:nvSpPr>
        <p:spPr bwMode="auto">
          <a:xfrm>
            <a:off x="2567608" y="404664"/>
            <a:ext cx="7848872"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st Analysis After Model Implementation </a:t>
            </a:r>
          </a:p>
        </p:txBody>
      </p:sp>
      <p:cxnSp>
        <p:nvCxnSpPr>
          <p:cNvPr id="3" name="Straight Connector 2"/>
          <p:cNvCxnSpPr/>
          <p:nvPr/>
        </p:nvCxnSpPr>
        <p:spPr>
          <a:xfrm flipH="1">
            <a:off x="1991544" y="866325"/>
            <a:ext cx="8942764"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5" name="Subtitle 5">
            <a:extLst>
              <a:ext uri="{FF2B5EF4-FFF2-40B4-BE49-F238E27FC236}">
                <a16:creationId xmlns:a16="http://schemas.microsoft.com/office/drawing/2014/main" id="{77314BF9-F5D4-DD43-D446-1E29C4B3F3DF}"/>
              </a:ext>
            </a:extLst>
          </p:cNvPr>
          <p:cNvSpPr txBox="1">
            <a:spLocks/>
          </p:cNvSpPr>
          <p:nvPr/>
        </p:nvSpPr>
        <p:spPr>
          <a:xfrm>
            <a:off x="191344" y="1327986"/>
            <a:ext cx="6840760" cy="4524315"/>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en-US" b="1" dirty="0" smtClean="0">
                <a:solidFill>
                  <a:schemeClr val="tx2"/>
                </a:solidFill>
                <a:latin typeface="Verdana" panose="020B0604030504040204" pitchFamily="34" charset="0"/>
                <a:ea typeface="Verdana" panose="020B0604030504040204" pitchFamily="34" charset="0"/>
                <a:cs typeface="+mn-lt"/>
              </a:rPr>
              <a:t>By Present Method</a:t>
            </a:r>
          </a:p>
          <a:p>
            <a:pPr algn="ctr"/>
            <a:endParaRPr lang="en-US" b="1" dirty="0" smtClean="0">
              <a:solidFill>
                <a:schemeClr val="tx2"/>
              </a:solidFill>
              <a:latin typeface="Verdana" panose="020B0604030504040204" pitchFamily="34" charset="0"/>
              <a:ea typeface="Verdana" panose="020B0604030504040204" pitchFamily="34" charset="0"/>
              <a:cs typeface="+mn-lt"/>
            </a:endParaRPr>
          </a:p>
          <a:p>
            <a:r>
              <a:rPr lang="en-US" sz="1600" dirty="0" smtClean="0">
                <a:latin typeface="Verdana" panose="020B0604030504040204" pitchFamily="34" charset="0"/>
                <a:ea typeface="Verdana" panose="020B0604030504040204" pitchFamily="34" charset="0"/>
                <a:cs typeface="+mn-lt"/>
              </a:rPr>
              <a:t>For </a:t>
            </a:r>
            <a:r>
              <a:rPr lang="en-US" sz="1600" dirty="0">
                <a:latin typeface="Verdana" panose="020B0604030504040204" pitchFamily="34" charset="0"/>
                <a:ea typeface="Verdana" panose="020B0604030504040204" pitchFamily="34" charset="0"/>
                <a:cs typeface="+mn-lt"/>
              </a:rPr>
              <a:t>financial year April’23 to March’24</a:t>
            </a:r>
          </a:p>
          <a:p>
            <a:r>
              <a:rPr lang="en-US" sz="1600" dirty="0" smtClean="0">
                <a:latin typeface="Verdana" panose="020B0604030504040204" pitchFamily="34" charset="0"/>
                <a:ea typeface="Verdana" panose="020B0604030504040204" pitchFamily="34" charset="0"/>
                <a:cs typeface="+mn-lt"/>
              </a:rPr>
              <a:t>There are 255 days where production is greater than </a:t>
            </a:r>
            <a:r>
              <a:rPr lang="en-US" sz="1600" dirty="0">
                <a:latin typeface="Verdana" panose="020B0604030504040204" pitchFamily="34" charset="0"/>
                <a:ea typeface="Verdana" panose="020B0604030504040204" pitchFamily="34" charset="0"/>
                <a:cs typeface="+mn-lt"/>
              </a:rPr>
              <a:t>9600 </a:t>
            </a:r>
            <a:r>
              <a:rPr lang="en-US" sz="1600" dirty="0" smtClean="0">
                <a:latin typeface="Verdana" panose="020B0604030504040204" pitchFamily="34" charset="0"/>
                <a:ea typeface="Verdana" panose="020B0604030504040204" pitchFamily="34" charset="0"/>
                <a:cs typeface="+mn-lt"/>
              </a:rPr>
              <a:t>tons/</a:t>
            </a:r>
            <a:r>
              <a:rPr lang="en-US" sz="1600" dirty="0" err="1" smtClean="0">
                <a:latin typeface="Verdana" panose="020B0604030504040204" pitchFamily="34" charset="0"/>
                <a:ea typeface="Verdana" panose="020B0604030504040204" pitchFamily="34" charset="0"/>
                <a:cs typeface="+mn-lt"/>
              </a:rPr>
              <a:t>day.Only</a:t>
            </a:r>
            <a:r>
              <a:rPr lang="en-US" sz="1600" dirty="0" smtClean="0">
                <a:latin typeface="Verdana" panose="020B0604030504040204" pitchFamily="34" charset="0"/>
                <a:ea typeface="Verdana" panose="020B0604030504040204" pitchFamily="34" charset="0"/>
                <a:cs typeface="+mn-lt"/>
              </a:rPr>
              <a:t> </a:t>
            </a:r>
            <a:r>
              <a:rPr lang="en-US" sz="1600" dirty="0" smtClean="0">
                <a:latin typeface="Verdana" panose="020B0604030504040204" pitchFamily="34" charset="0"/>
                <a:ea typeface="Verdana" panose="020B0604030504040204" pitchFamily="34" charset="0"/>
                <a:cs typeface="+mn-lt"/>
              </a:rPr>
              <a:t>those days were considered for Cost calculation.</a:t>
            </a:r>
          </a:p>
          <a:p>
            <a:r>
              <a:rPr lang="en-US" sz="1600" dirty="0" smtClean="0">
                <a:latin typeface="Verdana" panose="020B0604030504040204" pitchFamily="34" charset="0"/>
                <a:ea typeface="Verdana" panose="020B0604030504040204" pitchFamily="34" charset="0"/>
                <a:cs typeface="+mn-lt"/>
              </a:rPr>
              <a:t> </a:t>
            </a:r>
            <a:endParaRPr lang="en-US" sz="1600" dirty="0">
              <a:latin typeface="Verdana" panose="020B0604030504040204" pitchFamily="34" charset="0"/>
              <a:ea typeface="Verdana" panose="020B0604030504040204" pitchFamily="34" charset="0"/>
              <a:cs typeface="+mn-lt"/>
            </a:endParaRPr>
          </a:p>
          <a:p>
            <a:r>
              <a:rPr lang="en-US" sz="1600" dirty="0" smtClean="0">
                <a:latin typeface="Verdana" panose="020B0604030504040204" pitchFamily="34" charset="0"/>
                <a:ea typeface="Verdana" panose="020B0604030504040204" pitchFamily="34" charset="0"/>
                <a:cs typeface="+mn-lt"/>
              </a:rPr>
              <a:t>Total Hot </a:t>
            </a:r>
            <a:r>
              <a:rPr lang="en-US" sz="1600" dirty="0">
                <a:latin typeface="Verdana" panose="020B0604030504040204" pitchFamily="34" charset="0"/>
                <a:ea typeface="Verdana" panose="020B0604030504040204" pitchFamily="34" charset="0"/>
                <a:cs typeface="+mn-lt"/>
              </a:rPr>
              <a:t>metal </a:t>
            </a:r>
            <a:r>
              <a:rPr lang="en-US" sz="1600" dirty="0" smtClean="0">
                <a:latin typeface="Verdana" panose="020B0604030504040204" pitchFamily="34" charset="0"/>
                <a:ea typeface="Verdana" panose="020B0604030504040204" pitchFamily="34" charset="0"/>
                <a:cs typeface="+mn-lt"/>
              </a:rPr>
              <a:t>production           =  2516434 </a:t>
            </a:r>
            <a:r>
              <a:rPr lang="en-US" sz="1600" dirty="0">
                <a:latin typeface="Verdana" panose="020B0604030504040204" pitchFamily="34" charset="0"/>
                <a:ea typeface="Verdana" panose="020B0604030504040204" pitchFamily="34" charset="0"/>
                <a:cs typeface="+mn-lt"/>
              </a:rPr>
              <a:t>tons</a:t>
            </a:r>
          </a:p>
          <a:p>
            <a:r>
              <a:rPr lang="en-US" sz="1600" dirty="0">
                <a:latin typeface="Verdana" panose="020B0604030504040204" pitchFamily="34" charset="0"/>
                <a:ea typeface="Verdana" panose="020B0604030504040204" pitchFamily="34" charset="0"/>
                <a:cs typeface="+mn-lt"/>
              </a:rPr>
              <a:t>Total amount of coke </a:t>
            </a:r>
            <a:r>
              <a:rPr lang="en-US" sz="1600" dirty="0" smtClean="0">
                <a:latin typeface="Verdana" panose="020B0604030504040204" pitchFamily="34" charset="0"/>
                <a:ea typeface="Verdana" panose="020B0604030504040204" pitchFamily="34" charset="0"/>
                <a:cs typeface="+mn-lt"/>
              </a:rPr>
              <a:t>consumed   =   82,00,96,640 kg</a:t>
            </a:r>
            <a:endParaRPr lang="en-US" sz="1600" dirty="0">
              <a:latin typeface="Verdana" panose="020B0604030504040204" pitchFamily="34" charset="0"/>
              <a:ea typeface="Verdana" panose="020B0604030504040204" pitchFamily="34" charset="0"/>
              <a:cs typeface="+mn-lt"/>
            </a:endParaRPr>
          </a:p>
          <a:p>
            <a:r>
              <a:rPr lang="en-US" sz="1600" dirty="0">
                <a:latin typeface="Verdana" panose="020B0604030504040204" pitchFamily="34" charset="0"/>
                <a:ea typeface="Verdana" panose="020B0604030504040204" pitchFamily="34" charset="0"/>
                <a:cs typeface="+mn-lt"/>
              </a:rPr>
              <a:t>Total amount of coal </a:t>
            </a:r>
            <a:r>
              <a:rPr lang="en-US" sz="1600" dirty="0" smtClean="0">
                <a:latin typeface="Verdana" panose="020B0604030504040204" pitchFamily="34" charset="0"/>
                <a:ea typeface="Verdana" panose="020B0604030504040204" pitchFamily="34" charset="0"/>
                <a:cs typeface="+mn-lt"/>
              </a:rPr>
              <a:t>consumed    =   507749023 kg</a:t>
            </a:r>
            <a:endParaRPr lang="en-US" sz="1600" dirty="0">
              <a:latin typeface="Verdana" panose="020B0604030504040204" pitchFamily="34" charset="0"/>
              <a:ea typeface="Verdana" panose="020B0604030504040204" pitchFamily="34" charset="0"/>
              <a:cs typeface="+mn-lt"/>
            </a:endParaRPr>
          </a:p>
          <a:p>
            <a:r>
              <a:rPr lang="en-US" sz="1600" dirty="0">
                <a:latin typeface="Verdana" panose="020B0604030504040204" pitchFamily="34" charset="0"/>
                <a:ea typeface="Verdana" panose="020B0604030504040204" pitchFamily="34" charset="0"/>
                <a:cs typeface="+mn-lt"/>
              </a:rPr>
              <a:t> </a:t>
            </a:r>
          </a:p>
          <a:p>
            <a:r>
              <a:rPr lang="en-US" sz="1600" dirty="0">
                <a:latin typeface="Verdana" panose="020B0604030504040204" pitchFamily="34" charset="0"/>
                <a:ea typeface="Verdana" panose="020B0604030504040204" pitchFamily="34" charset="0"/>
                <a:cs typeface="+mn-lt"/>
              </a:rPr>
              <a:t>Price of </a:t>
            </a:r>
            <a:r>
              <a:rPr lang="en-US" sz="1600" dirty="0" smtClean="0">
                <a:latin typeface="Verdana" panose="020B0604030504040204" pitchFamily="34" charset="0"/>
                <a:ea typeface="Verdana" panose="020B0604030504040204" pitchFamily="34" charset="0"/>
                <a:cs typeface="+mn-lt"/>
              </a:rPr>
              <a:t>coke= </a:t>
            </a:r>
            <a:r>
              <a:rPr lang="en-US" sz="1600" dirty="0" err="1" smtClean="0">
                <a:latin typeface="Verdana" panose="020B0604030504040204" pitchFamily="34" charset="0"/>
                <a:ea typeface="Verdana" panose="020B0604030504040204" pitchFamily="34" charset="0"/>
                <a:cs typeface="+mn-lt"/>
              </a:rPr>
              <a:t>Rs</a:t>
            </a:r>
            <a:r>
              <a:rPr lang="en-US" sz="1600" dirty="0" smtClean="0">
                <a:latin typeface="Verdana" panose="020B0604030504040204" pitchFamily="34" charset="0"/>
                <a:ea typeface="Verdana" panose="020B0604030504040204" pitchFamily="34" charset="0"/>
                <a:cs typeface="+mn-lt"/>
              </a:rPr>
              <a:t> 12400/ton</a:t>
            </a:r>
          </a:p>
          <a:p>
            <a:r>
              <a:rPr lang="en-US" sz="1600" dirty="0" smtClean="0">
                <a:latin typeface="Verdana" panose="020B0604030504040204" pitchFamily="34" charset="0"/>
                <a:ea typeface="Verdana" panose="020B0604030504040204" pitchFamily="34" charset="0"/>
                <a:cs typeface="+mn-lt"/>
              </a:rPr>
              <a:t>Price </a:t>
            </a:r>
            <a:r>
              <a:rPr lang="en-US" sz="1600" dirty="0">
                <a:latin typeface="Verdana" panose="020B0604030504040204" pitchFamily="34" charset="0"/>
                <a:ea typeface="Verdana" panose="020B0604030504040204" pitchFamily="34" charset="0"/>
                <a:cs typeface="+mn-lt"/>
              </a:rPr>
              <a:t>of coal </a:t>
            </a:r>
            <a:r>
              <a:rPr lang="en-US" sz="1600" dirty="0" smtClean="0">
                <a:latin typeface="Verdana" panose="020B0604030504040204" pitchFamily="34" charset="0"/>
                <a:ea typeface="Verdana" panose="020B0604030504040204" pitchFamily="34" charset="0"/>
                <a:cs typeface="+mn-lt"/>
              </a:rPr>
              <a:t>= </a:t>
            </a:r>
            <a:r>
              <a:rPr lang="en-US" sz="1600" dirty="0" err="1" smtClean="0">
                <a:latin typeface="Verdana" panose="020B0604030504040204" pitchFamily="34" charset="0"/>
                <a:ea typeface="Verdana" panose="020B0604030504040204" pitchFamily="34" charset="0"/>
                <a:cs typeface="+mn-lt"/>
              </a:rPr>
              <a:t>Rs</a:t>
            </a:r>
            <a:r>
              <a:rPr lang="en-US" sz="1600" dirty="0" smtClean="0">
                <a:latin typeface="Verdana" panose="020B0604030504040204" pitchFamily="34" charset="0"/>
                <a:ea typeface="Verdana" panose="020B0604030504040204" pitchFamily="34" charset="0"/>
                <a:cs typeface="+mn-lt"/>
              </a:rPr>
              <a:t> 4000/ton</a:t>
            </a:r>
            <a:endParaRPr lang="en-US" sz="1600" dirty="0">
              <a:latin typeface="Verdana" panose="020B0604030504040204" pitchFamily="34" charset="0"/>
              <a:ea typeface="Verdana" panose="020B0604030504040204" pitchFamily="34" charset="0"/>
              <a:cs typeface="+mn-lt"/>
            </a:endParaRPr>
          </a:p>
          <a:p>
            <a:endParaRPr lang="en-US" sz="1600" dirty="0">
              <a:latin typeface="Verdana" panose="020B0604030504040204" pitchFamily="34" charset="0"/>
              <a:ea typeface="Verdana" panose="020B0604030504040204" pitchFamily="34" charset="0"/>
              <a:cs typeface="+mn-lt"/>
            </a:endParaRPr>
          </a:p>
          <a:p>
            <a:r>
              <a:rPr lang="en-US" sz="1600" dirty="0">
                <a:latin typeface="Verdana" panose="020B0604030504040204" pitchFamily="34" charset="0"/>
                <a:ea typeface="Verdana" panose="020B0604030504040204" pitchFamily="34" charset="0"/>
              </a:rPr>
              <a:t>Amount spent on coke </a:t>
            </a:r>
            <a:r>
              <a:rPr lang="en-US" sz="1600" dirty="0" smtClean="0">
                <a:latin typeface="Verdana" panose="020B0604030504040204" pitchFamily="34" charset="0"/>
                <a:ea typeface="Verdana" panose="020B0604030504040204" pitchFamily="34" charset="0"/>
              </a:rPr>
              <a:t>     =(</a:t>
            </a:r>
            <a:r>
              <a:rPr lang="en-US" sz="1600" dirty="0">
                <a:latin typeface="Verdana" panose="020B0604030504040204" pitchFamily="34" charset="0"/>
                <a:ea typeface="Verdana" panose="020B0604030504040204" pitchFamily="34" charset="0"/>
              </a:rPr>
              <a:t>820096640/1000</a:t>
            </a:r>
            <a:r>
              <a:rPr lang="en-US" sz="1600" dirty="0" smtClean="0">
                <a:latin typeface="Verdana" panose="020B0604030504040204" pitchFamily="34" charset="0"/>
                <a:ea typeface="Verdana" panose="020B0604030504040204" pitchFamily="34" charset="0"/>
              </a:rPr>
              <a:t>)*12400                                      </a:t>
            </a:r>
          </a:p>
          <a:p>
            <a:r>
              <a:rPr lang="en-US" sz="1600" dirty="0">
                <a:latin typeface="Verdana" panose="020B0604030504040204" pitchFamily="34" charset="0"/>
                <a:ea typeface="Verdana" panose="020B0604030504040204" pitchFamily="34" charset="0"/>
              </a:rPr>
              <a:t> </a:t>
            </a:r>
            <a:r>
              <a:rPr lang="en-US" sz="1600" dirty="0" smtClean="0">
                <a:latin typeface="Verdana" panose="020B0604030504040204" pitchFamily="34" charset="0"/>
                <a:ea typeface="Verdana" panose="020B0604030504040204" pitchFamily="34" charset="0"/>
              </a:rPr>
              <a:t>                                      = </a:t>
            </a:r>
            <a:r>
              <a:rPr lang="en-US" sz="1600" dirty="0" err="1" smtClean="0">
                <a:latin typeface="Verdana" panose="020B0604030504040204" pitchFamily="34" charset="0"/>
                <a:ea typeface="Verdana" panose="020B0604030504040204" pitchFamily="34" charset="0"/>
              </a:rPr>
              <a:t>Rs</a:t>
            </a:r>
            <a:r>
              <a:rPr lang="en-US" sz="1600" dirty="0" smtClean="0">
                <a:latin typeface="Verdana" panose="020B0604030504040204" pitchFamily="34" charset="0"/>
                <a:ea typeface="Verdana" panose="020B0604030504040204" pitchFamily="34" charset="0"/>
              </a:rPr>
              <a:t> </a:t>
            </a:r>
            <a:r>
              <a:rPr lang="en-US" sz="1600" dirty="0"/>
              <a:t>10169198334</a:t>
            </a:r>
            <a:endParaRPr lang="en-US" sz="1600" dirty="0" smtClean="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Amount </a:t>
            </a:r>
            <a:r>
              <a:rPr lang="en-US" sz="1600" dirty="0">
                <a:latin typeface="Verdana" panose="020B0604030504040204" pitchFamily="34" charset="0"/>
                <a:ea typeface="Verdana" panose="020B0604030504040204" pitchFamily="34" charset="0"/>
              </a:rPr>
              <a:t>spent on </a:t>
            </a:r>
            <a:r>
              <a:rPr lang="en-US" sz="1600" dirty="0" smtClean="0">
                <a:latin typeface="Verdana" panose="020B0604030504040204" pitchFamily="34" charset="0"/>
                <a:ea typeface="Verdana" panose="020B0604030504040204" pitchFamily="34" charset="0"/>
              </a:rPr>
              <a:t>coal       =(</a:t>
            </a:r>
            <a:r>
              <a:rPr lang="en-US" sz="1600" dirty="0">
                <a:latin typeface="Verdana" panose="020B0604030504040204" pitchFamily="34" charset="0"/>
                <a:ea typeface="Verdana" panose="020B0604030504040204" pitchFamily="34" charset="0"/>
              </a:rPr>
              <a:t>507749023/1000</a:t>
            </a:r>
            <a:r>
              <a:rPr lang="en-US" sz="1600" dirty="0" smtClean="0">
                <a:latin typeface="Verdana" panose="020B0604030504040204" pitchFamily="34" charset="0"/>
                <a:ea typeface="Verdana" panose="020B0604030504040204" pitchFamily="34" charset="0"/>
              </a:rPr>
              <a:t>)*4000                                      </a:t>
            </a:r>
          </a:p>
          <a:p>
            <a:r>
              <a:rPr lang="en-US" sz="1600" dirty="0" smtClean="0">
                <a:latin typeface="Verdana" panose="020B0604030504040204" pitchFamily="34" charset="0"/>
                <a:ea typeface="Verdana" panose="020B0604030504040204" pitchFamily="34" charset="0"/>
              </a:rPr>
              <a:t>                                       = </a:t>
            </a:r>
            <a:r>
              <a:rPr lang="en-US" sz="1600" dirty="0" err="1" smtClean="0">
                <a:latin typeface="Verdana" panose="020B0604030504040204" pitchFamily="34" charset="0"/>
                <a:ea typeface="Verdana" panose="020B0604030504040204" pitchFamily="34" charset="0"/>
              </a:rPr>
              <a:t>Rs</a:t>
            </a:r>
            <a:r>
              <a:rPr lang="en-US" sz="1600" dirty="0" smtClean="0">
                <a:latin typeface="Verdana" panose="020B0604030504040204" pitchFamily="34" charset="0"/>
                <a:ea typeface="Verdana" panose="020B0604030504040204" pitchFamily="34" charset="0"/>
              </a:rPr>
              <a:t> </a:t>
            </a:r>
            <a:r>
              <a:rPr lang="en-US" sz="1600" dirty="0" smtClean="0"/>
              <a:t>2030996092</a:t>
            </a:r>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rPr>
              <a:t>Total amount </a:t>
            </a:r>
            <a:r>
              <a:rPr lang="en-US" sz="1600" dirty="0" smtClean="0">
                <a:latin typeface="Verdana" panose="020B0604030504040204" pitchFamily="34" charset="0"/>
                <a:ea typeface="Verdana" panose="020B0604030504040204" pitchFamily="34" charset="0"/>
              </a:rPr>
              <a:t>spent           =</a:t>
            </a:r>
            <a:r>
              <a:rPr lang="en-US" sz="1600" dirty="0" err="1" smtClean="0">
                <a:latin typeface="Verdana" panose="020B0604030504040204" pitchFamily="34" charset="0"/>
                <a:ea typeface="Verdana" panose="020B0604030504040204" pitchFamily="34" charset="0"/>
              </a:rPr>
              <a:t>Rs</a:t>
            </a:r>
            <a:r>
              <a:rPr lang="en-US" sz="1600" dirty="0" smtClean="0">
                <a:latin typeface="Verdana" panose="020B0604030504040204" pitchFamily="34" charset="0"/>
                <a:ea typeface="Verdana" panose="020B0604030504040204" pitchFamily="34" charset="0"/>
              </a:rPr>
              <a:t>. </a:t>
            </a:r>
            <a:r>
              <a:rPr lang="en-US" dirty="0"/>
              <a:t>12200194426</a:t>
            </a:r>
            <a:r>
              <a:rPr lang="en-US" sz="1600" dirty="0"/>
              <a:t> </a:t>
            </a:r>
            <a:endParaRPr lang="en-US" sz="1600" kern="0" dirty="0">
              <a:latin typeface="Verdana" panose="020B0604030504040204" pitchFamily="34" charset="0"/>
              <a:ea typeface="Verdana" panose="020B0604030504040204" pitchFamily="34" charset="0"/>
              <a:cs typeface="Calibri"/>
            </a:endParaRPr>
          </a:p>
        </p:txBody>
      </p:sp>
      <p:sp>
        <p:nvSpPr>
          <p:cNvPr id="7" name="Subtitle 5">
            <a:extLst>
              <a:ext uri="{FF2B5EF4-FFF2-40B4-BE49-F238E27FC236}">
                <a16:creationId xmlns:a16="http://schemas.microsoft.com/office/drawing/2014/main" id="{77314BF9-F5D4-DD43-D446-1E29C4B3F3DF}"/>
              </a:ext>
            </a:extLst>
          </p:cNvPr>
          <p:cNvSpPr txBox="1">
            <a:spLocks/>
          </p:cNvSpPr>
          <p:nvPr/>
        </p:nvSpPr>
        <p:spPr>
          <a:xfrm>
            <a:off x="7464152" y="1220263"/>
            <a:ext cx="4464496" cy="4739759"/>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en-US" sz="1600" b="1" dirty="0" smtClean="0">
                <a:solidFill>
                  <a:schemeClr val="tx2"/>
                </a:solidFill>
                <a:latin typeface="Verdana" panose="020B0604030504040204" pitchFamily="34" charset="0"/>
                <a:ea typeface="Verdana" panose="020B0604030504040204" pitchFamily="34" charset="0"/>
                <a:cs typeface="+mn-lt"/>
              </a:rPr>
              <a:t>After Model Implementation</a:t>
            </a:r>
            <a:endParaRPr lang="en-US" sz="1600" b="1" dirty="0">
              <a:solidFill>
                <a:schemeClr val="tx2"/>
              </a:solidFill>
              <a:latin typeface="Verdana" panose="020B0604030504040204" pitchFamily="34" charset="0"/>
              <a:ea typeface="Verdana" panose="020B0604030504040204" pitchFamily="34" charset="0"/>
              <a:cs typeface="+mn-lt"/>
            </a:endParaRPr>
          </a:p>
          <a:p>
            <a:endParaRPr lang="en-US" sz="1600" dirty="0" smtClean="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From </a:t>
            </a:r>
            <a:r>
              <a:rPr lang="en-US" sz="1600" dirty="0">
                <a:latin typeface="Verdana" panose="020B0604030504040204" pitchFamily="34" charset="0"/>
                <a:ea typeface="Verdana" panose="020B0604030504040204" pitchFamily="34" charset="0"/>
              </a:rPr>
              <a:t>present method for same amount of production i.e</a:t>
            </a:r>
            <a:r>
              <a:rPr lang="en-US" sz="1600" dirty="0" smtClean="0">
                <a:latin typeface="Verdana" panose="020B0604030504040204" pitchFamily="34" charset="0"/>
                <a:ea typeface="Verdana" panose="020B0604030504040204" pitchFamily="34" charset="0"/>
              </a:rPr>
              <a:t>. </a:t>
            </a:r>
            <a:r>
              <a:rPr lang="en-US" sz="1600" dirty="0">
                <a:latin typeface="Verdana" panose="020B0604030504040204" pitchFamily="34" charset="0"/>
                <a:ea typeface="Verdana" panose="020B0604030504040204" pitchFamily="34" charset="0"/>
              </a:rPr>
              <a:t>2516434 tons of hot metal</a:t>
            </a:r>
          </a:p>
          <a:p>
            <a:endParaRPr lang="en-US" sz="1600" dirty="0">
              <a:latin typeface="Verdana" panose="020B0604030504040204" pitchFamily="34" charset="0"/>
              <a:ea typeface="Verdana" panose="020B0604030504040204" pitchFamily="34" charset="0"/>
            </a:endParaRPr>
          </a:p>
          <a:p>
            <a:r>
              <a:rPr lang="en-US" sz="1600" dirty="0">
                <a:latin typeface="Verdana" panose="020B0604030504040204" pitchFamily="34" charset="0"/>
                <a:ea typeface="Verdana" panose="020B0604030504040204" pitchFamily="34" charset="0"/>
              </a:rPr>
              <a:t>Amount spent on coke in Rupees after implementing the </a:t>
            </a:r>
            <a:r>
              <a:rPr lang="en-US" sz="1600" dirty="0" smtClean="0">
                <a:latin typeface="Verdana" panose="020B0604030504040204" pitchFamily="34" charset="0"/>
                <a:ea typeface="Verdana" panose="020B0604030504040204" pitchFamily="34" charset="0"/>
              </a:rPr>
              <a:t>model =(2516434*308/1000*12400)</a:t>
            </a:r>
          </a:p>
          <a:p>
            <a:r>
              <a:rPr lang="en-US" sz="1600" dirty="0" smtClean="0">
                <a:latin typeface="Verdana" panose="020B0604030504040204" pitchFamily="34" charset="0"/>
                <a:ea typeface="Verdana" panose="020B0604030504040204" pitchFamily="34" charset="0"/>
              </a:rPr>
              <a:t>=</a:t>
            </a:r>
            <a:r>
              <a:rPr lang="en-US" sz="1600" dirty="0" err="1" smtClean="0">
                <a:latin typeface="Verdana" panose="020B0604030504040204" pitchFamily="34" charset="0"/>
                <a:ea typeface="Verdana" panose="020B0604030504040204" pitchFamily="34" charset="0"/>
              </a:rPr>
              <a:t>Rs</a:t>
            </a:r>
            <a:r>
              <a:rPr lang="en-US" sz="1600" dirty="0" smtClean="0">
                <a:latin typeface="Verdana" panose="020B0604030504040204" pitchFamily="34" charset="0"/>
                <a:ea typeface="Verdana" panose="020B0604030504040204" pitchFamily="34" charset="0"/>
              </a:rPr>
              <a:t> </a:t>
            </a:r>
            <a:r>
              <a:rPr lang="en-US" sz="1600" dirty="0" smtClean="0"/>
              <a:t>9610765799</a:t>
            </a:r>
            <a:endParaRPr lang="en-US" sz="1600" dirty="0">
              <a:latin typeface="Verdana" panose="020B0604030504040204" pitchFamily="34" charset="0"/>
              <a:ea typeface="Verdana" panose="020B0604030504040204" pitchFamily="34" charset="0"/>
              <a:cs typeface="+mn-lt"/>
            </a:endParaRPr>
          </a:p>
          <a:p>
            <a:endParaRPr lang="en-US" sz="1600" dirty="0" smtClean="0">
              <a:latin typeface="Verdana" panose="020B0604030504040204" pitchFamily="34" charset="0"/>
              <a:ea typeface="Verdana" panose="020B0604030504040204" pitchFamily="34" charset="0"/>
            </a:endParaRPr>
          </a:p>
          <a:p>
            <a:endParaRPr lang="en-US" sz="1600" dirty="0" smtClean="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rPr>
              <a:t>Amount </a:t>
            </a:r>
            <a:r>
              <a:rPr lang="en-US" sz="1600" dirty="0">
                <a:latin typeface="Verdana" panose="020B0604030504040204" pitchFamily="34" charset="0"/>
                <a:ea typeface="Verdana" panose="020B0604030504040204" pitchFamily="34" charset="0"/>
              </a:rPr>
              <a:t>spent on coke in Rupees after implementing the </a:t>
            </a:r>
            <a:r>
              <a:rPr lang="en-US" sz="1600" dirty="0" smtClean="0">
                <a:latin typeface="Verdana" panose="020B0604030504040204" pitchFamily="34" charset="0"/>
                <a:ea typeface="Verdana" panose="020B0604030504040204" pitchFamily="34" charset="0"/>
              </a:rPr>
              <a:t>model   =(2516434*192/1000*4000) </a:t>
            </a:r>
          </a:p>
          <a:p>
            <a:r>
              <a:rPr lang="en-US" sz="1600" dirty="0" smtClean="0">
                <a:latin typeface="Verdana" panose="020B0604030504040204" pitchFamily="34" charset="0"/>
                <a:ea typeface="Verdana" panose="020B0604030504040204" pitchFamily="34" charset="0"/>
              </a:rPr>
              <a:t>=</a:t>
            </a:r>
            <a:r>
              <a:rPr lang="en-US" sz="1600" dirty="0" err="1" smtClean="0">
                <a:latin typeface="Verdana" panose="020B0604030504040204" pitchFamily="34" charset="0"/>
                <a:ea typeface="Verdana" panose="020B0604030504040204" pitchFamily="34" charset="0"/>
              </a:rPr>
              <a:t>Rs</a:t>
            </a:r>
            <a:r>
              <a:rPr lang="en-US" sz="1600" dirty="0" smtClean="0">
                <a:latin typeface="Verdana" panose="020B0604030504040204" pitchFamily="34" charset="0"/>
                <a:ea typeface="Verdana" panose="020B0604030504040204" pitchFamily="34" charset="0"/>
              </a:rPr>
              <a:t> </a:t>
            </a:r>
            <a:r>
              <a:rPr lang="en-US" dirty="0"/>
              <a:t>1932621526</a:t>
            </a:r>
            <a:r>
              <a:rPr lang="en-US" sz="1600" dirty="0" smtClean="0"/>
              <a:t> </a:t>
            </a:r>
            <a:endParaRPr lang="en-US" sz="1600" dirty="0" smtClean="0">
              <a:latin typeface="Verdana" panose="020B0604030504040204" pitchFamily="34" charset="0"/>
              <a:ea typeface="Verdana" panose="020B0604030504040204" pitchFamily="34" charset="0"/>
            </a:endParaRPr>
          </a:p>
          <a:p>
            <a:endParaRPr lang="en-US" sz="1600" dirty="0" smtClean="0">
              <a:latin typeface="Verdana" panose="020B0604030504040204" pitchFamily="34" charset="0"/>
              <a:ea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mn-lt"/>
              </a:rPr>
              <a:t>Total </a:t>
            </a:r>
            <a:r>
              <a:rPr lang="en-US" sz="1600" dirty="0">
                <a:latin typeface="Verdana" panose="020B0604030504040204" pitchFamily="34" charset="0"/>
                <a:ea typeface="Verdana" panose="020B0604030504040204" pitchFamily="34" charset="0"/>
                <a:cs typeface="+mn-lt"/>
              </a:rPr>
              <a:t>Amount </a:t>
            </a:r>
            <a:r>
              <a:rPr lang="en-US" sz="1600" dirty="0" smtClean="0">
                <a:latin typeface="Verdana" panose="020B0604030504040204" pitchFamily="34" charset="0"/>
                <a:ea typeface="Verdana" panose="020B0604030504040204" pitchFamily="34" charset="0"/>
                <a:cs typeface="+mn-lt"/>
              </a:rPr>
              <a:t>Spent</a:t>
            </a:r>
          </a:p>
          <a:p>
            <a:r>
              <a:rPr lang="en-US" sz="1600" dirty="0" smtClean="0">
                <a:latin typeface="Verdana" panose="020B0604030504040204" pitchFamily="34" charset="0"/>
                <a:ea typeface="Verdana" panose="020B0604030504040204" pitchFamily="34" charset="0"/>
                <a:cs typeface="+mn-lt"/>
              </a:rPr>
              <a:t>=</a:t>
            </a:r>
            <a:r>
              <a:rPr lang="en-US" sz="1600" dirty="0" err="1" smtClean="0">
                <a:latin typeface="Verdana" panose="020B0604030504040204" pitchFamily="34" charset="0"/>
                <a:ea typeface="Verdana" panose="020B0604030504040204" pitchFamily="34" charset="0"/>
                <a:cs typeface="+mn-lt"/>
              </a:rPr>
              <a:t>Rs</a:t>
            </a:r>
            <a:r>
              <a:rPr lang="en-US" sz="1600" dirty="0" smtClean="0">
                <a:latin typeface="Verdana" panose="020B0604030504040204" pitchFamily="34" charset="0"/>
                <a:ea typeface="Verdana" panose="020B0604030504040204" pitchFamily="34" charset="0"/>
                <a:cs typeface="+mn-lt"/>
              </a:rPr>
              <a:t> </a:t>
            </a:r>
            <a:r>
              <a:rPr lang="en-US" sz="1600" dirty="0" smtClean="0"/>
              <a:t>9610765799 + </a:t>
            </a:r>
            <a:r>
              <a:rPr lang="en-US" sz="1600" dirty="0"/>
              <a:t>1932621526 </a:t>
            </a:r>
            <a:endParaRPr lang="en-US" sz="1600" dirty="0" smtClean="0"/>
          </a:p>
          <a:p>
            <a:r>
              <a:rPr lang="en-US" sz="1600" dirty="0" smtClean="0">
                <a:latin typeface="Verdana" panose="020B0604030504040204" pitchFamily="34" charset="0"/>
                <a:ea typeface="Verdana" panose="020B0604030504040204" pitchFamily="34" charset="0"/>
                <a:cs typeface="+mn-lt"/>
              </a:rPr>
              <a:t>= </a:t>
            </a:r>
            <a:r>
              <a:rPr lang="en-US" dirty="0"/>
              <a:t>11543387325</a:t>
            </a:r>
            <a:r>
              <a:rPr lang="en-US" sz="1600" dirty="0"/>
              <a:t> </a:t>
            </a:r>
            <a:endParaRPr lang="en-US" sz="1600" dirty="0">
              <a:latin typeface="Verdana" panose="020B0604030504040204" pitchFamily="34" charset="0"/>
              <a:ea typeface="Verdana" panose="020B0604030504040204" pitchFamily="34" charset="0"/>
              <a:cs typeface="+mn-lt"/>
            </a:endParaRPr>
          </a:p>
        </p:txBody>
      </p:sp>
      <p:sp>
        <p:nvSpPr>
          <p:cNvPr id="4" name="Title 3"/>
          <p:cNvSpPr>
            <a:spLocks noGrp="1"/>
          </p:cNvSpPr>
          <p:nvPr>
            <p:ph type="title"/>
          </p:nvPr>
        </p:nvSpPr>
        <p:spPr>
          <a:xfrm>
            <a:off x="547311" y="6381329"/>
            <a:ext cx="9869169" cy="215444"/>
          </a:xfrm>
        </p:spPr>
        <p:txBody>
          <a:bodyPr/>
          <a:lstStyle/>
          <a:p>
            <a:r>
              <a:rPr lang="en-US" sz="1200" dirty="0" smtClean="0"/>
              <a:t>*source: </a:t>
            </a:r>
            <a:r>
              <a:rPr lang="en-US" sz="1400" dirty="0" err="1" smtClean="0"/>
              <a:t>IndiaMart</a:t>
            </a:r>
            <a:endParaRPr lang="en-US" sz="1400" dirty="0"/>
          </a:p>
        </p:txBody>
      </p:sp>
    </p:spTree>
    <p:extLst>
      <p:ext uri="{BB962C8B-B14F-4D97-AF65-F5344CB8AC3E}">
        <p14:creationId xmlns:p14="http://schemas.microsoft.com/office/powerpoint/2010/main" val="7381716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983432" y="1988840"/>
            <a:ext cx="2520280" cy="25202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5" name="Oval 4"/>
          <p:cNvSpPr/>
          <p:nvPr/>
        </p:nvSpPr>
        <p:spPr>
          <a:xfrm>
            <a:off x="4519234" y="1982376"/>
            <a:ext cx="2448272" cy="24482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6" name="Oval 5"/>
          <p:cNvSpPr/>
          <p:nvPr/>
        </p:nvSpPr>
        <p:spPr>
          <a:xfrm>
            <a:off x="8472264" y="1988840"/>
            <a:ext cx="2520280" cy="25202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7" name="TextBox 6"/>
          <p:cNvSpPr txBox="1"/>
          <p:nvPr/>
        </p:nvSpPr>
        <p:spPr>
          <a:xfrm flipH="1">
            <a:off x="1102559" y="2452693"/>
            <a:ext cx="2232248" cy="1323439"/>
          </a:xfrm>
          <a:prstGeom prst="rect">
            <a:avLst/>
          </a:prstGeom>
          <a:noFill/>
        </p:spPr>
        <p:txBody>
          <a:bodyPr wrap="square" rtlCol="0">
            <a:spAutoFit/>
          </a:bodyPr>
          <a:lstStyle/>
          <a:p>
            <a:pPr algn="ctr"/>
            <a:r>
              <a:rPr lang="en-US" sz="1600" dirty="0">
                <a:solidFill>
                  <a:schemeClr val="bg1"/>
                </a:solidFill>
                <a:latin typeface="Verdana" panose="020B0604030504040204" pitchFamily="34" charset="0"/>
                <a:ea typeface="Verdana" panose="020B0604030504040204" pitchFamily="34" charset="0"/>
              </a:rPr>
              <a:t>Amount spent on Coke and Coal using present </a:t>
            </a:r>
            <a:r>
              <a:rPr lang="en-US" sz="1600" dirty="0" smtClean="0">
                <a:solidFill>
                  <a:schemeClr val="bg1"/>
                </a:solidFill>
                <a:latin typeface="Verdana" panose="020B0604030504040204" pitchFamily="34" charset="0"/>
                <a:ea typeface="Verdana" panose="020B0604030504040204" pitchFamily="34" charset="0"/>
              </a:rPr>
              <a:t>method</a:t>
            </a:r>
          </a:p>
          <a:p>
            <a:pPr algn="ctr"/>
            <a:r>
              <a:rPr lang="en-US" sz="1600" dirty="0" smtClean="0">
                <a:solidFill>
                  <a:schemeClr val="bg1"/>
                </a:solidFill>
                <a:latin typeface="Verdana" panose="020B0604030504040204" pitchFamily="34" charset="0"/>
                <a:ea typeface="Verdana" panose="020B0604030504040204" pitchFamily="34" charset="0"/>
              </a:rPr>
              <a:t>1220 Cr.</a:t>
            </a:r>
            <a:endParaRPr lang="en-US" sz="1600" dirty="0">
              <a:solidFill>
                <a:schemeClr val="bg1"/>
              </a:solidFill>
              <a:latin typeface="Verdana" panose="020B0604030504040204" pitchFamily="34" charset="0"/>
              <a:ea typeface="Verdana" panose="020B0604030504040204" pitchFamily="34" charset="0"/>
            </a:endParaRPr>
          </a:p>
        </p:txBody>
      </p:sp>
      <p:sp>
        <p:nvSpPr>
          <p:cNvPr id="8" name="TextBox 7"/>
          <p:cNvSpPr txBox="1"/>
          <p:nvPr/>
        </p:nvSpPr>
        <p:spPr>
          <a:xfrm flipH="1">
            <a:off x="4627246" y="2452694"/>
            <a:ext cx="2232248" cy="1323439"/>
          </a:xfrm>
          <a:prstGeom prst="rect">
            <a:avLst/>
          </a:prstGeom>
          <a:noFill/>
        </p:spPr>
        <p:txBody>
          <a:bodyPr wrap="square" rtlCol="0">
            <a:spAutoFit/>
          </a:bodyPr>
          <a:lstStyle/>
          <a:p>
            <a:pPr algn="ctr"/>
            <a:r>
              <a:rPr lang="en-US" sz="1600" dirty="0">
                <a:solidFill>
                  <a:schemeClr val="bg1"/>
                </a:solidFill>
                <a:latin typeface="Verdana" panose="020B0604030504040204" pitchFamily="34" charset="0"/>
                <a:ea typeface="Verdana" panose="020B0604030504040204" pitchFamily="34" charset="0"/>
              </a:rPr>
              <a:t>Amount spent on Coke and Coal after implementing the </a:t>
            </a:r>
            <a:r>
              <a:rPr lang="en-US" sz="1600" dirty="0" smtClean="0">
                <a:solidFill>
                  <a:schemeClr val="bg1"/>
                </a:solidFill>
                <a:latin typeface="Verdana" panose="020B0604030504040204" pitchFamily="34" charset="0"/>
                <a:ea typeface="Verdana" panose="020B0604030504040204" pitchFamily="34" charset="0"/>
              </a:rPr>
              <a:t>model</a:t>
            </a:r>
            <a:endParaRPr lang="en-US" sz="1600" dirty="0">
              <a:solidFill>
                <a:schemeClr val="bg1"/>
              </a:solidFill>
              <a:latin typeface="Verdana" panose="020B0604030504040204" pitchFamily="34" charset="0"/>
              <a:ea typeface="Verdana" panose="020B0604030504040204" pitchFamily="34" charset="0"/>
            </a:endParaRPr>
          </a:p>
          <a:p>
            <a:pPr algn="ctr"/>
            <a:r>
              <a:rPr lang="en-US" sz="1600" dirty="0" smtClean="0">
                <a:solidFill>
                  <a:schemeClr val="bg1"/>
                </a:solidFill>
                <a:latin typeface="Verdana" panose="020B0604030504040204" pitchFamily="34" charset="0"/>
                <a:ea typeface="Verdana" panose="020B0604030504040204" pitchFamily="34" charset="0"/>
              </a:rPr>
              <a:t>1154.5 Cr</a:t>
            </a:r>
            <a:endParaRPr lang="en-US" sz="1600" dirty="0">
              <a:solidFill>
                <a:schemeClr val="bg1"/>
              </a:solidFill>
              <a:latin typeface="Verdana" panose="020B0604030504040204" pitchFamily="34" charset="0"/>
              <a:ea typeface="Verdana" panose="020B0604030504040204" pitchFamily="34" charset="0"/>
            </a:endParaRPr>
          </a:p>
        </p:txBody>
      </p:sp>
      <p:sp>
        <p:nvSpPr>
          <p:cNvPr id="9" name="TextBox 8"/>
          <p:cNvSpPr txBox="1"/>
          <p:nvPr/>
        </p:nvSpPr>
        <p:spPr>
          <a:xfrm flipH="1">
            <a:off x="8713177" y="2637716"/>
            <a:ext cx="1951626" cy="769441"/>
          </a:xfrm>
          <a:prstGeom prst="rect">
            <a:avLst/>
          </a:prstGeom>
          <a:noFill/>
        </p:spPr>
        <p:txBody>
          <a:bodyPr wrap="square" rtlCol="0">
            <a:spAutoFit/>
          </a:bodyPr>
          <a:lstStyle/>
          <a:p>
            <a:pPr algn="ctr"/>
            <a:r>
              <a:rPr lang="en-US" sz="1600" b="1" dirty="0">
                <a:solidFill>
                  <a:schemeClr val="bg1"/>
                </a:solidFill>
                <a:latin typeface="Verdana" panose="020B0604030504040204" pitchFamily="34" charset="0"/>
                <a:ea typeface="Verdana" panose="020B0604030504040204" pitchFamily="34" charset="0"/>
              </a:rPr>
              <a:t>Amount Saved</a:t>
            </a:r>
          </a:p>
          <a:p>
            <a:pPr algn="ctr"/>
            <a:r>
              <a:rPr lang="en-US" sz="2800" b="1" dirty="0" smtClean="0">
                <a:solidFill>
                  <a:schemeClr val="bg1"/>
                </a:solidFill>
                <a:latin typeface="Verdana" panose="020B0604030504040204" pitchFamily="34" charset="0"/>
                <a:ea typeface="Verdana" panose="020B0604030504040204" pitchFamily="34" charset="0"/>
              </a:rPr>
              <a:t>65.5 Cr</a:t>
            </a:r>
            <a:endParaRPr lang="en-US" sz="2800" b="1" dirty="0">
              <a:solidFill>
                <a:schemeClr val="bg1"/>
              </a:solidFill>
              <a:latin typeface="Verdana" panose="020B0604030504040204" pitchFamily="34" charset="0"/>
              <a:ea typeface="Verdana" panose="020B0604030504040204" pitchFamily="34" charset="0"/>
            </a:endParaRPr>
          </a:p>
        </p:txBody>
      </p:sp>
      <p:sp>
        <p:nvSpPr>
          <p:cNvPr id="10" name="Minus 9"/>
          <p:cNvSpPr/>
          <p:nvPr/>
        </p:nvSpPr>
        <p:spPr>
          <a:xfrm>
            <a:off x="3575720" y="2759361"/>
            <a:ext cx="763494" cy="91768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qual 10"/>
          <p:cNvSpPr/>
          <p:nvPr/>
        </p:nvSpPr>
        <p:spPr>
          <a:xfrm>
            <a:off x="7320136" y="2852936"/>
            <a:ext cx="864096" cy="739061"/>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ext Box 5"/>
          <p:cNvSpPr txBox="1">
            <a:spLocks noChangeArrowheads="1"/>
          </p:cNvSpPr>
          <p:nvPr/>
        </p:nvSpPr>
        <p:spPr bwMode="auto">
          <a:xfrm>
            <a:off x="2567608" y="404664"/>
            <a:ext cx="7848872" cy="461661"/>
          </a:xfrm>
          <a:prstGeom prst="rect">
            <a:avLst/>
          </a:prstGeom>
          <a:noFill/>
          <a:ln w="9525">
            <a:noFill/>
            <a:miter lim="800000"/>
            <a:headEnd/>
            <a:tailEnd/>
          </a:ln>
        </p:spPr>
        <p:txBody>
          <a:bodyPr wrap="square" lIns="91436" tIns="45718" rIns="91436" bIns="45718">
            <a:prstTxWarp prst="textNoShape">
              <a:avLst/>
            </a:prstTxWarp>
            <a:spAutoFit/>
          </a:bodyPr>
          <a:lstStyle/>
          <a:p>
            <a:r>
              <a:rPr lang="en-IN" sz="2400" b="1" dirty="0">
                <a:solidFill>
                  <a:srgbClr val="003399"/>
                </a:solidFill>
                <a:latin typeface="Verdana" panose="020B0604030504040204" pitchFamily="34" charset="0"/>
                <a:ea typeface="Verdana" panose="020B0604030504040204" pitchFamily="34" charset="0"/>
              </a:rPr>
              <a:t>Cost Analysis After Model Implementation </a:t>
            </a:r>
          </a:p>
        </p:txBody>
      </p:sp>
      <p:cxnSp>
        <p:nvCxnSpPr>
          <p:cNvPr id="13" name="Straight Connector 12"/>
          <p:cNvCxnSpPr/>
          <p:nvPr/>
        </p:nvCxnSpPr>
        <p:spPr>
          <a:xfrm flipH="1">
            <a:off x="1991544" y="892451"/>
            <a:ext cx="8942764" cy="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
        <p:nvSpPr>
          <p:cNvPr id="16" name="Subtitle 5">
            <a:extLst>
              <a:ext uri="{FF2B5EF4-FFF2-40B4-BE49-F238E27FC236}">
                <a16:creationId xmlns:a16="http://schemas.microsoft.com/office/drawing/2014/main" id="{77314BF9-F5D4-DD43-D446-1E29C4B3F3DF}"/>
              </a:ext>
            </a:extLst>
          </p:cNvPr>
          <p:cNvSpPr txBox="1">
            <a:spLocks/>
          </p:cNvSpPr>
          <p:nvPr/>
        </p:nvSpPr>
        <p:spPr>
          <a:xfrm>
            <a:off x="2567608" y="5003523"/>
            <a:ext cx="6768752" cy="492443"/>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en-US" sz="1600" b="1" kern="0" dirty="0" smtClean="0">
                <a:latin typeface="Verdana" panose="020B0604030504040204" pitchFamily="34" charset="0"/>
                <a:ea typeface="Verdana" panose="020B0604030504040204" pitchFamily="34" charset="0"/>
                <a:cs typeface="Calibri"/>
              </a:rPr>
              <a:t>Money spent on the Coke and Coal Can be </a:t>
            </a:r>
            <a:r>
              <a:rPr lang="en-US" sz="1600" b="1" kern="0" dirty="0" smtClean="0">
                <a:solidFill>
                  <a:srgbClr val="FF0000"/>
                </a:solidFill>
                <a:latin typeface="Verdana" panose="020B0604030504040204" pitchFamily="34" charset="0"/>
                <a:ea typeface="Verdana" panose="020B0604030504040204" pitchFamily="34" charset="0"/>
                <a:cs typeface="Calibri"/>
              </a:rPr>
              <a:t>decreased by 5.36%</a:t>
            </a:r>
            <a:r>
              <a:rPr lang="en-US" sz="1600" b="1" kern="0" dirty="0" smtClean="0">
                <a:latin typeface="Verdana" panose="020B0604030504040204" pitchFamily="34" charset="0"/>
                <a:ea typeface="Verdana" panose="020B0604030504040204" pitchFamily="34" charset="0"/>
                <a:cs typeface="Calibri"/>
              </a:rPr>
              <a:t> after implementation of model</a:t>
            </a:r>
            <a:endParaRPr lang="en-US" sz="1600" b="1" kern="0" dirty="0">
              <a:latin typeface="Verdana" panose="020B0604030504040204" pitchFamily="34" charset="0"/>
              <a:ea typeface="Verdana" panose="020B0604030504040204" pitchFamily="34" charset="0"/>
              <a:cs typeface="Calibri"/>
            </a:endParaRPr>
          </a:p>
        </p:txBody>
      </p:sp>
      <p:sp>
        <p:nvSpPr>
          <p:cNvPr id="14" name="Subtitle 5">
            <a:extLst>
              <a:ext uri="{FF2B5EF4-FFF2-40B4-BE49-F238E27FC236}">
                <a16:creationId xmlns:a16="http://schemas.microsoft.com/office/drawing/2014/main" id="{77314BF9-F5D4-DD43-D446-1E29C4B3F3DF}"/>
              </a:ext>
            </a:extLst>
          </p:cNvPr>
          <p:cNvSpPr txBox="1">
            <a:spLocks/>
          </p:cNvSpPr>
          <p:nvPr/>
        </p:nvSpPr>
        <p:spPr>
          <a:xfrm>
            <a:off x="2567608" y="5845853"/>
            <a:ext cx="6696744" cy="553998"/>
          </a:xfrm>
          <a:prstGeom prst="rect">
            <a:avLst/>
          </a:prstGeom>
          <a:solidFill>
            <a:srgbClr val="E9EDF4"/>
          </a:solidFill>
          <a:ln w="19050">
            <a:solidFill>
              <a:schemeClr val="accent1">
                <a:lumMod val="75000"/>
              </a:schemeClr>
            </a:solidFill>
          </a:ln>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en-US" b="1" dirty="0">
                <a:solidFill>
                  <a:srgbClr val="003399"/>
                </a:solidFill>
                <a:latin typeface="Verdana" panose="020B0604030504040204" pitchFamily="34" charset="0"/>
                <a:ea typeface="Verdana" panose="020B0604030504040204" pitchFamily="34" charset="0"/>
              </a:rPr>
              <a:t>Amount of Carbon used is decreased by 69629 </a:t>
            </a:r>
            <a:r>
              <a:rPr lang="en-US" b="1" dirty="0" err="1">
                <a:solidFill>
                  <a:srgbClr val="003399"/>
                </a:solidFill>
                <a:latin typeface="Verdana" panose="020B0604030504040204" pitchFamily="34" charset="0"/>
                <a:ea typeface="Verdana" panose="020B0604030504040204" pitchFamily="34" charset="0"/>
              </a:rPr>
              <a:t>tonnes</a:t>
            </a:r>
            <a:r>
              <a:rPr lang="en-US" b="1" dirty="0">
                <a:solidFill>
                  <a:srgbClr val="003399"/>
                </a:solidFill>
                <a:latin typeface="Verdana" panose="020B0604030504040204" pitchFamily="34" charset="0"/>
                <a:ea typeface="Verdana" panose="020B0604030504040204" pitchFamily="34" charset="0"/>
              </a:rPr>
              <a:t>/annum</a:t>
            </a:r>
            <a:endParaRPr lang="en-US" b="1" dirty="0">
              <a:solidFill>
                <a:srgbClr val="003399"/>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1253208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ayer 2.png"/>
          <p:cNvPicPr>
            <a:picLocks noChangeAspect="1"/>
          </p:cNvPicPr>
          <p:nvPr/>
        </p:nvPicPr>
        <p:blipFill>
          <a:blip r:embed="rId2"/>
          <a:stretch>
            <a:fillRect/>
          </a:stretch>
        </p:blipFill>
        <p:spPr>
          <a:xfrm>
            <a:off x="2024034" y="2202891"/>
            <a:ext cx="8143932" cy="2452218"/>
          </a:xfrm>
          <a:prstGeom prst="rect">
            <a:avLst/>
          </a:prstGeom>
        </p:spPr>
      </p:pic>
    </p:spTree>
    <p:extLst>
      <p:ext uri="{BB962C8B-B14F-4D97-AF65-F5344CB8AC3E}">
        <p14:creationId xmlns:p14="http://schemas.microsoft.com/office/powerpoint/2010/main" val="2026305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74A7643-54F9-CF22-24BA-661BC99CC161}"/>
              </a:ext>
            </a:extLst>
          </p:cNvPr>
          <p:cNvSpPr>
            <a:spLocks noGrp="1"/>
          </p:cNvSpPr>
          <p:nvPr>
            <p:ph type="title"/>
          </p:nvPr>
        </p:nvSpPr>
        <p:spPr>
          <a:xfrm>
            <a:off x="5655414" y="367000"/>
            <a:ext cx="1880746" cy="369332"/>
          </a:xfrm>
        </p:spPr>
        <p:txBody>
          <a:bodyPr/>
          <a:lstStyle/>
          <a:p>
            <a:pPr algn="l" rtl="0"/>
            <a:r>
              <a:rPr lang="en-US" sz="2350" b="1" kern="1200" dirty="0">
                <a:solidFill>
                  <a:srgbClr val="003399"/>
                </a:solidFill>
                <a:latin typeface="Verdana" panose="020B0604030504040204" pitchFamily="34" charset="0"/>
                <a:ea typeface="Verdana" panose="020B0604030504040204" pitchFamily="34" charset="0"/>
                <a:cs typeface="+mn-cs"/>
              </a:rPr>
              <a:t>Agenda</a:t>
            </a:r>
          </a:p>
        </p:txBody>
      </p:sp>
      <p:pic>
        <p:nvPicPr>
          <p:cNvPr id="39" name="Picture 2" descr="JSW Energy – Leading Power Producing Company">
            <a:extLst>
              <a:ext uri="{FF2B5EF4-FFF2-40B4-BE49-F238E27FC236}">
                <a16:creationId xmlns:a16="http://schemas.microsoft.com/office/drawing/2014/main" id="{09A8EFB2-9780-4A00-8790-D87DACF58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80" y="1305470"/>
            <a:ext cx="3273074" cy="4239784"/>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DF311F6A-E40B-D2AB-D744-8DEC122C66F3}"/>
              </a:ext>
            </a:extLst>
          </p:cNvPr>
          <p:cNvGrpSpPr/>
          <p:nvPr/>
        </p:nvGrpSpPr>
        <p:grpSpPr>
          <a:xfrm>
            <a:off x="4147515" y="1464885"/>
            <a:ext cx="7522627" cy="2351096"/>
            <a:chOff x="4223792" y="2212136"/>
            <a:chExt cx="7522627" cy="2394706"/>
          </a:xfrm>
        </p:grpSpPr>
        <p:grpSp>
          <p:nvGrpSpPr>
            <p:cNvPr id="41" name="Group 40">
              <a:extLst>
                <a:ext uri="{FF2B5EF4-FFF2-40B4-BE49-F238E27FC236}">
                  <a16:creationId xmlns:a16="http://schemas.microsoft.com/office/drawing/2014/main" id="{0624BC35-81C6-F9EA-C322-1770CFE19DAF}"/>
                </a:ext>
              </a:extLst>
            </p:cNvPr>
            <p:cNvGrpSpPr/>
            <p:nvPr/>
          </p:nvGrpSpPr>
          <p:grpSpPr>
            <a:xfrm>
              <a:off x="4223792" y="2212136"/>
              <a:ext cx="7516907" cy="720081"/>
              <a:chOff x="6485879" y="2212136"/>
              <a:chExt cx="5254820" cy="720081"/>
            </a:xfrm>
          </p:grpSpPr>
          <p:sp>
            <p:nvSpPr>
              <p:cNvPr id="50" name="Rectangle 49">
                <a:extLst>
                  <a:ext uri="{FF2B5EF4-FFF2-40B4-BE49-F238E27FC236}">
                    <a16:creationId xmlns:a16="http://schemas.microsoft.com/office/drawing/2014/main" id="{31E02CC3-E0E4-CC06-7501-D01F465CB305}"/>
                  </a:ext>
                </a:extLst>
              </p:cNvPr>
              <p:cNvSpPr/>
              <p:nvPr/>
            </p:nvSpPr>
            <p:spPr>
              <a:xfrm>
                <a:off x="6974947" y="2212137"/>
                <a:ext cx="4765752" cy="72008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latin typeface="Verdana" panose="020B0604030504040204" pitchFamily="34" charset="0"/>
                    <a:ea typeface="Verdana" panose="020B0604030504040204" pitchFamily="34" charset="0"/>
                  </a:rPr>
                  <a:t>Overview of The Blast Furnace</a:t>
                </a:r>
              </a:p>
            </p:txBody>
          </p:sp>
          <p:sp>
            <p:nvSpPr>
              <p:cNvPr id="51" name="Rectangle 50">
                <a:extLst>
                  <a:ext uri="{FF2B5EF4-FFF2-40B4-BE49-F238E27FC236}">
                    <a16:creationId xmlns:a16="http://schemas.microsoft.com/office/drawing/2014/main" id="{A8C7FCD4-FC81-1D53-63FB-818C87E1A9B4}"/>
                  </a:ext>
                </a:extLst>
              </p:cNvPr>
              <p:cNvSpPr/>
              <p:nvPr/>
            </p:nvSpPr>
            <p:spPr>
              <a:xfrm>
                <a:off x="6711839" y="2212136"/>
                <a:ext cx="189985" cy="712807"/>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B8869D2-D66D-C87C-8053-4F897A71E424}"/>
                  </a:ext>
                </a:extLst>
              </p:cNvPr>
              <p:cNvSpPr/>
              <p:nvPr/>
            </p:nvSpPr>
            <p:spPr>
              <a:xfrm>
                <a:off x="6485879" y="2212136"/>
                <a:ext cx="186185" cy="712808"/>
              </a:xfrm>
              <a:prstGeom prst="rect">
                <a:avLst/>
              </a:prstGeom>
              <a:solidFill>
                <a:srgbClr val="C00000">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 name="Group 41">
              <a:extLst>
                <a:ext uri="{FF2B5EF4-FFF2-40B4-BE49-F238E27FC236}">
                  <a16:creationId xmlns:a16="http://schemas.microsoft.com/office/drawing/2014/main" id="{2AA10ADD-BD16-84C5-5E7D-36A38F374758}"/>
                </a:ext>
              </a:extLst>
            </p:cNvPr>
            <p:cNvGrpSpPr/>
            <p:nvPr/>
          </p:nvGrpSpPr>
          <p:grpSpPr>
            <a:xfrm>
              <a:off x="4229512" y="3048905"/>
              <a:ext cx="7511187" cy="733657"/>
              <a:chOff x="6489877" y="1375073"/>
              <a:chExt cx="5249808" cy="733657"/>
            </a:xfrm>
          </p:grpSpPr>
          <p:sp>
            <p:nvSpPr>
              <p:cNvPr id="47" name="Rectangle 46">
                <a:extLst>
                  <a:ext uri="{FF2B5EF4-FFF2-40B4-BE49-F238E27FC236}">
                    <a16:creationId xmlns:a16="http://schemas.microsoft.com/office/drawing/2014/main" id="{1D5EBCD1-CEEB-1845-6E49-E42203D6710C}"/>
                  </a:ext>
                </a:extLst>
              </p:cNvPr>
              <p:cNvSpPr/>
              <p:nvPr/>
            </p:nvSpPr>
            <p:spPr>
              <a:xfrm>
                <a:off x="6973933" y="1375073"/>
                <a:ext cx="4765752" cy="72008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D52F224-2342-28F2-B0D9-529C1748A9C6}"/>
                  </a:ext>
                </a:extLst>
              </p:cNvPr>
              <p:cNvSpPr/>
              <p:nvPr/>
            </p:nvSpPr>
            <p:spPr>
              <a:xfrm>
                <a:off x="6715837" y="1395921"/>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A5FC40C-88E3-B734-BEE0-EB2012B3BC4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id="{BD038CF4-70F6-3ED5-A251-6593ED308A00}"/>
                </a:ext>
              </a:extLst>
            </p:cNvPr>
            <p:cNvGrpSpPr/>
            <p:nvPr/>
          </p:nvGrpSpPr>
          <p:grpSpPr>
            <a:xfrm>
              <a:off x="4228061" y="3886762"/>
              <a:ext cx="7518358" cy="720080"/>
              <a:chOff x="6489877" y="1395922"/>
              <a:chExt cx="5254820" cy="720080"/>
            </a:xfrm>
          </p:grpSpPr>
          <p:sp>
            <p:nvSpPr>
              <p:cNvPr id="44" name="Rectangle 43">
                <a:extLst>
                  <a:ext uri="{FF2B5EF4-FFF2-40B4-BE49-F238E27FC236}">
                    <a16:creationId xmlns:a16="http://schemas.microsoft.com/office/drawing/2014/main" id="{6D6A5D1E-BB85-AA4C-6FFE-213E314FE778}"/>
                  </a:ext>
                </a:extLst>
              </p:cNvPr>
              <p:cNvSpPr/>
              <p:nvPr/>
            </p:nvSpPr>
            <p:spPr>
              <a:xfrm>
                <a:off x="6978945" y="1395922"/>
                <a:ext cx="476575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Calculation </a:t>
                </a:r>
                <a:r>
                  <a:rPr lang="en-US" sz="1600" dirty="0">
                    <a:latin typeface="Verdana" panose="020B0604030504040204" pitchFamily="34" charset="0"/>
                    <a:ea typeface="Verdana" panose="020B0604030504040204" pitchFamily="34" charset="0"/>
                  </a:rPr>
                  <a:t>of Output energy</a:t>
                </a:r>
              </a:p>
            </p:txBody>
          </p:sp>
          <p:sp>
            <p:nvSpPr>
              <p:cNvPr id="45" name="Rectangle 44">
                <a:extLst>
                  <a:ext uri="{FF2B5EF4-FFF2-40B4-BE49-F238E27FC236}">
                    <a16:creationId xmlns:a16="http://schemas.microsoft.com/office/drawing/2014/main" id="{3F2A70AE-41B4-A095-4210-6790B1CFE194}"/>
                  </a:ext>
                </a:extLst>
              </p:cNvPr>
              <p:cNvSpPr/>
              <p:nvPr/>
            </p:nvSpPr>
            <p:spPr>
              <a:xfrm>
                <a:off x="6715837" y="1395922"/>
                <a:ext cx="189985"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8435E3-F308-7729-ABF6-EDAA951CEE60}"/>
                  </a:ext>
                </a:extLst>
              </p:cNvPr>
              <p:cNvSpPr/>
              <p:nvPr/>
            </p:nvSpPr>
            <p:spPr>
              <a:xfrm>
                <a:off x="6489877" y="1395922"/>
                <a:ext cx="1861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3" name="Rectangle 52">
            <a:extLst>
              <a:ext uri="{FF2B5EF4-FFF2-40B4-BE49-F238E27FC236}">
                <a16:creationId xmlns:a16="http://schemas.microsoft.com/office/drawing/2014/main" id="{6D6A5D1E-BB85-AA4C-6FFE-213E314FE778}"/>
              </a:ext>
            </a:extLst>
          </p:cNvPr>
          <p:cNvSpPr/>
          <p:nvPr/>
        </p:nvSpPr>
        <p:spPr>
          <a:xfrm>
            <a:off x="4851520" y="3941067"/>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latin typeface="Verdana" panose="020B0604030504040204" pitchFamily="34" charset="0"/>
                <a:ea typeface="Verdana" panose="020B0604030504040204" pitchFamily="34" charset="0"/>
              </a:rPr>
              <a:t>     Input </a:t>
            </a:r>
            <a:r>
              <a:rPr lang="en-US" sz="1600" dirty="0">
                <a:latin typeface="Verdana" panose="020B0604030504040204" pitchFamily="34" charset="0"/>
                <a:ea typeface="Verdana" panose="020B0604030504040204" pitchFamily="34" charset="0"/>
              </a:rPr>
              <a:t>and output energy composition at different </a:t>
            </a:r>
            <a:r>
              <a:rPr lang="en-US" sz="1600" dirty="0" smtClean="0">
                <a:latin typeface="Verdana" panose="020B0604030504040204" pitchFamily="34" charset="0"/>
                <a:ea typeface="Verdana" panose="020B0604030504040204" pitchFamily="34" charset="0"/>
              </a:rPr>
              <a:t>conditions</a:t>
            </a:r>
            <a:endParaRPr lang="en-US" sz="1600" dirty="0">
              <a:latin typeface="Verdana" panose="020B0604030504040204" pitchFamily="34" charset="0"/>
              <a:ea typeface="Verdana" panose="020B0604030504040204" pitchFamily="34" charset="0"/>
            </a:endParaRPr>
          </a:p>
        </p:txBody>
      </p:sp>
      <p:sp>
        <p:nvSpPr>
          <p:cNvPr id="54" name="Rectangle 53">
            <a:extLst>
              <a:ext uri="{FF2B5EF4-FFF2-40B4-BE49-F238E27FC236}">
                <a16:creationId xmlns:a16="http://schemas.microsoft.com/office/drawing/2014/main" id="{3F2A70AE-41B4-A095-4210-6790B1CFE194}"/>
              </a:ext>
            </a:extLst>
          </p:cNvPr>
          <p:cNvSpPr/>
          <p:nvPr/>
        </p:nvSpPr>
        <p:spPr>
          <a:xfrm>
            <a:off x="4498933" y="3948340"/>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58435E3-F308-7729-ABF6-EDAA951CEE60}"/>
              </a:ext>
            </a:extLst>
          </p:cNvPr>
          <p:cNvSpPr/>
          <p:nvPr/>
        </p:nvSpPr>
        <p:spPr>
          <a:xfrm>
            <a:off x="4151783" y="3948339"/>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6D6A5D1E-BB85-AA4C-6FFE-213E314FE778}"/>
              </a:ext>
            </a:extLst>
          </p:cNvPr>
          <p:cNvSpPr/>
          <p:nvPr/>
        </p:nvSpPr>
        <p:spPr>
          <a:xfrm>
            <a:off x="4849982" y="4786233"/>
            <a:ext cx="6818622" cy="72008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           </a:t>
            </a:r>
            <a:r>
              <a:rPr lang="en-US" sz="1600" dirty="0">
                <a:latin typeface="Verdana" panose="020B0604030504040204" pitchFamily="34" charset="0"/>
                <a:ea typeface="Verdana" panose="020B0604030504040204" pitchFamily="34" charset="0"/>
              </a:rPr>
              <a:t>Optimization techniques to get optimal input parameters</a:t>
            </a:r>
          </a:p>
        </p:txBody>
      </p:sp>
      <p:sp>
        <p:nvSpPr>
          <p:cNvPr id="57" name="Rectangle 56">
            <a:extLst>
              <a:ext uri="{FF2B5EF4-FFF2-40B4-BE49-F238E27FC236}">
                <a16:creationId xmlns:a16="http://schemas.microsoft.com/office/drawing/2014/main" id="{3F2A70AE-41B4-A095-4210-6790B1CFE194}"/>
              </a:ext>
            </a:extLst>
          </p:cNvPr>
          <p:cNvSpPr/>
          <p:nvPr/>
        </p:nvSpPr>
        <p:spPr>
          <a:xfrm>
            <a:off x="4473539" y="4786232"/>
            <a:ext cx="271822" cy="712807"/>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58435E3-F308-7729-ABF6-EDAA951CEE60}"/>
              </a:ext>
            </a:extLst>
          </p:cNvPr>
          <p:cNvSpPr/>
          <p:nvPr/>
        </p:nvSpPr>
        <p:spPr>
          <a:xfrm>
            <a:off x="4150246" y="4786232"/>
            <a:ext cx="266385" cy="712808"/>
          </a:xfrm>
          <a:prstGeom prst="rect">
            <a:avLst/>
          </a:prstGeom>
          <a:solidFill>
            <a:schemeClr val="accent1">
              <a:alpha val="7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716128" y="2471156"/>
            <a:ext cx="3074881" cy="338554"/>
          </a:xfrm>
          <a:prstGeom prst="rect">
            <a:avLst/>
          </a:prstGeom>
        </p:spPr>
        <p:txBody>
          <a:bodyPr wrap="none">
            <a:spAutoFit/>
          </a:bodyPr>
          <a:lstStyle/>
          <a:p>
            <a:r>
              <a:rPr lang="en-US" sz="1600" dirty="0">
                <a:solidFill>
                  <a:schemeClr val="lt1"/>
                </a:solidFill>
                <a:latin typeface="Verdana" panose="020B0604030504040204" pitchFamily="34" charset="0"/>
                <a:ea typeface="Verdana" panose="020B0604030504040204" pitchFamily="34" charset="0"/>
              </a:rPr>
              <a:t>Calculation of Input Energy </a:t>
            </a:r>
          </a:p>
        </p:txBody>
      </p:sp>
      <p:cxnSp>
        <p:nvCxnSpPr>
          <p:cNvPr id="60" name="Straight Connector 59"/>
          <p:cNvCxnSpPr/>
          <p:nvPr/>
        </p:nvCxnSpPr>
        <p:spPr>
          <a:xfrm rot="10800000">
            <a:off x="3111702" y="908720"/>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802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983432" y="1026449"/>
            <a:ext cx="4676077" cy="304800"/>
            <a:chOff x="796834" y="1127043"/>
            <a:chExt cx="5611292" cy="365760"/>
          </a:xfrm>
        </p:grpSpPr>
        <p:sp>
          <p:nvSpPr>
            <p:cNvPr id="7" name="Rectangle 6"/>
            <p:cNvSpPr/>
            <p:nvPr/>
          </p:nvSpPr>
          <p:spPr>
            <a:xfrm>
              <a:off x="796834" y="1127043"/>
              <a:ext cx="413658"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r>
                <a:rPr lang="en-US" sz="1500" dirty="0">
                  <a:solidFill>
                    <a:prstClr val="white"/>
                  </a:solidFill>
                  <a:latin typeface="Verdana" panose="020B0604030504040204" pitchFamily="34" charset="0"/>
                  <a:ea typeface="Verdana" panose="020B0604030504040204" pitchFamily="34" charset="0"/>
                </a:rPr>
                <a:t>1</a:t>
              </a:r>
              <a:endParaRPr lang="en-US" sz="2167" dirty="0">
                <a:solidFill>
                  <a:prstClr val="white"/>
                </a:solidFill>
                <a:latin typeface="Verdana" panose="020B0604030504040204" pitchFamily="34" charset="0"/>
                <a:ea typeface="Verdana" panose="020B0604030504040204" pitchFamily="34" charset="0"/>
              </a:endParaRPr>
            </a:p>
          </p:txBody>
        </p:sp>
        <p:sp>
          <p:nvSpPr>
            <p:cNvPr id="8" name="Rectangle 7"/>
            <p:cNvSpPr/>
            <p:nvPr/>
          </p:nvSpPr>
          <p:spPr>
            <a:xfrm>
              <a:off x="1287486" y="1127043"/>
              <a:ext cx="5120640" cy="365760"/>
            </a:xfrm>
            <a:prstGeom prst="rect">
              <a:avLst/>
            </a:prstGeom>
            <a:solidFill>
              <a:srgbClr val="4D4D4D"/>
            </a:solidFill>
            <a:ln>
              <a:noFill/>
            </a:ln>
            <a:effectLst/>
          </p:spPr>
          <p:style>
            <a:lnRef idx="1">
              <a:schemeClr val="accent1"/>
            </a:lnRef>
            <a:fillRef idx="3">
              <a:schemeClr val="accent1"/>
            </a:fillRef>
            <a:effectRef idx="2">
              <a:schemeClr val="accent1"/>
            </a:effectRef>
            <a:fontRef idx="minor">
              <a:schemeClr val="lt1"/>
            </a:fontRef>
          </p:style>
          <p:txBody>
            <a:bodyPr lIns="76200" rtlCol="0" anchor="ctr"/>
            <a:lstStyle/>
            <a:p>
              <a:pPr defTabSz="544237"/>
              <a:r>
                <a:rPr lang="en-US" sz="1333" dirty="0">
                  <a:solidFill>
                    <a:prstClr val="white"/>
                  </a:solidFill>
                  <a:latin typeface="Verdana" panose="020B0604030504040204" pitchFamily="34" charset="0"/>
                  <a:ea typeface="Verdana" panose="020B0604030504040204" pitchFamily="34" charset="0"/>
                </a:rPr>
                <a:t>Energy Consumption in steel industry, Gcal/</a:t>
              </a:r>
              <a:r>
                <a:rPr lang="en-US" sz="1333" dirty="0" err="1">
                  <a:solidFill>
                    <a:prstClr val="white"/>
                  </a:solidFill>
                  <a:latin typeface="Verdana" panose="020B0604030504040204" pitchFamily="34" charset="0"/>
                  <a:ea typeface="Verdana" panose="020B0604030504040204" pitchFamily="34" charset="0"/>
                </a:rPr>
                <a:t>tcs</a:t>
              </a:r>
              <a:endParaRPr lang="en-US" sz="1333" dirty="0">
                <a:solidFill>
                  <a:prstClr val="white"/>
                </a:solidFill>
                <a:latin typeface="Verdana" panose="020B0604030504040204" pitchFamily="34" charset="0"/>
                <a:ea typeface="Verdana" panose="020B0604030504040204" pitchFamily="34" charset="0"/>
              </a:endParaRPr>
            </a:p>
          </p:txBody>
        </p:sp>
      </p:grpSp>
      <p:graphicFrame>
        <p:nvGraphicFramePr>
          <p:cNvPr id="9" name="Chart 8"/>
          <p:cNvGraphicFramePr>
            <a:graphicFrameLocks/>
          </p:cNvGraphicFramePr>
          <p:nvPr>
            <p:extLst/>
          </p:nvPr>
        </p:nvGraphicFramePr>
        <p:xfrm>
          <a:off x="189308" y="1533749"/>
          <a:ext cx="5927115" cy="4448488"/>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p:cNvGrpSpPr/>
          <p:nvPr/>
        </p:nvGrpSpPr>
        <p:grpSpPr>
          <a:xfrm>
            <a:off x="6744072" y="1014990"/>
            <a:ext cx="4403051" cy="304800"/>
            <a:chOff x="796834" y="1127043"/>
            <a:chExt cx="5283661" cy="365760"/>
          </a:xfrm>
        </p:grpSpPr>
        <p:sp>
          <p:nvSpPr>
            <p:cNvPr id="11" name="Rectangle 10"/>
            <p:cNvSpPr/>
            <p:nvPr/>
          </p:nvSpPr>
          <p:spPr>
            <a:xfrm>
              <a:off x="796834" y="1127043"/>
              <a:ext cx="413658"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r>
                <a:rPr lang="en-US" sz="1500" dirty="0">
                  <a:solidFill>
                    <a:prstClr val="white"/>
                  </a:solidFill>
                  <a:latin typeface="Verdana" panose="020B0604030504040204" pitchFamily="34" charset="0"/>
                  <a:ea typeface="Verdana" panose="020B0604030504040204" pitchFamily="34" charset="0"/>
                </a:rPr>
                <a:t>2</a:t>
              </a:r>
              <a:endParaRPr lang="en-US" sz="2167" dirty="0">
                <a:solidFill>
                  <a:prstClr val="white"/>
                </a:solidFill>
                <a:latin typeface="Verdana" panose="020B0604030504040204" pitchFamily="34" charset="0"/>
                <a:ea typeface="Verdana" panose="020B0604030504040204" pitchFamily="34" charset="0"/>
              </a:endParaRPr>
            </a:p>
          </p:txBody>
        </p:sp>
        <p:sp>
          <p:nvSpPr>
            <p:cNvPr id="12" name="Rectangle 11"/>
            <p:cNvSpPr/>
            <p:nvPr/>
          </p:nvSpPr>
          <p:spPr>
            <a:xfrm>
              <a:off x="1234175" y="1127043"/>
              <a:ext cx="4846320" cy="365760"/>
            </a:xfrm>
            <a:prstGeom prst="rect">
              <a:avLst/>
            </a:prstGeom>
            <a:solidFill>
              <a:srgbClr val="4D4D4D"/>
            </a:solidFill>
            <a:ln>
              <a:noFill/>
            </a:ln>
            <a:effectLst/>
          </p:spPr>
          <p:style>
            <a:lnRef idx="1">
              <a:schemeClr val="accent1"/>
            </a:lnRef>
            <a:fillRef idx="3">
              <a:schemeClr val="accent1"/>
            </a:fillRef>
            <a:effectRef idx="2">
              <a:schemeClr val="accent1"/>
            </a:effectRef>
            <a:fontRef idx="minor">
              <a:schemeClr val="lt1"/>
            </a:fontRef>
          </p:style>
          <p:txBody>
            <a:bodyPr lIns="76200" rtlCol="0" anchor="ctr"/>
            <a:lstStyle/>
            <a:p>
              <a:pPr defTabSz="544237"/>
              <a:r>
                <a:rPr lang="en-US" sz="1333" dirty="0">
                  <a:solidFill>
                    <a:prstClr val="white"/>
                  </a:solidFill>
                  <a:latin typeface="Verdana" panose="020B0604030504040204" pitchFamily="34" charset="0"/>
                  <a:ea typeface="Verdana" panose="020B0604030504040204" pitchFamily="34" charset="0"/>
                </a:rPr>
                <a:t>Energy Consumption in JSW VJNR, Gcal/</a:t>
              </a:r>
              <a:r>
                <a:rPr lang="en-US" sz="1333" dirty="0" err="1">
                  <a:solidFill>
                    <a:prstClr val="white"/>
                  </a:solidFill>
                  <a:latin typeface="Verdana" panose="020B0604030504040204" pitchFamily="34" charset="0"/>
                  <a:ea typeface="Verdana" panose="020B0604030504040204" pitchFamily="34" charset="0"/>
                </a:rPr>
                <a:t>tcs</a:t>
              </a:r>
              <a:endParaRPr lang="en-US" sz="1333" dirty="0">
                <a:solidFill>
                  <a:prstClr val="white"/>
                </a:solidFill>
                <a:latin typeface="Verdana" panose="020B0604030504040204" pitchFamily="34" charset="0"/>
                <a:ea typeface="Verdana" panose="020B0604030504040204" pitchFamily="34" charset="0"/>
              </a:endParaRPr>
            </a:p>
          </p:txBody>
        </p:sp>
      </p:grpSp>
      <p:grpSp>
        <p:nvGrpSpPr>
          <p:cNvPr id="13" name="Group 12"/>
          <p:cNvGrpSpPr/>
          <p:nvPr/>
        </p:nvGrpSpPr>
        <p:grpSpPr>
          <a:xfrm>
            <a:off x="214515" y="6036657"/>
            <a:ext cx="5651842" cy="680104"/>
            <a:chOff x="11985342" y="1645869"/>
            <a:chExt cx="2585241" cy="2050135"/>
          </a:xfrm>
        </p:grpSpPr>
        <p:sp>
          <p:nvSpPr>
            <p:cNvPr id="14" name="Rounded Rectangle 13"/>
            <p:cNvSpPr/>
            <p:nvPr/>
          </p:nvSpPr>
          <p:spPr>
            <a:xfrm>
              <a:off x="11985342" y="1645872"/>
              <a:ext cx="2585241" cy="2050132"/>
            </a:xfrm>
            <a:prstGeom prst="roundRect">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sp>
          <p:nvSpPr>
            <p:cNvPr id="15" name="TextBox 14"/>
            <p:cNvSpPr txBox="1"/>
            <p:nvPr/>
          </p:nvSpPr>
          <p:spPr>
            <a:xfrm>
              <a:off x="12065027" y="1645869"/>
              <a:ext cx="2446972" cy="1886089"/>
            </a:xfrm>
            <a:prstGeom prst="rect">
              <a:avLst/>
            </a:prstGeom>
            <a:noFill/>
          </p:spPr>
          <p:txBody>
            <a:bodyPr wrap="square" rtlCol="0">
              <a:spAutoFit/>
            </a:bodyPr>
            <a:lstStyle/>
            <a:p>
              <a:pPr marL="93924" indent="-93924" defTabSz="544237">
                <a:lnSpc>
                  <a:spcPct val="130000"/>
                </a:lnSpc>
                <a:buFont typeface="Arial" panose="020B0604020202020204" pitchFamily="34" charset="0"/>
                <a:buChar char="•"/>
              </a:pPr>
              <a:r>
                <a:rPr lang="en-US" sz="1333" dirty="0">
                  <a:solidFill>
                    <a:prstClr val="black"/>
                  </a:solidFill>
                  <a:latin typeface="Verdana" panose="020B0604030504040204" pitchFamily="34" charset="0"/>
                  <a:ea typeface="Verdana" panose="020B0604030504040204" pitchFamily="34" charset="0"/>
                </a:rPr>
                <a:t> Energy Consumption in EU, USA countries are low – Due to more scrap &amp; low grid emission factor </a:t>
              </a:r>
            </a:p>
          </p:txBody>
        </p:sp>
      </p:grpSp>
      <p:grpSp>
        <p:nvGrpSpPr>
          <p:cNvPr id="16" name="Group 15"/>
          <p:cNvGrpSpPr/>
          <p:nvPr/>
        </p:nvGrpSpPr>
        <p:grpSpPr>
          <a:xfrm>
            <a:off x="6216847" y="6036657"/>
            <a:ext cx="5651842" cy="680104"/>
            <a:chOff x="11985342" y="1645869"/>
            <a:chExt cx="2585241" cy="2050135"/>
          </a:xfrm>
        </p:grpSpPr>
        <p:sp>
          <p:nvSpPr>
            <p:cNvPr id="17" name="Rounded Rectangle 16"/>
            <p:cNvSpPr/>
            <p:nvPr/>
          </p:nvSpPr>
          <p:spPr>
            <a:xfrm>
              <a:off x="11985342" y="1645872"/>
              <a:ext cx="2585241" cy="2050132"/>
            </a:xfrm>
            <a:prstGeom prst="roundRect">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sp>
          <p:nvSpPr>
            <p:cNvPr id="18" name="TextBox 17"/>
            <p:cNvSpPr txBox="1"/>
            <p:nvPr/>
          </p:nvSpPr>
          <p:spPr>
            <a:xfrm>
              <a:off x="12065027" y="1645869"/>
              <a:ext cx="2446972" cy="1886089"/>
            </a:xfrm>
            <a:prstGeom prst="rect">
              <a:avLst/>
            </a:prstGeom>
            <a:noFill/>
          </p:spPr>
          <p:txBody>
            <a:bodyPr wrap="square" rtlCol="0">
              <a:spAutoFit/>
            </a:bodyPr>
            <a:lstStyle/>
            <a:p>
              <a:pPr marL="93924" indent="-93924" defTabSz="544237">
                <a:lnSpc>
                  <a:spcPct val="130000"/>
                </a:lnSpc>
                <a:buFont typeface="Arial" panose="020B0604020202020204" pitchFamily="34" charset="0"/>
                <a:buChar char="•"/>
              </a:pPr>
              <a:r>
                <a:rPr lang="en-US" sz="1333" dirty="0">
                  <a:solidFill>
                    <a:prstClr val="black"/>
                  </a:solidFill>
                  <a:latin typeface="Verdana" panose="020B0604030504040204" pitchFamily="34" charset="0"/>
                  <a:ea typeface="Verdana" panose="020B0604030504040204" pitchFamily="34" charset="0"/>
                </a:rPr>
                <a:t> Corex, Blast Furnace &amp; Mill Zone are high energy consumption units </a:t>
              </a:r>
            </a:p>
          </p:txBody>
        </p:sp>
      </p:grpSp>
      <p:pic>
        <p:nvPicPr>
          <p:cNvPr id="19" name="Picture 18"/>
          <p:cNvPicPr>
            <a:picLocks noChangeAspect="1"/>
          </p:cNvPicPr>
          <p:nvPr/>
        </p:nvPicPr>
        <p:blipFill>
          <a:blip r:embed="rId3"/>
          <a:stretch>
            <a:fillRect/>
          </a:stretch>
        </p:blipFill>
        <p:spPr>
          <a:xfrm>
            <a:off x="6252936" y="1518489"/>
            <a:ext cx="5809145" cy="4137782"/>
          </a:xfrm>
          <a:prstGeom prst="rect">
            <a:avLst/>
          </a:prstGeom>
        </p:spPr>
      </p:pic>
      <p:sp>
        <p:nvSpPr>
          <p:cNvPr id="20" name="Rounded Rectangle 19"/>
          <p:cNvSpPr/>
          <p:nvPr/>
        </p:nvSpPr>
        <p:spPr>
          <a:xfrm>
            <a:off x="7864929" y="1886934"/>
            <a:ext cx="2653508" cy="3301924"/>
          </a:xfrm>
          <a:prstGeom prst="roundRect">
            <a:avLst/>
          </a:prstGeom>
          <a:noFill/>
          <a:ln>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sp>
        <p:nvSpPr>
          <p:cNvPr id="21" name="Rectangle 20"/>
          <p:cNvSpPr/>
          <p:nvPr/>
        </p:nvSpPr>
        <p:spPr>
          <a:xfrm>
            <a:off x="2559811" y="232702"/>
            <a:ext cx="7951216" cy="461665"/>
          </a:xfrm>
          <a:prstGeom prst="rect">
            <a:avLst/>
          </a:prstGeom>
        </p:spPr>
        <p:txBody>
          <a:bodyPr wrap="none">
            <a:spAutoFit/>
          </a:bodyPr>
          <a:lstStyle/>
          <a:p>
            <a:pPr defTabSz="544237"/>
            <a:r>
              <a:rPr lang="en-US" sz="2400" b="1" dirty="0">
                <a:solidFill>
                  <a:srgbClr val="C00000"/>
                </a:solidFill>
                <a:latin typeface="Verdana" panose="020B0604030504040204" pitchFamily="34" charset="0"/>
                <a:ea typeface="Verdana" panose="020B0604030504040204" pitchFamily="34" charset="0"/>
              </a:rPr>
              <a:t>ISP Energy Intensity |</a:t>
            </a:r>
            <a:r>
              <a:rPr lang="en-US" sz="2400" b="1" dirty="0">
                <a:solidFill>
                  <a:srgbClr val="003399"/>
                </a:solidFill>
                <a:latin typeface="Verdana" panose="020B0604030504040204" pitchFamily="34" charset="0"/>
                <a:ea typeface="Verdana" panose="020B0604030504040204" pitchFamily="34" charset="0"/>
              </a:rPr>
              <a:t> Global Steel Industry </a:t>
            </a:r>
          </a:p>
        </p:txBody>
      </p:sp>
      <p:grpSp>
        <p:nvGrpSpPr>
          <p:cNvPr id="22" name="Group 21"/>
          <p:cNvGrpSpPr/>
          <p:nvPr/>
        </p:nvGrpSpPr>
        <p:grpSpPr>
          <a:xfrm>
            <a:off x="5915268" y="1357693"/>
            <a:ext cx="306007" cy="4800600"/>
            <a:chOff x="10577586" y="1783764"/>
            <a:chExt cx="367208" cy="5760720"/>
          </a:xfrm>
        </p:grpSpPr>
        <p:cxnSp>
          <p:nvCxnSpPr>
            <p:cNvPr id="23" name="Straight Connector 22"/>
            <p:cNvCxnSpPr/>
            <p:nvPr/>
          </p:nvCxnSpPr>
          <p:spPr>
            <a:xfrm>
              <a:off x="10751207" y="1783764"/>
              <a:ext cx="0" cy="576072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24" name="Group 23"/>
            <p:cNvGrpSpPr/>
            <p:nvPr/>
          </p:nvGrpSpPr>
          <p:grpSpPr>
            <a:xfrm>
              <a:off x="10577586" y="4561258"/>
              <a:ext cx="367208" cy="358815"/>
              <a:chOff x="10857052" y="4327424"/>
              <a:chExt cx="367208" cy="358815"/>
            </a:xfrm>
          </p:grpSpPr>
          <p:sp>
            <p:nvSpPr>
              <p:cNvPr id="25" name="Oval 24"/>
              <p:cNvSpPr/>
              <p:nvPr/>
            </p:nvSpPr>
            <p:spPr>
              <a:xfrm>
                <a:off x="10857052" y="4327424"/>
                <a:ext cx="347241" cy="358815"/>
              </a:xfrm>
              <a:prstGeom prst="ellipse">
                <a:avLst/>
              </a:prstGeom>
              <a:gradFill>
                <a:gsLst>
                  <a:gs pos="0">
                    <a:srgbClr val="005EA4"/>
                  </a:gs>
                  <a:gs pos="100000">
                    <a:srgbClr val="0070C0"/>
                  </a:gs>
                </a:gsLst>
                <a:lin ang="162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cxnSp>
            <p:nvCxnSpPr>
              <p:cNvPr id="26" name="Straight Connector 25"/>
              <p:cNvCxnSpPr/>
              <p:nvPr/>
            </p:nvCxnSpPr>
            <p:spPr>
              <a:xfrm>
                <a:off x="10883265" y="4372160"/>
                <a:ext cx="340995" cy="150294"/>
              </a:xfrm>
              <a:prstGeom prst="line">
                <a:avLst/>
              </a:prstGeom>
              <a:ln>
                <a:solidFill>
                  <a:srgbClr val="F5F5F5"/>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10883265" y="4506832"/>
                <a:ext cx="340995" cy="142251"/>
              </a:xfrm>
              <a:prstGeom prst="line">
                <a:avLst/>
              </a:prstGeom>
              <a:ln>
                <a:solidFill>
                  <a:srgbClr val="F5F5F5"/>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664499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p:cNvPicPr>
            <a:picLocks noChangeAspect="1"/>
          </p:cNvPicPr>
          <p:nvPr/>
        </p:nvPicPr>
        <p:blipFill>
          <a:blip r:embed="rId2"/>
          <a:stretch>
            <a:fillRect/>
          </a:stretch>
        </p:blipFill>
        <p:spPr>
          <a:xfrm>
            <a:off x="6257052" y="1560225"/>
            <a:ext cx="5688532" cy="4245040"/>
          </a:xfrm>
          <a:prstGeom prst="rect">
            <a:avLst/>
          </a:prstGeom>
        </p:spPr>
      </p:pic>
      <p:graphicFrame>
        <p:nvGraphicFramePr>
          <p:cNvPr id="83" name="Chart 82"/>
          <p:cNvGraphicFramePr>
            <a:graphicFrameLocks/>
          </p:cNvGraphicFramePr>
          <p:nvPr>
            <p:extLst/>
          </p:nvPr>
        </p:nvGraphicFramePr>
        <p:xfrm>
          <a:off x="-37217" y="1753386"/>
          <a:ext cx="5996308" cy="4217354"/>
        </p:xfrm>
        <a:graphic>
          <a:graphicData uri="http://schemas.openxmlformats.org/drawingml/2006/chart">
            <c:chart xmlns:c="http://schemas.openxmlformats.org/drawingml/2006/chart" xmlns:r="http://schemas.openxmlformats.org/officeDocument/2006/relationships" r:id="rId3"/>
          </a:graphicData>
        </a:graphic>
      </p:graphicFrame>
      <p:grpSp>
        <p:nvGrpSpPr>
          <p:cNvPr id="84" name="Group 83"/>
          <p:cNvGrpSpPr/>
          <p:nvPr/>
        </p:nvGrpSpPr>
        <p:grpSpPr>
          <a:xfrm>
            <a:off x="5959091" y="3284984"/>
            <a:ext cx="164801" cy="1828800"/>
            <a:chOff x="11727612" y="1540778"/>
            <a:chExt cx="197761" cy="2194560"/>
          </a:xfrm>
        </p:grpSpPr>
        <p:cxnSp>
          <p:nvCxnSpPr>
            <p:cNvPr id="85" name="Straight Connector 84"/>
            <p:cNvCxnSpPr/>
            <p:nvPr/>
          </p:nvCxnSpPr>
          <p:spPr>
            <a:xfrm rot="16200000">
              <a:off x="10724684" y="2638058"/>
              <a:ext cx="2194560" cy="0"/>
            </a:xfrm>
            <a:prstGeom prst="line">
              <a:avLst/>
            </a:prstGeom>
            <a:ln w="15875">
              <a:solidFill>
                <a:srgbClr val="003399"/>
              </a:solidFill>
            </a:ln>
            <a:effectLst/>
          </p:spPr>
          <p:style>
            <a:lnRef idx="2">
              <a:schemeClr val="accent1"/>
            </a:lnRef>
            <a:fillRef idx="0">
              <a:schemeClr val="accent1"/>
            </a:fillRef>
            <a:effectRef idx="1">
              <a:schemeClr val="accent1"/>
            </a:effectRef>
            <a:fontRef idx="minor">
              <a:schemeClr val="tx1"/>
            </a:fontRef>
          </p:style>
        </p:cxnSp>
        <p:sp>
          <p:nvSpPr>
            <p:cNvPr id="86" name="Chevron 85"/>
            <p:cNvSpPr/>
            <p:nvPr/>
          </p:nvSpPr>
          <p:spPr>
            <a:xfrm>
              <a:off x="11727612" y="2527073"/>
              <a:ext cx="197761" cy="221971"/>
            </a:xfrm>
            <a:prstGeom prst="chevron">
              <a:avLst/>
            </a:prstGeom>
            <a:gradFill>
              <a:gsLst>
                <a:gs pos="0">
                  <a:srgbClr val="003399"/>
                </a:gs>
                <a:gs pos="100000">
                  <a:srgbClr val="0070C0"/>
                </a:gs>
              </a:gsLst>
              <a:lin ang="16200000" scaled="0"/>
            </a:gradFill>
            <a:ln w="15875">
              <a:solidFill>
                <a:srgbClr val="003399"/>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544237"/>
              <a:endParaRPr lang="en-US" sz="2167">
                <a:solidFill>
                  <a:prstClr val="black"/>
                </a:solidFill>
                <a:latin typeface="Calibri"/>
              </a:endParaRPr>
            </a:p>
          </p:txBody>
        </p:sp>
      </p:grpSp>
      <p:sp>
        <p:nvSpPr>
          <p:cNvPr id="87" name="Rectangle 86"/>
          <p:cNvSpPr/>
          <p:nvPr/>
        </p:nvSpPr>
        <p:spPr>
          <a:xfrm>
            <a:off x="970766" y="1506094"/>
            <a:ext cx="1659699" cy="247292"/>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544237"/>
            <a:r>
              <a:rPr lang="en-US" sz="1333" dirty="0">
                <a:solidFill>
                  <a:prstClr val="white"/>
                </a:solidFill>
                <a:latin typeface="Verdana" panose="020B0604030504040204" pitchFamily="34" charset="0"/>
                <a:ea typeface="Verdana" panose="020B0604030504040204" pitchFamily="34" charset="0"/>
              </a:rPr>
              <a:t>Oxygen Route</a:t>
            </a:r>
          </a:p>
        </p:txBody>
      </p:sp>
      <p:sp>
        <p:nvSpPr>
          <p:cNvPr id="88" name="Rectangle 87"/>
          <p:cNvSpPr/>
          <p:nvPr/>
        </p:nvSpPr>
        <p:spPr>
          <a:xfrm>
            <a:off x="4066344" y="1506094"/>
            <a:ext cx="1659699" cy="24729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544237"/>
            <a:r>
              <a:rPr lang="en-US" sz="1333" dirty="0">
                <a:solidFill>
                  <a:prstClr val="white"/>
                </a:solidFill>
                <a:latin typeface="Verdana" panose="020B0604030504040204" pitchFamily="34" charset="0"/>
                <a:ea typeface="Verdana" panose="020B0604030504040204" pitchFamily="34" charset="0"/>
              </a:rPr>
              <a:t>Electric Route</a:t>
            </a:r>
          </a:p>
        </p:txBody>
      </p:sp>
      <p:grpSp>
        <p:nvGrpSpPr>
          <p:cNvPr id="89" name="Group 88"/>
          <p:cNvGrpSpPr/>
          <p:nvPr/>
        </p:nvGrpSpPr>
        <p:grpSpPr>
          <a:xfrm>
            <a:off x="242191" y="5951986"/>
            <a:ext cx="5651842" cy="892360"/>
            <a:chOff x="11985342" y="1645869"/>
            <a:chExt cx="2585241" cy="2689966"/>
          </a:xfrm>
        </p:grpSpPr>
        <p:sp>
          <p:nvSpPr>
            <p:cNvPr id="90" name="Rounded Rectangle 89"/>
            <p:cNvSpPr/>
            <p:nvPr/>
          </p:nvSpPr>
          <p:spPr>
            <a:xfrm>
              <a:off x="11985342" y="1645869"/>
              <a:ext cx="2585241" cy="2644156"/>
            </a:xfrm>
            <a:prstGeom prst="roundRect">
              <a:avLst/>
            </a:prstGeom>
            <a:solidFill>
              <a:srgbClr val="F9F9F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sp>
          <p:nvSpPr>
            <p:cNvPr id="91" name="TextBox 90"/>
            <p:cNvSpPr txBox="1"/>
            <p:nvPr/>
          </p:nvSpPr>
          <p:spPr>
            <a:xfrm>
              <a:off x="12065027" y="1645869"/>
              <a:ext cx="2446972" cy="2689966"/>
            </a:xfrm>
            <a:prstGeom prst="rect">
              <a:avLst/>
            </a:prstGeom>
            <a:noFill/>
          </p:spPr>
          <p:txBody>
            <a:bodyPr wrap="square" rtlCol="0">
              <a:spAutoFit/>
            </a:bodyPr>
            <a:lstStyle/>
            <a:p>
              <a:pPr marL="93924" indent="-93924" defTabSz="544237">
                <a:lnSpc>
                  <a:spcPct val="130000"/>
                </a:lnSpc>
                <a:buFont typeface="Arial" panose="020B0604020202020204" pitchFamily="34" charset="0"/>
                <a:buChar char="•"/>
              </a:pPr>
              <a:r>
                <a:rPr lang="en-US" sz="1333" dirty="0">
                  <a:solidFill>
                    <a:prstClr val="black"/>
                  </a:solidFill>
                  <a:latin typeface="Verdana" panose="020B0604030504040204" pitchFamily="34" charset="0"/>
                  <a:ea typeface="Verdana" panose="020B0604030504040204" pitchFamily="34" charset="0"/>
                </a:rPr>
                <a:t> Presently 70% of production through oxygen route &amp; 30 % from electric route </a:t>
              </a:r>
            </a:p>
            <a:p>
              <a:pPr marL="93924" indent="-93924" defTabSz="544237">
                <a:lnSpc>
                  <a:spcPct val="130000"/>
                </a:lnSpc>
                <a:buFont typeface="Arial" panose="020B0604020202020204" pitchFamily="34" charset="0"/>
                <a:buChar char="•"/>
              </a:pPr>
              <a:r>
                <a:rPr lang="en-US" sz="1333" dirty="0">
                  <a:solidFill>
                    <a:prstClr val="black"/>
                  </a:solidFill>
                  <a:latin typeface="Verdana" panose="020B0604030504040204" pitchFamily="34" charset="0"/>
                  <a:ea typeface="Verdana" panose="020B0604030504040204" pitchFamily="34" charset="0"/>
                </a:rPr>
                <a:t>If China is not considered, then ratio will be 52 % :48 % </a:t>
              </a:r>
            </a:p>
          </p:txBody>
        </p:sp>
      </p:grpSp>
      <p:grpSp>
        <p:nvGrpSpPr>
          <p:cNvPr id="92" name="Group 91"/>
          <p:cNvGrpSpPr/>
          <p:nvPr/>
        </p:nvGrpSpPr>
        <p:grpSpPr>
          <a:xfrm>
            <a:off x="5921457" y="1011240"/>
            <a:ext cx="6003251" cy="304800"/>
            <a:chOff x="796834" y="1127043"/>
            <a:chExt cx="7203901" cy="365760"/>
          </a:xfrm>
        </p:grpSpPr>
        <p:sp>
          <p:nvSpPr>
            <p:cNvPr id="93" name="Rectangle 92"/>
            <p:cNvSpPr/>
            <p:nvPr/>
          </p:nvSpPr>
          <p:spPr>
            <a:xfrm>
              <a:off x="796834" y="1127043"/>
              <a:ext cx="413658"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r>
                <a:rPr lang="en-US" sz="1500" dirty="0">
                  <a:solidFill>
                    <a:prstClr val="white"/>
                  </a:solidFill>
                  <a:latin typeface="Verdana" panose="020B0604030504040204" pitchFamily="34" charset="0"/>
                  <a:ea typeface="Verdana" panose="020B0604030504040204" pitchFamily="34" charset="0"/>
                </a:rPr>
                <a:t>2</a:t>
              </a:r>
              <a:endParaRPr lang="en-US" sz="2167" dirty="0">
                <a:solidFill>
                  <a:prstClr val="white"/>
                </a:solidFill>
                <a:latin typeface="Verdana" panose="020B0604030504040204" pitchFamily="34" charset="0"/>
                <a:ea typeface="Verdana" panose="020B0604030504040204" pitchFamily="34" charset="0"/>
              </a:endParaRPr>
            </a:p>
          </p:txBody>
        </p:sp>
        <p:sp>
          <p:nvSpPr>
            <p:cNvPr id="94" name="Rectangle 93"/>
            <p:cNvSpPr/>
            <p:nvPr/>
          </p:nvSpPr>
          <p:spPr>
            <a:xfrm>
              <a:off x="1234175" y="1127043"/>
              <a:ext cx="6766560" cy="365760"/>
            </a:xfrm>
            <a:prstGeom prst="rect">
              <a:avLst/>
            </a:prstGeom>
            <a:solidFill>
              <a:srgbClr val="4D4D4D"/>
            </a:solidFill>
            <a:ln>
              <a:noFill/>
            </a:ln>
            <a:effectLst/>
          </p:spPr>
          <p:style>
            <a:lnRef idx="1">
              <a:schemeClr val="accent1"/>
            </a:lnRef>
            <a:fillRef idx="3">
              <a:schemeClr val="accent1"/>
            </a:fillRef>
            <a:effectRef idx="2">
              <a:schemeClr val="accent1"/>
            </a:effectRef>
            <a:fontRef idx="minor">
              <a:schemeClr val="lt1"/>
            </a:fontRef>
          </p:style>
          <p:txBody>
            <a:bodyPr lIns="76200" rtlCol="0" anchor="ctr"/>
            <a:lstStyle/>
            <a:p>
              <a:pPr defTabSz="544237"/>
              <a:r>
                <a:rPr lang="en-US" sz="1333" dirty="0">
                  <a:solidFill>
                    <a:prstClr val="white"/>
                  </a:solidFill>
                  <a:latin typeface="Verdana" panose="020B0604030504040204" pitchFamily="34" charset="0"/>
                  <a:ea typeface="Verdana" panose="020B0604030504040204" pitchFamily="34" charset="0"/>
                </a:rPr>
                <a:t>70% Steel Production Route CO2 Emission break up, TCO2/TCS</a:t>
              </a:r>
            </a:p>
          </p:txBody>
        </p:sp>
      </p:grpSp>
      <p:grpSp>
        <p:nvGrpSpPr>
          <p:cNvPr id="95" name="Group 94"/>
          <p:cNvGrpSpPr/>
          <p:nvPr/>
        </p:nvGrpSpPr>
        <p:grpSpPr>
          <a:xfrm>
            <a:off x="6573213" y="1886933"/>
            <a:ext cx="4063472" cy="3745160"/>
            <a:chOff x="7932420" y="1840230"/>
            <a:chExt cx="4320540" cy="3943350"/>
          </a:xfrm>
        </p:grpSpPr>
        <p:sp>
          <p:nvSpPr>
            <p:cNvPr id="96" name="Rounded Rectangle 95"/>
            <p:cNvSpPr/>
            <p:nvPr/>
          </p:nvSpPr>
          <p:spPr>
            <a:xfrm>
              <a:off x="7932420" y="1840230"/>
              <a:ext cx="4194810" cy="3943350"/>
            </a:xfrm>
            <a:prstGeom prst="roundRect">
              <a:avLst/>
            </a:prstGeom>
            <a:noFill/>
            <a:ln>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endParaRPr lang="en-US" sz="2167">
                <a:solidFill>
                  <a:prstClr val="white"/>
                </a:solidFill>
                <a:latin typeface="Calibri"/>
              </a:endParaRPr>
            </a:p>
          </p:txBody>
        </p:sp>
        <p:sp>
          <p:nvSpPr>
            <p:cNvPr id="97" name="TextBox 2"/>
            <p:cNvSpPr txBox="1"/>
            <p:nvPr/>
          </p:nvSpPr>
          <p:spPr>
            <a:xfrm>
              <a:off x="7932420" y="2948942"/>
              <a:ext cx="2474596" cy="8812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defTabSz="544237">
                <a:lnSpc>
                  <a:spcPct val="150000"/>
                </a:lnSpc>
              </a:pPr>
              <a:r>
                <a:rPr lang="en-US" sz="1167" dirty="0">
                  <a:solidFill>
                    <a:srgbClr val="1F497D">
                      <a:lumMod val="60000"/>
                      <a:lumOff val="40000"/>
                    </a:srgbClr>
                  </a:solidFill>
                  <a:latin typeface="Verdana" panose="020B0604030504040204" pitchFamily="34" charset="0"/>
                  <a:ea typeface="Verdana" panose="020B0604030504040204" pitchFamily="34" charset="0"/>
                </a:rPr>
                <a:t>~50 % of CO2 emission is from Blast Furnace</a:t>
              </a:r>
            </a:p>
            <a:p>
              <a:pPr algn="just" defTabSz="544237">
                <a:lnSpc>
                  <a:spcPct val="150000"/>
                </a:lnSpc>
              </a:pPr>
              <a:r>
                <a:rPr lang="en-US" sz="1167" dirty="0">
                  <a:solidFill>
                    <a:srgbClr val="1F497D">
                      <a:lumMod val="60000"/>
                      <a:lumOff val="40000"/>
                    </a:srgbClr>
                  </a:solidFill>
                  <a:latin typeface="Verdana" panose="020B0604030504040204" pitchFamily="34" charset="0"/>
                  <a:ea typeface="Verdana" panose="020B0604030504040204" pitchFamily="34" charset="0"/>
                </a:rPr>
                <a:t> </a:t>
              </a:r>
            </a:p>
          </p:txBody>
        </p:sp>
        <p:sp>
          <p:nvSpPr>
            <p:cNvPr id="98" name="TextBox 2"/>
            <p:cNvSpPr txBox="1"/>
            <p:nvPr/>
          </p:nvSpPr>
          <p:spPr>
            <a:xfrm>
              <a:off x="9835515" y="4938933"/>
              <a:ext cx="2417445" cy="8446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defTabSz="544237">
                <a:lnSpc>
                  <a:spcPct val="150000"/>
                </a:lnSpc>
              </a:pPr>
              <a:r>
                <a:rPr lang="en-US" sz="1167" dirty="0">
                  <a:solidFill>
                    <a:srgbClr val="1F497D">
                      <a:lumMod val="60000"/>
                      <a:lumOff val="40000"/>
                    </a:srgbClr>
                  </a:solidFill>
                  <a:latin typeface="Verdana" panose="020B0604030504040204" pitchFamily="34" charset="0"/>
                  <a:ea typeface="Verdana" panose="020B0604030504040204" pitchFamily="34" charset="0"/>
                </a:rPr>
                <a:t> ~15% of CO2 emission are from Sinter Plant</a:t>
              </a:r>
            </a:p>
          </p:txBody>
        </p:sp>
      </p:grpSp>
      <p:grpSp>
        <p:nvGrpSpPr>
          <p:cNvPr id="99" name="Group 98"/>
          <p:cNvGrpSpPr/>
          <p:nvPr/>
        </p:nvGrpSpPr>
        <p:grpSpPr>
          <a:xfrm>
            <a:off x="1199456" y="1021160"/>
            <a:ext cx="4182311" cy="304800"/>
            <a:chOff x="796834" y="1127043"/>
            <a:chExt cx="5018773" cy="365760"/>
          </a:xfrm>
        </p:grpSpPr>
        <p:sp>
          <p:nvSpPr>
            <p:cNvPr id="100" name="Rectangle 99"/>
            <p:cNvSpPr/>
            <p:nvPr/>
          </p:nvSpPr>
          <p:spPr>
            <a:xfrm>
              <a:off x="796834" y="1127043"/>
              <a:ext cx="413658" cy="365760"/>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4237"/>
              <a:r>
                <a:rPr lang="en-US" sz="1500" dirty="0">
                  <a:solidFill>
                    <a:prstClr val="white"/>
                  </a:solidFill>
                  <a:latin typeface="Verdana" panose="020B0604030504040204" pitchFamily="34" charset="0"/>
                  <a:ea typeface="Verdana" panose="020B0604030504040204" pitchFamily="34" charset="0"/>
                </a:rPr>
                <a:t>1</a:t>
              </a:r>
              <a:endParaRPr lang="en-US" sz="2167" dirty="0">
                <a:solidFill>
                  <a:prstClr val="white"/>
                </a:solidFill>
                <a:latin typeface="Verdana" panose="020B0604030504040204" pitchFamily="34" charset="0"/>
                <a:ea typeface="Verdana" panose="020B0604030504040204" pitchFamily="34" charset="0"/>
              </a:endParaRPr>
            </a:p>
          </p:txBody>
        </p:sp>
        <p:sp>
          <p:nvSpPr>
            <p:cNvPr id="101" name="Rectangle 100"/>
            <p:cNvSpPr/>
            <p:nvPr/>
          </p:nvSpPr>
          <p:spPr>
            <a:xfrm>
              <a:off x="1243607" y="1127043"/>
              <a:ext cx="4572000" cy="365760"/>
            </a:xfrm>
            <a:prstGeom prst="rect">
              <a:avLst/>
            </a:prstGeom>
            <a:solidFill>
              <a:srgbClr val="4D4D4D"/>
            </a:solidFill>
            <a:ln>
              <a:noFill/>
            </a:ln>
            <a:effectLst/>
          </p:spPr>
          <p:style>
            <a:lnRef idx="1">
              <a:schemeClr val="accent1"/>
            </a:lnRef>
            <a:fillRef idx="3">
              <a:schemeClr val="accent1"/>
            </a:fillRef>
            <a:effectRef idx="2">
              <a:schemeClr val="accent1"/>
            </a:effectRef>
            <a:fontRef idx="minor">
              <a:schemeClr val="lt1"/>
            </a:fontRef>
          </p:style>
          <p:txBody>
            <a:bodyPr lIns="76200" rtlCol="0" anchor="ctr"/>
            <a:lstStyle/>
            <a:p>
              <a:pPr defTabSz="544237"/>
              <a:r>
                <a:rPr lang="en-US" sz="1333" dirty="0">
                  <a:solidFill>
                    <a:prstClr val="white"/>
                  </a:solidFill>
                  <a:latin typeface="Verdana" panose="020B0604030504040204" pitchFamily="34" charset="0"/>
                  <a:ea typeface="Verdana" panose="020B0604030504040204" pitchFamily="34" charset="0"/>
                </a:rPr>
                <a:t>Global Steel Production Route, % </a:t>
              </a:r>
            </a:p>
          </p:txBody>
        </p:sp>
      </p:grpSp>
      <p:sp>
        <p:nvSpPr>
          <p:cNvPr id="102" name="Rectangle 101"/>
          <p:cNvSpPr/>
          <p:nvPr/>
        </p:nvSpPr>
        <p:spPr>
          <a:xfrm>
            <a:off x="2351584" y="341232"/>
            <a:ext cx="9171100" cy="461665"/>
          </a:xfrm>
          <a:prstGeom prst="rect">
            <a:avLst/>
          </a:prstGeom>
        </p:spPr>
        <p:txBody>
          <a:bodyPr wrap="none">
            <a:spAutoFit/>
          </a:bodyPr>
          <a:lstStyle/>
          <a:p>
            <a:pPr defTabSz="544237"/>
            <a:r>
              <a:rPr lang="en-US" sz="2350" b="1" dirty="0">
                <a:solidFill>
                  <a:srgbClr val="C00000"/>
                </a:solidFill>
                <a:latin typeface="Verdana" panose="020B0604030504040204" pitchFamily="34" charset="0"/>
                <a:ea typeface="Verdana" panose="020B0604030504040204" pitchFamily="34" charset="0"/>
              </a:rPr>
              <a:t>Steel Route &amp; CO2 Emission |</a:t>
            </a:r>
            <a:r>
              <a:rPr lang="en-US" sz="2350" b="1" dirty="0">
                <a:solidFill>
                  <a:srgbClr val="003399"/>
                </a:solidFill>
                <a:latin typeface="Verdana" panose="020B0604030504040204" pitchFamily="34" charset="0"/>
                <a:ea typeface="Verdana" panose="020B0604030504040204" pitchFamily="34" charset="0"/>
              </a:rPr>
              <a:t> Global Steel Industry </a:t>
            </a:r>
          </a:p>
        </p:txBody>
      </p:sp>
      <p:cxnSp>
        <p:nvCxnSpPr>
          <p:cNvPr id="103" name="Straight Connector 102"/>
          <p:cNvCxnSpPr/>
          <p:nvPr/>
        </p:nvCxnSpPr>
        <p:spPr>
          <a:xfrm flipH="1">
            <a:off x="2207568" y="831107"/>
            <a:ext cx="9073009" cy="13880"/>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9062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Manual Operation 1">
            <a:extLst>
              <a:ext uri="{FF2B5EF4-FFF2-40B4-BE49-F238E27FC236}">
                <a16:creationId xmlns:a16="http://schemas.microsoft.com/office/drawing/2014/main" id="{11B136CC-24D1-46FF-A43F-F18F2DA6CBBD}"/>
              </a:ext>
            </a:extLst>
          </p:cNvPr>
          <p:cNvSpPr/>
          <p:nvPr/>
        </p:nvSpPr>
        <p:spPr>
          <a:xfrm rot="5400000">
            <a:off x="1921981" y="2905189"/>
            <a:ext cx="4735037" cy="2503414"/>
          </a:xfrm>
          <a:prstGeom prst="flowChartManualOperation">
            <a:avLst/>
          </a:prstGeom>
          <a:gradFill flip="none" rotWithShape="1">
            <a:gsLst>
              <a:gs pos="0">
                <a:schemeClr val="accent1">
                  <a:lumMod val="5000"/>
                  <a:lumOff val="95000"/>
                </a:schemeClr>
              </a:gs>
              <a:gs pos="25000">
                <a:schemeClr val="accent1">
                  <a:lumMod val="5000"/>
                  <a:lumOff val="95000"/>
                </a:schemeClr>
              </a:gs>
              <a:gs pos="94000">
                <a:schemeClr val="accent1">
                  <a:lumMod val="45000"/>
                  <a:lumOff val="55000"/>
                </a:schemeClr>
              </a:gs>
              <a:gs pos="97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E0B825D-C9FF-4E82-908D-8C9A3A0FC145}"/>
              </a:ext>
            </a:extLst>
          </p:cNvPr>
          <p:cNvSpPr txBox="1"/>
          <p:nvPr/>
        </p:nvSpPr>
        <p:spPr>
          <a:xfrm>
            <a:off x="5117987" y="774876"/>
            <a:ext cx="6096000" cy="4197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all" spc="120" normalizeH="0" baseline="0">
                <a:solidFill>
                  <a:prstClr val="black">
                    <a:lumMod val="65000"/>
                    <a:lumOff val="35000"/>
                  </a:prstClr>
                </a:solidFill>
                <a:latin typeface="+mn-lt"/>
                <a:ea typeface="+mn-ea"/>
                <a:cs typeface="+mn-cs"/>
              </a:defRPr>
            </a:pPr>
            <a:r>
              <a:rPr kumimoji="0" lang="en-US" sz="2128" b="1" i="0" u="none" strike="noStrike" kern="1200" cap="none" spc="120" normalizeH="0" baseline="0" noProof="0" dirty="0">
                <a:ln>
                  <a:noFill/>
                </a:ln>
                <a:solidFill>
                  <a:srgbClr val="4472C4"/>
                </a:solidFill>
                <a:effectLst/>
                <a:uLnTx/>
                <a:uFillTx/>
                <a:latin typeface="Calibri" panose="020F0502020204030204"/>
                <a:ea typeface="+mn-ea"/>
                <a:cs typeface="+mn-cs"/>
              </a:rPr>
              <a:t>CO2 Emission Contributions – Shop Level</a:t>
            </a:r>
          </a:p>
        </p:txBody>
      </p:sp>
      <p:sp>
        <p:nvSpPr>
          <p:cNvPr id="5" name="TextBox 4">
            <a:extLst>
              <a:ext uri="{FF2B5EF4-FFF2-40B4-BE49-F238E27FC236}">
                <a16:creationId xmlns:a16="http://schemas.microsoft.com/office/drawing/2014/main" id="{D4D27EE0-960D-42EF-81F8-21A02CE0327A}"/>
              </a:ext>
            </a:extLst>
          </p:cNvPr>
          <p:cNvSpPr txBox="1"/>
          <p:nvPr/>
        </p:nvSpPr>
        <p:spPr>
          <a:xfrm>
            <a:off x="5357375" y="1130019"/>
            <a:ext cx="542174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472C4"/>
                </a:solidFill>
                <a:effectLst/>
                <a:uLnTx/>
                <a:uFillTx/>
                <a:latin typeface="Calibri" panose="020F0502020204030204"/>
                <a:ea typeface="+mn-ea"/>
                <a:cs typeface="+mn-cs"/>
              </a:rPr>
              <a:t>Steel Zone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contributed to </a:t>
            </a:r>
            <a:r>
              <a:rPr kumimoji="0" lang="en-US" sz="1800" b="1" i="1" u="none" strike="noStrike" kern="1200" cap="none" spc="0" normalizeH="0" baseline="0" noProof="0" dirty="0">
                <a:ln>
                  <a:noFill/>
                </a:ln>
                <a:solidFill>
                  <a:srgbClr val="4472C4"/>
                </a:solidFill>
                <a:effectLst/>
                <a:uLnTx/>
                <a:uFillTx/>
                <a:latin typeface="Calibri" panose="020F0502020204030204"/>
                <a:ea typeface="+mn-ea"/>
                <a:cs typeface="+mn-cs"/>
              </a:rPr>
              <a:t>~18%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of total emissions</a:t>
            </a:r>
          </a:p>
        </p:txBody>
      </p:sp>
      <p:graphicFrame>
        <p:nvGraphicFramePr>
          <p:cNvPr id="6" name="Chart 5">
            <a:extLst>
              <a:ext uri="{FF2B5EF4-FFF2-40B4-BE49-F238E27FC236}">
                <a16:creationId xmlns:a16="http://schemas.microsoft.com/office/drawing/2014/main" id="{6A4A8926-EC26-4DF5-8765-8A0971315904}"/>
              </a:ext>
            </a:extLst>
          </p:cNvPr>
          <p:cNvGraphicFramePr/>
          <p:nvPr>
            <p:custDataLst>
              <p:tags r:id="rId1"/>
            </p:custDataLst>
            <p:extLst/>
          </p:nvPr>
        </p:nvGraphicFramePr>
        <p:xfrm>
          <a:off x="1176013" y="2460167"/>
          <a:ext cx="2587625" cy="3198813"/>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 Placeholder 2">
            <a:extLst>
              <a:ext uri="{FF2B5EF4-FFF2-40B4-BE49-F238E27FC236}">
                <a16:creationId xmlns:a16="http://schemas.microsoft.com/office/drawing/2014/main" id="{F2A0E0A0-4D0F-4C7E-9A75-F4139172D843}"/>
              </a:ext>
            </a:extLst>
          </p:cNvPr>
          <p:cNvSpPr>
            <a:spLocks noGrp="1"/>
          </p:cNvSpPr>
          <p:nvPr>
            <p:custDataLst>
              <p:tags r:id="rId2"/>
            </p:custDataLst>
          </p:nvPr>
        </p:nvSpPr>
        <p:spPr bwMode="gray">
          <a:xfrm>
            <a:off x="1742751" y="5639930"/>
            <a:ext cx="1452563" cy="412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5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rPr>
              <a:t>CO2 emissions (kg CO2/</a:t>
            </a:r>
            <a:r>
              <a:rPr kumimoji="0" lang="en-US" altLang="en-US" sz="1500" b="0"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sym typeface="Trebuchet MS" panose="020B0603020202020204" pitchFamily="34" charset="0"/>
              </a:rPr>
              <a:t>tcs</a:t>
            </a:r>
            <a:r>
              <a:rPr kumimoji="0" lang="en-US" altLang="en-US" sz="15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rPr>
              <a:t>) FY24 Actual</a:t>
            </a:r>
            <a:endParaRPr kumimoji="0" lang="en-US" sz="15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9FE907A1-5157-49DE-9C70-BBB0798594E1}"/>
              </a:ext>
            </a:extLst>
          </p:cNvPr>
          <p:cNvSpPr txBox="1"/>
          <p:nvPr/>
        </p:nvSpPr>
        <p:spPr>
          <a:xfrm>
            <a:off x="860389" y="774876"/>
            <a:ext cx="4546889" cy="4197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all" spc="120" normalizeH="0" baseline="0">
                <a:solidFill>
                  <a:prstClr val="black">
                    <a:lumMod val="65000"/>
                    <a:lumOff val="35000"/>
                  </a:prstClr>
                </a:solidFill>
                <a:latin typeface="+mn-lt"/>
                <a:ea typeface="+mn-ea"/>
                <a:cs typeface="+mn-cs"/>
              </a:defRPr>
            </a:pPr>
            <a:r>
              <a:rPr kumimoji="0" lang="en-US" sz="2128" b="1" i="0" u="none" strike="noStrike" kern="1200" cap="none" spc="120" normalizeH="0" baseline="0" noProof="0" dirty="0">
                <a:ln>
                  <a:noFill/>
                </a:ln>
                <a:solidFill>
                  <a:srgbClr val="4472C4"/>
                </a:solidFill>
                <a:effectLst/>
                <a:uLnTx/>
                <a:uFillTx/>
                <a:latin typeface="Calibri" panose="020F0502020204030204"/>
                <a:ea typeface="+mn-ea"/>
                <a:cs typeface="+mn-cs"/>
              </a:rPr>
              <a:t>CO2 </a:t>
            </a:r>
            <a:r>
              <a:rPr kumimoji="0" lang="en-US" sz="2128" b="1" i="0" u="none" strike="noStrike" kern="1200" cap="all" spc="120" normalizeH="0" baseline="0" noProof="0" dirty="0">
                <a:ln>
                  <a:noFill/>
                </a:ln>
                <a:solidFill>
                  <a:srgbClr val="4472C4"/>
                </a:solidFill>
                <a:effectLst/>
                <a:uLnTx/>
                <a:uFillTx/>
                <a:latin typeface="Calibri" panose="020F0502020204030204"/>
                <a:ea typeface="+mn-ea"/>
                <a:cs typeface="+mn-cs"/>
              </a:rPr>
              <a:t>E</a:t>
            </a:r>
            <a:r>
              <a:rPr kumimoji="0" lang="en-US" sz="2128" b="1" i="0" u="none" strike="noStrike" kern="1200" cap="none" spc="120" normalizeH="0" baseline="0" noProof="0" dirty="0">
                <a:ln>
                  <a:noFill/>
                </a:ln>
                <a:solidFill>
                  <a:srgbClr val="4472C4"/>
                </a:solidFill>
                <a:effectLst/>
                <a:uLnTx/>
                <a:uFillTx/>
                <a:latin typeface="Calibri" panose="020F0502020204030204"/>
                <a:ea typeface="+mn-ea"/>
                <a:cs typeface="+mn-cs"/>
              </a:rPr>
              <a:t>missions – Plant level</a:t>
            </a:r>
          </a:p>
        </p:txBody>
      </p:sp>
      <p:sp>
        <p:nvSpPr>
          <p:cNvPr id="9" name="TextBox 8">
            <a:extLst>
              <a:ext uri="{FF2B5EF4-FFF2-40B4-BE49-F238E27FC236}">
                <a16:creationId xmlns:a16="http://schemas.microsoft.com/office/drawing/2014/main" id="{E98529FE-35D4-46BB-8555-3A81D4765C66}"/>
              </a:ext>
            </a:extLst>
          </p:cNvPr>
          <p:cNvSpPr txBox="1"/>
          <p:nvPr/>
        </p:nvSpPr>
        <p:spPr>
          <a:xfrm>
            <a:off x="1317723" y="1156144"/>
            <a:ext cx="37025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2.63 tons/</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tcs</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CO2 emissions in FY24</a:t>
            </a:r>
          </a:p>
        </p:txBody>
      </p:sp>
      <p:graphicFrame>
        <p:nvGraphicFramePr>
          <p:cNvPr id="10" name="Chart 9">
            <a:extLst>
              <a:ext uri="{FF2B5EF4-FFF2-40B4-BE49-F238E27FC236}">
                <a16:creationId xmlns:a16="http://schemas.microsoft.com/office/drawing/2014/main" id="{6E6034FC-A8D1-2C5F-2D63-3F0987EFEAFC}"/>
              </a:ext>
            </a:extLst>
          </p:cNvPr>
          <p:cNvGraphicFramePr>
            <a:graphicFrameLocks/>
          </p:cNvGraphicFramePr>
          <p:nvPr>
            <p:extLst/>
          </p:nvPr>
        </p:nvGraphicFramePr>
        <p:xfrm>
          <a:off x="5117987" y="1759937"/>
          <a:ext cx="6048164" cy="4764475"/>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 Placeholder 2">
            <a:extLst>
              <a:ext uri="{FF2B5EF4-FFF2-40B4-BE49-F238E27FC236}">
                <a16:creationId xmlns:a16="http://schemas.microsoft.com/office/drawing/2014/main" id="{E817735B-2291-7411-C1C0-03007A683241}"/>
              </a:ext>
            </a:extLst>
          </p:cNvPr>
          <p:cNvSpPr>
            <a:spLocks noGrp="1"/>
          </p:cNvSpPr>
          <p:nvPr>
            <p:custDataLst>
              <p:tags r:id="rId3"/>
            </p:custDataLst>
          </p:nvPr>
        </p:nvSpPr>
        <p:spPr bwMode="gray">
          <a:xfrm>
            <a:off x="10441816" y="1509417"/>
            <a:ext cx="1052802" cy="415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kg CO2/TCS</a:t>
            </a:r>
            <a:endParaRPr kumimoji="0" lang="en-US" sz="9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12" name="Text Placeholder 2">
            <a:extLst>
              <a:ext uri="{FF2B5EF4-FFF2-40B4-BE49-F238E27FC236}">
                <a16:creationId xmlns:a16="http://schemas.microsoft.com/office/drawing/2014/main" id="{A71168F7-1D8C-DE2F-C378-F8E213D136EB}"/>
              </a:ext>
            </a:extLst>
          </p:cNvPr>
          <p:cNvSpPr>
            <a:spLocks noGrp="1"/>
          </p:cNvSpPr>
          <p:nvPr>
            <p:custDataLst>
              <p:tags r:id="rId4"/>
            </p:custDataLst>
          </p:nvPr>
        </p:nvSpPr>
        <p:spPr bwMode="gray">
          <a:xfrm>
            <a:off x="5538733" y="6468648"/>
            <a:ext cx="4165338" cy="30085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Others: CPP, Boilers, Building lighting, etc.</a:t>
            </a:r>
            <a:endParaRPr kumimoji="0" lang="en-US" sz="7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14" name="Rounded Rectangle 13"/>
          <p:cNvSpPr/>
          <p:nvPr/>
        </p:nvSpPr>
        <p:spPr>
          <a:xfrm>
            <a:off x="911425" y="764704"/>
            <a:ext cx="10441160" cy="5904656"/>
          </a:xfrm>
          <a:prstGeom prst="roundRect">
            <a:avLst/>
          </a:prstGeom>
          <a:noFill/>
          <a:ln w="381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5248365" y="56978"/>
            <a:ext cx="2924198" cy="461665"/>
          </a:xfrm>
          <a:prstGeom prst="rect">
            <a:avLst/>
          </a:prstGeom>
        </p:spPr>
        <p:txBody>
          <a:bodyPr wrap="none">
            <a:spAutoFit/>
          </a:bodyPr>
          <a:lstStyle/>
          <a:p>
            <a:r>
              <a:rPr lang="en-US" sz="2400" b="1" dirty="0">
                <a:solidFill>
                  <a:srgbClr val="C00000"/>
                </a:solidFill>
                <a:latin typeface="Verdana" panose="020B0604030504040204" pitchFamily="34" charset="0"/>
                <a:ea typeface="Verdana" panose="020B0604030504040204" pitchFamily="34" charset="0"/>
              </a:rPr>
              <a:t>CO2 </a:t>
            </a:r>
            <a:r>
              <a:rPr lang="en-US" b="1" dirty="0" smtClean="0">
                <a:solidFill>
                  <a:srgbClr val="003399"/>
                </a:solidFill>
                <a:latin typeface="Verdana" panose="020B0604030504040204" pitchFamily="34" charset="0"/>
                <a:ea typeface="Verdana" panose="020B0604030504040204" pitchFamily="34" charset="0"/>
              </a:rPr>
              <a:t>| </a:t>
            </a:r>
            <a:r>
              <a:rPr lang="en-US" sz="2400" b="1" dirty="0" smtClean="0">
                <a:solidFill>
                  <a:srgbClr val="003399"/>
                </a:solidFill>
                <a:latin typeface="Verdana" panose="020B0604030504040204" pitchFamily="34" charset="0"/>
                <a:ea typeface="Verdana" panose="020B0604030504040204" pitchFamily="34" charset="0"/>
              </a:rPr>
              <a:t>Emissions</a:t>
            </a:r>
            <a:endParaRPr lang="en-US" sz="2400" dirty="0"/>
          </a:p>
        </p:txBody>
      </p:sp>
    </p:spTree>
    <p:extLst>
      <p:ext uri="{BB962C8B-B14F-4D97-AF65-F5344CB8AC3E}">
        <p14:creationId xmlns:p14="http://schemas.microsoft.com/office/powerpoint/2010/main" val="19936867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3C07-7564-F1EC-F562-617726AFC701}"/>
              </a:ext>
            </a:extLst>
          </p:cNvPr>
          <p:cNvSpPr>
            <a:spLocks noGrp="1"/>
          </p:cNvSpPr>
          <p:nvPr>
            <p:ph type="title"/>
          </p:nvPr>
        </p:nvSpPr>
        <p:spPr>
          <a:xfrm>
            <a:off x="4250343" y="258916"/>
            <a:ext cx="4502537" cy="369332"/>
          </a:xfrm>
        </p:spPr>
        <p:txBody>
          <a:bodyPr/>
          <a:lstStyle/>
          <a:p>
            <a:pPr algn="l" rtl="0"/>
            <a:r>
              <a:rPr lang="en-US" sz="2333" b="1" kern="1200" dirty="0">
                <a:solidFill>
                  <a:srgbClr val="003399"/>
                </a:solidFill>
                <a:latin typeface="Verdana" panose="020B0604030504040204" pitchFamily="34" charset="0"/>
                <a:ea typeface="Verdana" panose="020B0604030504040204" pitchFamily="34" charset="0"/>
                <a:cs typeface="+mn-cs"/>
              </a:rPr>
              <a:t>Overview of Blast Furnace</a:t>
            </a:r>
          </a:p>
        </p:txBody>
      </p:sp>
      <mc:AlternateContent xmlns:mc="http://schemas.openxmlformats.org/markup-compatibility/2006" xmlns:p14="http://schemas.microsoft.com/office/powerpoint/2010/main">
        <mc:Choice Requires="p14">
          <p:contentPart p14:bwMode="auto" r:id="rId3">
            <p14:nvContentPartPr>
              <p14:cNvPr id="10" name="Ink 9">
                <a:extLst>
                  <a:ext uri="{FF2B5EF4-FFF2-40B4-BE49-F238E27FC236}">
                    <a16:creationId xmlns:a16="http://schemas.microsoft.com/office/drawing/2014/main" id="{42A98845-8128-7B5E-1CF5-475E110F7B67}"/>
                  </a:ext>
                </a:extLst>
              </p14:cNvPr>
              <p14:cNvContentPartPr/>
              <p14:nvPr/>
            </p14:nvContentPartPr>
            <p14:xfrm>
              <a:off x="7356531" y="1832520"/>
              <a:ext cx="360" cy="360"/>
            </p14:xfrm>
          </p:contentPart>
        </mc:Choice>
        <mc:Fallback xmlns="">
          <p:pic>
            <p:nvPicPr>
              <p:cNvPr id="10" name="Ink 9">
                <a:extLst>
                  <a:ext uri="{FF2B5EF4-FFF2-40B4-BE49-F238E27FC236}">
                    <a16:creationId xmlns:a16="http://schemas.microsoft.com/office/drawing/2014/main" id="{42A98845-8128-7B5E-1CF5-475E110F7B67}"/>
                  </a:ext>
                </a:extLst>
              </p:cNvPr>
              <p:cNvPicPr/>
              <p:nvPr/>
            </p:nvPicPr>
            <p:blipFill>
              <a:blip r:embed="rId4"/>
              <a:stretch>
                <a:fillRect/>
              </a:stretch>
            </p:blipFill>
            <p:spPr>
              <a:xfrm>
                <a:off x="7347531" y="1823520"/>
                <a:ext cx="18000" cy="18000"/>
              </a:xfrm>
              <a:prstGeom prst="rect">
                <a:avLst/>
              </a:prstGeom>
            </p:spPr>
          </p:pic>
        </mc:Fallback>
      </mc:AlternateContent>
      <p:cxnSp>
        <p:nvCxnSpPr>
          <p:cNvPr id="187" name="Straight Connector 186">
            <a:extLst>
              <a:ext uri="{FF2B5EF4-FFF2-40B4-BE49-F238E27FC236}">
                <a16:creationId xmlns:a16="http://schemas.microsoft.com/office/drawing/2014/main" id="{98DA0735-96D0-1321-754E-1091E50AE803}"/>
              </a:ext>
            </a:extLst>
          </p:cNvPr>
          <p:cNvCxnSpPr>
            <a:cxnSpLocks/>
          </p:cNvCxnSpPr>
          <p:nvPr/>
        </p:nvCxnSpPr>
        <p:spPr>
          <a:xfrm>
            <a:off x="8168681" y="3490314"/>
            <a:ext cx="0" cy="3208629"/>
          </a:xfrm>
          <a:prstGeom prst="line">
            <a:avLst/>
          </a:prstGeom>
          <a:ln w="19050"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0" name="TextBox 199">
            <a:extLst>
              <a:ext uri="{FF2B5EF4-FFF2-40B4-BE49-F238E27FC236}">
                <a16:creationId xmlns:a16="http://schemas.microsoft.com/office/drawing/2014/main" id="{8B33FAA0-C24C-4932-4D38-9812D0C3F288}"/>
              </a:ext>
            </a:extLst>
          </p:cNvPr>
          <p:cNvSpPr txBox="1"/>
          <p:nvPr/>
        </p:nvSpPr>
        <p:spPr>
          <a:xfrm>
            <a:off x="2955333" y="5515590"/>
            <a:ext cx="833049" cy="276999"/>
          </a:xfrm>
          <a:prstGeom prst="rect">
            <a:avLst/>
          </a:prstGeom>
          <a:noFill/>
        </p:spPr>
        <p:txBody>
          <a:bodyPr wrap="none" rtlCol="0">
            <a:spAutoFit/>
          </a:bodyPr>
          <a:lstStyle/>
          <a:p>
            <a:r>
              <a:rPr lang="en-US" sz="1200">
                <a:solidFill>
                  <a:schemeClr val="bg1"/>
                </a:solidFill>
              </a:rPr>
              <a:t>Long Term</a:t>
            </a:r>
          </a:p>
        </p:txBody>
      </p:sp>
      <p:cxnSp>
        <p:nvCxnSpPr>
          <p:cNvPr id="206" name="Straight Connector 205">
            <a:extLst>
              <a:ext uri="{FF2B5EF4-FFF2-40B4-BE49-F238E27FC236}">
                <a16:creationId xmlns:a16="http://schemas.microsoft.com/office/drawing/2014/main" id="{7AF91601-15E7-655B-DE04-4D29965D1DDB}"/>
              </a:ext>
            </a:extLst>
          </p:cNvPr>
          <p:cNvCxnSpPr>
            <a:cxnSpLocks/>
          </p:cNvCxnSpPr>
          <p:nvPr/>
        </p:nvCxnSpPr>
        <p:spPr>
          <a:xfrm flipH="1">
            <a:off x="479376" y="3147203"/>
            <a:ext cx="10430475" cy="0"/>
          </a:xfrm>
          <a:prstGeom prst="line">
            <a:avLst/>
          </a:prstGeom>
          <a:ln w="19050"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 name="Picture 2" descr="A diagram of a blast furnace&#10;&#10;Description automatically generated">
            <a:extLst>
              <a:ext uri="{FF2B5EF4-FFF2-40B4-BE49-F238E27FC236}">
                <a16:creationId xmlns:a16="http://schemas.microsoft.com/office/drawing/2014/main" id="{68AF073B-5A09-D7B0-7B98-C8F3F6ED2DA6}"/>
              </a:ext>
            </a:extLst>
          </p:cNvPr>
          <p:cNvPicPr>
            <a:picLocks noChangeAspect="1"/>
          </p:cNvPicPr>
          <p:nvPr/>
        </p:nvPicPr>
        <p:blipFill rotWithShape="1">
          <a:blip r:embed="rId5"/>
          <a:srcRect l="1643" t="19839" r="52061" b="64254"/>
          <a:stretch/>
        </p:blipFill>
        <p:spPr>
          <a:xfrm>
            <a:off x="0" y="3597370"/>
            <a:ext cx="4473519" cy="665518"/>
          </a:xfrm>
          <a:prstGeom prst="rect">
            <a:avLst/>
          </a:prstGeom>
        </p:spPr>
      </p:pic>
      <p:pic>
        <p:nvPicPr>
          <p:cNvPr id="8" name="Picture 7" descr="A diagram of a blast furnace&#10;&#10;Description automatically generated">
            <a:extLst>
              <a:ext uri="{FF2B5EF4-FFF2-40B4-BE49-F238E27FC236}">
                <a16:creationId xmlns:a16="http://schemas.microsoft.com/office/drawing/2014/main" id="{5199EFBB-BE20-E0A9-C01A-39B42122F98F}"/>
              </a:ext>
            </a:extLst>
          </p:cNvPr>
          <p:cNvPicPr>
            <a:picLocks noChangeAspect="1"/>
          </p:cNvPicPr>
          <p:nvPr/>
        </p:nvPicPr>
        <p:blipFill rotWithShape="1">
          <a:blip r:embed="rId5"/>
          <a:srcRect t="40334" r="64993" b="17095"/>
          <a:stretch/>
        </p:blipFill>
        <p:spPr>
          <a:xfrm>
            <a:off x="1314174" y="4870269"/>
            <a:ext cx="2964974" cy="1793181"/>
          </a:xfrm>
          <a:prstGeom prst="rect">
            <a:avLst/>
          </a:prstGeom>
        </p:spPr>
      </p:pic>
      <p:pic>
        <p:nvPicPr>
          <p:cNvPr id="12" name="Picture 11" descr="A diagram of a blast furnace&#10;&#10;Description automatically generated">
            <a:extLst>
              <a:ext uri="{FF2B5EF4-FFF2-40B4-BE49-F238E27FC236}">
                <a16:creationId xmlns:a16="http://schemas.microsoft.com/office/drawing/2014/main" id="{22892A94-70F7-E91A-A7ED-6E3B91978859}"/>
              </a:ext>
            </a:extLst>
          </p:cNvPr>
          <p:cNvPicPr>
            <a:picLocks noChangeAspect="1"/>
          </p:cNvPicPr>
          <p:nvPr/>
        </p:nvPicPr>
        <p:blipFill rotWithShape="1">
          <a:blip r:embed="rId5"/>
          <a:srcRect l="37730" t="33276" r="33488" b="12459"/>
          <a:stretch/>
        </p:blipFill>
        <p:spPr>
          <a:xfrm>
            <a:off x="4694003" y="3503754"/>
            <a:ext cx="3509275" cy="3257092"/>
          </a:xfrm>
          <a:prstGeom prst="rect">
            <a:avLst/>
          </a:prstGeom>
          <a:ln>
            <a:solidFill>
              <a:schemeClr val="bg1"/>
            </a:solidFill>
          </a:ln>
        </p:spPr>
      </p:pic>
      <p:pic>
        <p:nvPicPr>
          <p:cNvPr id="13" name="Picture 12" descr="A diagram of a blast furnace&#10;&#10;Description automatically generated">
            <a:extLst>
              <a:ext uri="{FF2B5EF4-FFF2-40B4-BE49-F238E27FC236}">
                <a16:creationId xmlns:a16="http://schemas.microsoft.com/office/drawing/2014/main" id="{3C00A507-68B0-1FE8-D7D6-97E1FBB9C489}"/>
              </a:ext>
            </a:extLst>
          </p:cNvPr>
          <p:cNvPicPr>
            <a:picLocks noChangeAspect="1"/>
          </p:cNvPicPr>
          <p:nvPr/>
        </p:nvPicPr>
        <p:blipFill rotWithShape="1">
          <a:blip r:embed="rId5"/>
          <a:srcRect l="65181" t="18583" r="7660" b="10141"/>
          <a:stretch/>
        </p:blipFill>
        <p:spPr>
          <a:xfrm>
            <a:off x="8583537" y="3503754"/>
            <a:ext cx="2152379" cy="2792988"/>
          </a:xfrm>
          <a:prstGeom prst="rect">
            <a:avLst/>
          </a:prstGeom>
        </p:spPr>
      </p:pic>
      <p:sp>
        <p:nvSpPr>
          <p:cNvPr id="14" name="TextBox 13">
            <a:extLst>
              <a:ext uri="{FF2B5EF4-FFF2-40B4-BE49-F238E27FC236}">
                <a16:creationId xmlns:a16="http://schemas.microsoft.com/office/drawing/2014/main" id="{2C7ED5B1-04E8-B135-3ADD-DD8C9EEDA4DA}"/>
              </a:ext>
            </a:extLst>
          </p:cNvPr>
          <p:cNvSpPr txBox="1"/>
          <p:nvPr/>
        </p:nvSpPr>
        <p:spPr>
          <a:xfrm>
            <a:off x="1314561" y="3170227"/>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cs typeface="Calibri"/>
              </a:rPr>
              <a:t>INPUTS</a:t>
            </a:r>
            <a:endParaRPr lang="en-US"/>
          </a:p>
        </p:txBody>
      </p:sp>
      <p:sp>
        <p:nvSpPr>
          <p:cNvPr id="15" name="TextBox 14">
            <a:extLst>
              <a:ext uri="{FF2B5EF4-FFF2-40B4-BE49-F238E27FC236}">
                <a16:creationId xmlns:a16="http://schemas.microsoft.com/office/drawing/2014/main" id="{AD5ED9CE-80AD-A565-0D8A-3DB5F0C1ED27}"/>
              </a:ext>
            </a:extLst>
          </p:cNvPr>
          <p:cNvSpPr txBox="1"/>
          <p:nvPr/>
        </p:nvSpPr>
        <p:spPr>
          <a:xfrm>
            <a:off x="9086574" y="3178313"/>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OUTPUTS</a:t>
            </a:r>
          </a:p>
        </p:txBody>
      </p:sp>
      <p:sp>
        <p:nvSpPr>
          <p:cNvPr id="4" name="Arrow: Pentagon 3">
            <a:extLst>
              <a:ext uri="{FF2B5EF4-FFF2-40B4-BE49-F238E27FC236}">
                <a16:creationId xmlns:a16="http://schemas.microsoft.com/office/drawing/2014/main" id="{F9A1B1D8-997E-6795-4F33-F47619695DE9}"/>
              </a:ext>
            </a:extLst>
          </p:cNvPr>
          <p:cNvSpPr/>
          <p:nvPr/>
        </p:nvSpPr>
        <p:spPr>
          <a:xfrm>
            <a:off x="784784" y="1018804"/>
            <a:ext cx="3341749" cy="1943675"/>
          </a:xfrm>
          <a:prstGeom prst="homePlate">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Arrow: Pentagon 4">
            <a:extLst>
              <a:ext uri="{FF2B5EF4-FFF2-40B4-BE49-F238E27FC236}">
                <a16:creationId xmlns:a16="http://schemas.microsoft.com/office/drawing/2014/main" id="{43C6195B-B982-BFFE-99F8-93CD0C53477D}"/>
              </a:ext>
            </a:extLst>
          </p:cNvPr>
          <p:cNvSpPr/>
          <p:nvPr/>
        </p:nvSpPr>
        <p:spPr>
          <a:xfrm>
            <a:off x="4726075" y="1024642"/>
            <a:ext cx="3744416" cy="1937837"/>
          </a:xfrm>
          <a:prstGeom prst="homePlate">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Arrow: Pentagon 6">
            <a:extLst>
              <a:ext uri="{FF2B5EF4-FFF2-40B4-BE49-F238E27FC236}">
                <a16:creationId xmlns:a16="http://schemas.microsoft.com/office/drawing/2014/main" id="{72691A39-1BE6-34CA-DA8E-95EBA7C77164}"/>
              </a:ext>
            </a:extLst>
          </p:cNvPr>
          <p:cNvSpPr/>
          <p:nvPr/>
        </p:nvSpPr>
        <p:spPr>
          <a:xfrm>
            <a:off x="8972773" y="1024644"/>
            <a:ext cx="3091229" cy="1937837"/>
          </a:xfrm>
          <a:prstGeom prst="homePlate">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Verdana" panose="020B0604030504040204" pitchFamily="34" charset="0"/>
                <a:ea typeface="Verdana" panose="020B0604030504040204" pitchFamily="34" charset="0"/>
              </a:rPr>
              <a:t>The outputs of a blast furnace are molten iron (called pig iron) and slag.</a:t>
            </a:r>
            <a:endParaRPr lang="en-IN" sz="1400" dirty="0">
              <a:solidFill>
                <a:schemeClr val="tx1"/>
              </a:solidFill>
              <a:latin typeface="Verdana" panose="020B0604030504040204" pitchFamily="34" charset="0"/>
              <a:ea typeface="Verdana" panose="020B0604030504040204" pitchFamily="34" charset="0"/>
            </a:endParaRPr>
          </a:p>
        </p:txBody>
      </p:sp>
      <p:sp>
        <p:nvSpPr>
          <p:cNvPr id="9" name="TextBox 8">
            <a:extLst>
              <a:ext uri="{FF2B5EF4-FFF2-40B4-BE49-F238E27FC236}">
                <a16:creationId xmlns:a16="http://schemas.microsoft.com/office/drawing/2014/main" id="{76BB1E50-6728-DF6D-435F-867A3C2E7814}"/>
              </a:ext>
            </a:extLst>
          </p:cNvPr>
          <p:cNvSpPr txBox="1"/>
          <p:nvPr/>
        </p:nvSpPr>
        <p:spPr>
          <a:xfrm>
            <a:off x="913160" y="1156824"/>
            <a:ext cx="2808350" cy="1846659"/>
          </a:xfrm>
          <a:prstGeom prst="rect">
            <a:avLst/>
          </a:prstGeom>
          <a:noFill/>
        </p:spPr>
        <p:txBody>
          <a:bodyPr wrap="square" rtlCol="0">
            <a:spAutoFit/>
          </a:bodyPr>
          <a:lstStyle/>
          <a:p>
            <a:endParaRPr lang="en-US" sz="15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A blast furnace is a type of furnace used in metallurgy to produce iron from iron ore using a combination of coke as fuel and limestone as a flux.</a:t>
            </a:r>
          </a:p>
          <a:p>
            <a:endParaRPr lang="en-IN" sz="1500" dirty="0"/>
          </a:p>
        </p:txBody>
      </p:sp>
      <p:sp>
        <p:nvSpPr>
          <p:cNvPr id="17" name="TextBox 16">
            <a:extLst>
              <a:ext uri="{FF2B5EF4-FFF2-40B4-BE49-F238E27FC236}">
                <a16:creationId xmlns:a16="http://schemas.microsoft.com/office/drawing/2014/main" id="{15260460-65F7-8032-A0D0-918C2F21B331}"/>
              </a:ext>
            </a:extLst>
          </p:cNvPr>
          <p:cNvSpPr txBox="1"/>
          <p:nvPr/>
        </p:nvSpPr>
        <p:spPr>
          <a:xfrm>
            <a:off x="4671360" y="1066088"/>
            <a:ext cx="4050272" cy="1815882"/>
          </a:xfrm>
          <a:prstGeom prst="rect">
            <a:avLst/>
          </a:prstGeom>
          <a:noFill/>
        </p:spPr>
        <p:txBody>
          <a:bodyPr wrap="square" rtlCol="0">
            <a:spAutoFit/>
          </a:bodyPr>
          <a:lstStyle/>
          <a:p>
            <a:r>
              <a:rPr lang="en-US" sz="1400" dirty="0">
                <a:latin typeface="Verdana" panose="020B0604030504040204" pitchFamily="34" charset="0"/>
                <a:ea typeface="Verdana" panose="020B0604030504040204" pitchFamily="34" charset="0"/>
              </a:rPr>
              <a:t>It operates by </a:t>
            </a:r>
            <a:r>
              <a:rPr lang="en-US" sz="1400" dirty="0" smtClean="0">
                <a:latin typeface="Verdana" panose="020B0604030504040204" pitchFamily="34" charset="0"/>
                <a:ea typeface="Verdana" panose="020B0604030504040204" pitchFamily="34" charset="0"/>
              </a:rPr>
              <a:t>continuously</a:t>
            </a:r>
          </a:p>
          <a:p>
            <a:r>
              <a:rPr lang="en-US" sz="1400" dirty="0" smtClean="0">
                <a:latin typeface="Verdana" panose="020B0604030504040204" pitchFamily="34" charset="0"/>
                <a:ea typeface="Verdana" panose="020B0604030504040204" pitchFamily="34" charset="0"/>
              </a:rPr>
              <a:t>feeding </a:t>
            </a:r>
            <a:r>
              <a:rPr lang="en-US" sz="1400" dirty="0">
                <a:latin typeface="Verdana" panose="020B0604030504040204" pitchFamily="34" charset="0"/>
                <a:ea typeface="Verdana" panose="020B0604030504040204" pitchFamily="34" charset="0"/>
              </a:rPr>
              <a:t>iron ore, </a:t>
            </a:r>
            <a:r>
              <a:rPr lang="en-US" sz="1400" dirty="0" smtClean="0">
                <a:latin typeface="Verdana" panose="020B0604030504040204" pitchFamily="34" charset="0"/>
                <a:ea typeface="Verdana" panose="020B0604030504040204" pitchFamily="34" charset="0"/>
              </a:rPr>
              <a:t>coke, </a:t>
            </a:r>
            <a:r>
              <a:rPr lang="en-US" sz="1400" dirty="0">
                <a:latin typeface="Verdana" panose="020B0604030504040204" pitchFamily="34" charset="0"/>
                <a:ea typeface="Verdana" panose="020B0604030504040204" pitchFamily="34" charset="0"/>
              </a:rPr>
              <a:t>and </a:t>
            </a:r>
            <a:r>
              <a:rPr lang="en-US" sz="1400" dirty="0" smtClean="0">
                <a:latin typeface="Verdana" panose="020B0604030504040204" pitchFamily="34" charset="0"/>
                <a:ea typeface="Verdana" panose="020B0604030504040204" pitchFamily="34" charset="0"/>
              </a:rPr>
              <a:t>fluxes</a:t>
            </a:r>
          </a:p>
          <a:p>
            <a:r>
              <a:rPr lang="en-US" sz="1400" dirty="0" smtClean="0">
                <a:latin typeface="Verdana" panose="020B0604030504040204" pitchFamily="34" charset="0"/>
                <a:ea typeface="Verdana" panose="020B0604030504040204" pitchFamily="34" charset="0"/>
              </a:rPr>
              <a:t>into the top, where </a:t>
            </a:r>
            <a:r>
              <a:rPr lang="en-US" sz="1400" dirty="0">
                <a:latin typeface="Verdana" panose="020B0604030504040204" pitchFamily="34" charset="0"/>
                <a:ea typeface="Verdana" panose="020B0604030504040204" pitchFamily="34" charset="0"/>
              </a:rPr>
              <a:t>a blast of hot air </a:t>
            </a:r>
            <a:endParaRPr lang="en-US" sz="1400" dirty="0" smtClean="0">
              <a:latin typeface="Verdana" panose="020B0604030504040204" pitchFamily="34" charset="0"/>
              <a:ea typeface="Verdana" panose="020B0604030504040204" pitchFamily="34" charset="0"/>
            </a:endParaRPr>
          </a:p>
          <a:p>
            <a:r>
              <a:rPr lang="en-US" sz="1400" dirty="0" smtClean="0">
                <a:latin typeface="Verdana" panose="020B0604030504040204" pitchFamily="34" charset="0"/>
                <a:ea typeface="Verdana" panose="020B0604030504040204" pitchFamily="34" charset="0"/>
              </a:rPr>
              <a:t>or </a:t>
            </a:r>
            <a:r>
              <a:rPr lang="en-US" sz="1400" dirty="0">
                <a:latin typeface="Verdana" panose="020B0604030504040204" pitchFamily="34" charset="0"/>
                <a:ea typeface="Verdana" panose="020B0604030504040204" pitchFamily="34" charset="0"/>
              </a:rPr>
              <a:t>oxygen is blown through </a:t>
            </a:r>
            <a:r>
              <a:rPr lang="en-US" sz="1400" dirty="0" err="1">
                <a:latin typeface="Verdana" panose="020B0604030504040204" pitchFamily="34" charset="0"/>
                <a:ea typeface="Verdana" panose="020B0604030504040204" pitchFamily="34" charset="0"/>
              </a:rPr>
              <a:t>tuyeres</a:t>
            </a:r>
            <a:r>
              <a:rPr lang="en-US" sz="1400" dirty="0">
                <a:latin typeface="Verdana" panose="020B0604030504040204" pitchFamily="34" charset="0"/>
                <a:ea typeface="Verdana" panose="020B0604030504040204" pitchFamily="34" charset="0"/>
              </a:rPr>
              <a:t> (nozzles) at the base. This process produces molten iron and slag (a byproduct), which are tapped </a:t>
            </a:r>
            <a:r>
              <a:rPr lang="en-US" sz="1400" dirty="0" smtClean="0">
                <a:latin typeface="Verdana" panose="020B0604030504040204" pitchFamily="34" charset="0"/>
                <a:ea typeface="Verdana" panose="020B0604030504040204" pitchFamily="34" charset="0"/>
              </a:rPr>
              <a:t>from</a:t>
            </a:r>
          </a:p>
          <a:p>
            <a:r>
              <a:rPr lang="en-US" sz="1400" dirty="0" smtClean="0">
                <a:latin typeface="Verdana" panose="020B0604030504040204" pitchFamily="34" charset="0"/>
                <a:ea typeface="Verdana" panose="020B0604030504040204" pitchFamily="34" charset="0"/>
              </a:rPr>
              <a:t>the </a:t>
            </a:r>
            <a:r>
              <a:rPr lang="en-US" sz="1400" dirty="0">
                <a:latin typeface="Verdana" panose="020B0604030504040204" pitchFamily="34" charset="0"/>
                <a:ea typeface="Verdana" panose="020B0604030504040204" pitchFamily="34" charset="0"/>
              </a:rPr>
              <a:t>bottom of the furnace.</a:t>
            </a:r>
            <a:endParaRPr lang="en-IN" sz="1400" dirty="0">
              <a:latin typeface="Verdana" panose="020B0604030504040204" pitchFamily="34" charset="0"/>
              <a:ea typeface="Verdana" panose="020B0604030504040204" pitchFamily="34" charset="0"/>
            </a:endParaRPr>
          </a:p>
        </p:txBody>
      </p:sp>
      <p:cxnSp>
        <p:nvCxnSpPr>
          <p:cNvPr id="22" name="Straight Connector 21"/>
          <p:cNvCxnSpPr/>
          <p:nvPr/>
        </p:nvCxnSpPr>
        <p:spPr>
          <a:xfrm rot="10800000">
            <a:off x="3093828" y="718963"/>
            <a:ext cx="6565898" cy="1588"/>
          </a:xfrm>
          <a:prstGeom prst="line">
            <a:avLst/>
          </a:prstGeom>
          <a:ln w="19050">
            <a:solidFill>
              <a:srgbClr val="B3B2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1463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r69Uv0iud_lnBYDdwdxu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d6urom0EvdD8yiVp9gL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hF2sZ9hzmAuMKX.tWAI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hF2sZ9hzmAuMKX.tWAI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adb33d5-78c7-4af1-a182-fdee8728530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222FA2D98FC9446B94F437E67A38A73" ma:contentTypeVersion="6" ma:contentTypeDescription="Create a new document." ma:contentTypeScope="" ma:versionID="0dace2b6d9fb9089921f34a2fae51625">
  <xsd:schema xmlns:xsd="http://www.w3.org/2001/XMLSchema" xmlns:xs="http://www.w3.org/2001/XMLSchema" xmlns:p="http://schemas.microsoft.com/office/2006/metadata/properties" xmlns:ns3="0adb33d5-78c7-4af1-a182-fdee87285301" targetNamespace="http://schemas.microsoft.com/office/2006/metadata/properties" ma:root="true" ma:fieldsID="851f31fe59c09fbe3ebddc269274b116" ns3:_="">
    <xsd:import namespace="0adb33d5-78c7-4af1-a182-fdee87285301"/>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b33d5-78c7-4af1-a182-fdee87285301"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5FE18B-0A06-46C7-BFEE-0F9F400EC379}">
  <ds:schemaRefs>
    <ds:schemaRef ds:uri="http://purl.org/dc/elements/1.1/"/>
    <ds:schemaRef ds:uri="http://www.w3.org/XML/1998/namespace"/>
    <ds:schemaRef ds:uri="0adb33d5-78c7-4af1-a182-fdee87285301"/>
    <ds:schemaRef ds:uri="http://purl.org/dc/terms/"/>
    <ds:schemaRef ds:uri="http://purl.org/dc/dcmitype/"/>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s>
</ds:datastoreItem>
</file>

<file path=customXml/itemProps2.xml><?xml version="1.0" encoding="utf-8"?>
<ds:datastoreItem xmlns:ds="http://schemas.openxmlformats.org/officeDocument/2006/customXml" ds:itemID="{5C303B09-52F1-4106-A0A0-CF6A30A08DF1}">
  <ds:schemaRefs>
    <ds:schemaRef ds:uri="http://schemas.microsoft.com/sharepoint/v3/contenttype/forms"/>
  </ds:schemaRefs>
</ds:datastoreItem>
</file>

<file path=customXml/itemProps3.xml><?xml version="1.0" encoding="utf-8"?>
<ds:datastoreItem xmlns:ds="http://schemas.openxmlformats.org/officeDocument/2006/customXml" ds:itemID="{2F745C25-14C2-4D0A-B716-C9F3A187A4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b33d5-78c7-4af1-a182-fdee872853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616</TotalTime>
  <Words>3348</Words>
  <Application>Microsoft Office PowerPoint</Application>
  <PresentationFormat>Widescreen</PresentationFormat>
  <Paragraphs>660</Paragraphs>
  <Slides>45</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5</vt:i4>
      </vt:variant>
    </vt:vector>
  </HeadingPairs>
  <TitlesOfParts>
    <vt:vector size="53" baseType="lpstr">
      <vt:lpstr>Arial</vt:lpstr>
      <vt:lpstr>Arial MT</vt:lpstr>
      <vt:lpstr>Calibri</vt:lpstr>
      <vt:lpstr>Calibri Light</vt:lpstr>
      <vt:lpstr>Cambria Math</vt:lpstr>
      <vt:lpstr>Trebuchet MS</vt:lpstr>
      <vt:lpstr>Verdana</vt:lpstr>
      <vt:lpstr>Office Theme</vt:lpstr>
      <vt:lpstr>AI-based Real-time Energy optimization Model at Ironmaking</vt:lpstr>
      <vt:lpstr>PowerPoint Presentation</vt:lpstr>
      <vt:lpstr>PowerPoint Presentation</vt:lpstr>
      <vt:lpstr>Agenda</vt:lpstr>
      <vt:lpstr>Agenda</vt:lpstr>
      <vt:lpstr>PowerPoint Presentation</vt:lpstr>
      <vt:lpstr>PowerPoint Presentation</vt:lpstr>
      <vt:lpstr>PowerPoint Presentation</vt:lpstr>
      <vt:lpstr>Overview of Blast Furnace</vt:lpstr>
      <vt:lpstr>PowerPoint Presentation</vt:lpstr>
      <vt:lpstr>PowerPoint Presentation</vt:lpstr>
      <vt:lpstr>Current method to find the amount of Coke and Coal </vt:lpstr>
      <vt:lpstr>Blast Furnace – 4 | JSW Vijayanagar</vt:lpstr>
      <vt:lpstr>Full forms and Definitions</vt:lpstr>
      <vt:lpstr>Agenda</vt:lpstr>
      <vt:lpstr>PowerPoint Presentation</vt:lpstr>
      <vt:lpstr>Agenda</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 there is no relation of Hot Blast Temperature with other parameters, a temperature of 1125 degree Celsius(most probable temperature ) is considered for optimal energy calculations</vt:lpstr>
      <vt:lpstr>Linear Programming</vt:lpstr>
      <vt:lpstr>PowerPoint Presentation</vt:lpstr>
      <vt:lpstr>*source: IndiaMar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bhav Saxena</dc:creator>
  <cp:lastModifiedBy>BHUVANESWARA RAO PEDDINTI</cp:lastModifiedBy>
  <cp:revision>488</cp:revision>
  <cp:lastPrinted>2022-07-14T11:47:40Z</cp:lastPrinted>
  <dcterms:created xsi:type="dcterms:W3CDTF">2021-09-07T07:19:06Z</dcterms:created>
  <dcterms:modified xsi:type="dcterms:W3CDTF">2024-07-10T12:1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9-06T00:00:00Z</vt:filetime>
  </property>
  <property fmtid="{D5CDD505-2E9C-101B-9397-08002B2CF9AE}" pid="3" name="Creator">
    <vt:lpwstr>Microsoft® PowerPoint® 2016</vt:lpwstr>
  </property>
  <property fmtid="{D5CDD505-2E9C-101B-9397-08002B2CF9AE}" pid="4" name="LastSaved">
    <vt:filetime>2021-09-07T00:00:00Z</vt:filetime>
  </property>
  <property fmtid="{D5CDD505-2E9C-101B-9397-08002B2CF9AE}" pid="5" name="ContentTypeId">
    <vt:lpwstr>0x0101008222FA2D98FC9446B94F437E67A38A73</vt:lpwstr>
  </property>
</Properties>
</file>